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7.xml" ContentType="application/vnd.openxmlformats-officedocument.presentationml.tags+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rtl="1" saveSubsetFonts="1">
  <p:sldMasterIdLst>
    <p:sldMasterId id="2147483660" r:id="rId1"/>
    <p:sldMasterId id="2147483720" r:id="rId2"/>
  </p:sldMasterIdLst>
  <p:notesMasterIdLst>
    <p:notesMasterId r:id="rId25"/>
  </p:notesMasterIdLst>
  <p:sldIdLst>
    <p:sldId id="396" r:id="rId3"/>
    <p:sldId id="269" r:id="rId4"/>
    <p:sldId id="397" r:id="rId5"/>
    <p:sldId id="398" r:id="rId6"/>
    <p:sldId id="399" r:id="rId7"/>
    <p:sldId id="400" r:id="rId8"/>
    <p:sldId id="401" r:id="rId9"/>
    <p:sldId id="402" r:id="rId10"/>
    <p:sldId id="403" r:id="rId11"/>
    <p:sldId id="404" r:id="rId12"/>
    <p:sldId id="405" r:id="rId13"/>
    <p:sldId id="406" r:id="rId14"/>
    <p:sldId id="407" r:id="rId15"/>
    <p:sldId id="408" r:id="rId16"/>
    <p:sldId id="409" r:id="rId17"/>
    <p:sldId id="410" r:id="rId18"/>
    <p:sldId id="411" r:id="rId19"/>
    <p:sldId id="412" r:id="rId20"/>
    <p:sldId id="413" r:id="rId21"/>
    <p:sldId id="414" r:id="rId22"/>
    <p:sldId id="415" r:id="rId23"/>
    <p:sldId id="266" r:id="rId24"/>
  </p:sldIdLst>
  <p:sldSz cx="12192000" cy="6858000"/>
  <p:notesSz cx="6858000" cy="9144000"/>
  <p:defaultTex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78B5E"/>
    <a:srgbClr val="BEBEBE"/>
    <a:srgbClr val="C0A66C"/>
    <a:srgbClr val="C1A171"/>
    <a:srgbClr val="A36C3F"/>
    <a:srgbClr val="C4862A"/>
    <a:srgbClr val="47593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A9BD926-EFEF-4B99-B66A-8916432BB991}" v="130" dt="2025-05-17T10:53:52.278"/>
  </p1510:revLst>
</p1510:revInfo>
</file>

<file path=ppt/tableStyles.xml><?xml version="1.0" encoding="utf-8"?>
<a:tblStyleLst xmlns:a="http://schemas.openxmlformats.org/drawingml/2006/main" def="{5C22544A-7EE6-4342-B048-85BDC9FD1C3A}">
  <a:tblStyle styleId="{3B4B98B0-60AC-42C2-AFA5-B58CD77FA1E5}" styleName="نمط فاتح 1 - تمييز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النمط الفاتح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660B408-B3CF-4A94-85FC-2B1E0A45F4A2}" styleName="نمط داكن 2 - تمييز 1/تمييز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2D5ABB26-0587-4C30-8999-92F81FD0307C}" styleName="بلا نمط، بلا شبكة">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4380"/>
    <p:restoredTop sz="94660"/>
  </p:normalViewPr>
  <p:slideViewPr>
    <p:cSldViewPr snapToGrid="0">
      <p:cViewPr varScale="1">
        <p:scale>
          <a:sx n="102" d="100"/>
          <a:sy n="102" d="100"/>
        </p:scale>
        <p:origin x="834"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microsoft.com/office/2015/10/relationships/revisionInfo" Target="revisionInfo.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haled M. Alshly" userId="4a7e16d7-ffb1-40f7-83a0-a1197d631c7e" providerId="ADAL" clId="{EA9BD926-EFEF-4B99-B66A-8916432BB991}"/>
    <pc:docChg chg="undo redo custSel addSld delSld modSld sldOrd modMainMaster">
      <pc:chgData name="Khaled M. Alshly" userId="4a7e16d7-ffb1-40f7-83a0-a1197d631c7e" providerId="ADAL" clId="{EA9BD926-EFEF-4B99-B66A-8916432BB991}" dt="2025-05-17T11:06:54.073" v="951" actId="47"/>
      <pc:docMkLst>
        <pc:docMk/>
      </pc:docMkLst>
      <pc:sldChg chg="addSp delSp modSp del mod setBg">
        <pc:chgData name="Khaled M. Alshly" userId="4a7e16d7-ffb1-40f7-83a0-a1197d631c7e" providerId="ADAL" clId="{EA9BD926-EFEF-4B99-B66A-8916432BB991}" dt="2025-05-17T10:11:19.862" v="490" actId="47"/>
        <pc:sldMkLst>
          <pc:docMk/>
          <pc:sldMk cId="3946661791" sldId="256"/>
        </pc:sldMkLst>
        <pc:spChg chg="mod">
          <ac:chgData name="Khaled M. Alshly" userId="4a7e16d7-ffb1-40f7-83a0-a1197d631c7e" providerId="ADAL" clId="{EA9BD926-EFEF-4B99-B66A-8916432BB991}" dt="2025-05-17T09:26:46.009" v="54" actId="26606"/>
          <ac:spMkLst>
            <pc:docMk/>
            <pc:sldMk cId="3946661791" sldId="256"/>
            <ac:spMk id="2" creationId="{EDC3D9BE-36B5-30F0-2BAC-DC026333523A}"/>
          </ac:spMkLst>
        </pc:spChg>
        <pc:spChg chg="mod">
          <ac:chgData name="Khaled M. Alshly" userId="4a7e16d7-ffb1-40f7-83a0-a1197d631c7e" providerId="ADAL" clId="{EA9BD926-EFEF-4B99-B66A-8916432BB991}" dt="2025-05-17T09:26:12.617" v="52" actId="1076"/>
          <ac:spMkLst>
            <pc:docMk/>
            <pc:sldMk cId="3946661791" sldId="256"/>
            <ac:spMk id="3" creationId="{FAB0E3C7-1E49-7DED-3657-FB5C3CCB19EF}"/>
          </ac:spMkLst>
        </pc:spChg>
        <pc:spChg chg="del mod">
          <ac:chgData name="Khaled M. Alshly" userId="4a7e16d7-ffb1-40f7-83a0-a1197d631c7e" providerId="ADAL" clId="{EA9BD926-EFEF-4B99-B66A-8916432BB991}" dt="2025-05-17T09:26:46.009" v="54" actId="26606"/>
          <ac:spMkLst>
            <pc:docMk/>
            <pc:sldMk cId="3946661791" sldId="256"/>
            <ac:spMk id="40" creationId="{A3363022-C969-41E9-8EB2-E4C94908C1FA}"/>
          </ac:spMkLst>
        </pc:spChg>
        <pc:spChg chg="del mod">
          <ac:chgData name="Khaled M. Alshly" userId="4a7e16d7-ffb1-40f7-83a0-a1197d631c7e" providerId="ADAL" clId="{EA9BD926-EFEF-4B99-B66A-8916432BB991}" dt="2025-05-17T09:26:46.009" v="54" actId="26606"/>
          <ac:spMkLst>
            <pc:docMk/>
            <pc:sldMk cId="3946661791" sldId="256"/>
            <ac:spMk id="42" creationId="{8D1AD6B3-BE88-4CEB-BA17-790657CC4729}"/>
          </ac:spMkLst>
        </pc:spChg>
        <pc:spChg chg="add">
          <ac:chgData name="Khaled M. Alshly" userId="4a7e16d7-ffb1-40f7-83a0-a1197d631c7e" providerId="ADAL" clId="{EA9BD926-EFEF-4B99-B66A-8916432BB991}" dt="2025-05-17T09:26:46.009" v="54" actId="26606"/>
          <ac:spMkLst>
            <pc:docMk/>
            <pc:sldMk cId="3946661791" sldId="256"/>
            <ac:spMk id="52" creationId="{A3363022-C969-41E9-8EB2-E4C94908C1FA}"/>
          </ac:spMkLst>
        </pc:spChg>
        <pc:spChg chg="add">
          <ac:chgData name="Khaled M. Alshly" userId="4a7e16d7-ffb1-40f7-83a0-a1197d631c7e" providerId="ADAL" clId="{EA9BD926-EFEF-4B99-B66A-8916432BB991}" dt="2025-05-17T09:26:46.009" v="54" actId="26606"/>
          <ac:spMkLst>
            <pc:docMk/>
            <pc:sldMk cId="3946661791" sldId="256"/>
            <ac:spMk id="54" creationId="{8D1AD6B3-BE88-4CEB-BA17-790657CC4729}"/>
          </ac:spMkLst>
        </pc:spChg>
        <pc:grpChg chg="del mod">
          <ac:chgData name="Khaled M. Alshly" userId="4a7e16d7-ffb1-40f7-83a0-a1197d631c7e" providerId="ADAL" clId="{EA9BD926-EFEF-4B99-B66A-8916432BB991}" dt="2025-05-17T09:26:46.009" v="54" actId="26606"/>
          <ac:grpSpMkLst>
            <pc:docMk/>
            <pc:sldMk cId="3946661791" sldId="256"/>
            <ac:grpSpMk id="44" creationId="{89D1390B-7E13-4B4F-9CB2-391063412E54}"/>
          </ac:grpSpMkLst>
        </pc:grpChg>
        <pc:grpChg chg="add">
          <ac:chgData name="Khaled M. Alshly" userId="4a7e16d7-ffb1-40f7-83a0-a1197d631c7e" providerId="ADAL" clId="{EA9BD926-EFEF-4B99-B66A-8916432BB991}" dt="2025-05-17T09:26:46.009" v="54" actId="26606"/>
          <ac:grpSpMkLst>
            <pc:docMk/>
            <pc:sldMk cId="3946661791" sldId="256"/>
            <ac:grpSpMk id="56" creationId="{89D1390B-7E13-4B4F-9CB2-391063412E54}"/>
          </ac:grpSpMkLst>
        </pc:grpChg>
        <pc:picChg chg="add del mod">
          <ac:chgData name="Khaled M. Alshly" userId="4a7e16d7-ffb1-40f7-83a0-a1197d631c7e" providerId="ADAL" clId="{EA9BD926-EFEF-4B99-B66A-8916432BB991}" dt="2025-05-17T09:28:32.641" v="60" actId="1076"/>
          <ac:picMkLst>
            <pc:docMk/>
            <pc:sldMk cId="3946661791" sldId="256"/>
            <ac:picMk id="37" creationId="{FAB0E3C7-1E49-7DED-3657-FB5C3CCB19EF}"/>
          </ac:picMkLst>
        </pc:picChg>
      </pc:sldChg>
      <pc:sldChg chg="addSp delSp modSp del mod">
        <pc:chgData name="Khaled M. Alshly" userId="4a7e16d7-ffb1-40f7-83a0-a1197d631c7e" providerId="ADAL" clId="{EA9BD926-EFEF-4B99-B66A-8916432BB991}" dt="2025-05-17T10:13:31.441" v="496" actId="2696"/>
        <pc:sldMkLst>
          <pc:docMk/>
          <pc:sldMk cId="0" sldId="259"/>
        </pc:sldMkLst>
        <pc:spChg chg="mod topLvl">
          <ac:chgData name="Khaled M. Alshly" userId="4a7e16d7-ffb1-40f7-83a0-a1197d631c7e" providerId="ADAL" clId="{EA9BD926-EFEF-4B99-B66A-8916432BB991}" dt="2025-05-17T09:27:40.618" v="55" actId="165"/>
          <ac:spMkLst>
            <pc:docMk/>
            <pc:sldMk cId="0" sldId="259"/>
            <ac:spMk id="8" creationId="{00000000-0000-0000-0000-000000000000}"/>
          </ac:spMkLst>
        </pc:spChg>
        <pc:spChg chg="mod topLvl">
          <ac:chgData name="Khaled M. Alshly" userId="4a7e16d7-ffb1-40f7-83a0-a1197d631c7e" providerId="ADAL" clId="{EA9BD926-EFEF-4B99-B66A-8916432BB991}" dt="2025-05-17T09:27:40.618" v="55" actId="165"/>
          <ac:spMkLst>
            <pc:docMk/>
            <pc:sldMk cId="0" sldId="259"/>
            <ac:spMk id="10" creationId="{00000000-0000-0000-0000-000000000000}"/>
          </ac:spMkLst>
        </pc:spChg>
        <pc:spChg chg="mod topLvl">
          <ac:chgData name="Khaled M. Alshly" userId="4a7e16d7-ffb1-40f7-83a0-a1197d631c7e" providerId="ADAL" clId="{EA9BD926-EFEF-4B99-B66A-8916432BB991}" dt="2025-05-17T09:27:40.618" v="55" actId="165"/>
          <ac:spMkLst>
            <pc:docMk/>
            <pc:sldMk cId="0" sldId="259"/>
            <ac:spMk id="15" creationId="{00000000-0000-0000-0000-000000000000}"/>
          </ac:spMkLst>
        </pc:spChg>
        <pc:spChg chg="mod topLvl">
          <ac:chgData name="Khaled M. Alshly" userId="4a7e16d7-ffb1-40f7-83a0-a1197d631c7e" providerId="ADAL" clId="{EA9BD926-EFEF-4B99-B66A-8916432BB991}" dt="2025-05-17T09:27:40.618" v="55" actId="165"/>
          <ac:spMkLst>
            <pc:docMk/>
            <pc:sldMk cId="0" sldId="259"/>
            <ac:spMk id="17" creationId="{00000000-0000-0000-0000-000000000000}"/>
          </ac:spMkLst>
        </pc:spChg>
        <pc:spChg chg="mod topLvl">
          <ac:chgData name="Khaled M. Alshly" userId="4a7e16d7-ffb1-40f7-83a0-a1197d631c7e" providerId="ADAL" clId="{EA9BD926-EFEF-4B99-B66A-8916432BB991}" dt="2025-05-17T09:27:40.618" v="55" actId="165"/>
          <ac:spMkLst>
            <pc:docMk/>
            <pc:sldMk cId="0" sldId="259"/>
            <ac:spMk id="21" creationId="{00000000-0000-0000-0000-000000000000}"/>
          </ac:spMkLst>
        </pc:spChg>
        <pc:spChg chg="add mod">
          <ac:chgData name="Khaled M. Alshly" userId="4a7e16d7-ffb1-40f7-83a0-a1197d631c7e" providerId="ADAL" clId="{EA9BD926-EFEF-4B99-B66A-8916432BB991}" dt="2025-05-17T09:29:19.095" v="62" actId="1036"/>
          <ac:spMkLst>
            <pc:docMk/>
            <pc:sldMk cId="0" sldId="259"/>
            <ac:spMk id="28" creationId="{0C7E192A-8697-98C0-D6F8-E3A44D8D00B1}"/>
          </ac:spMkLst>
        </pc:spChg>
        <pc:picChg chg="mod topLvl">
          <ac:chgData name="Khaled M. Alshly" userId="4a7e16d7-ffb1-40f7-83a0-a1197d631c7e" providerId="ADAL" clId="{EA9BD926-EFEF-4B99-B66A-8916432BB991}" dt="2025-05-17T09:27:40.618" v="55" actId="165"/>
          <ac:picMkLst>
            <pc:docMk/>
            <pc:sldMk cId="0" sldId="259"/>
            <ac:picMk id="7" creationId="{00000000-0000-0000-0000-000000000000}"/>
          </ac:picMkLst>
        </pc:picChg>
        <pc:picChg chg="mod topLvl">
          <ac:chgData name="Khaled M. Alshly" userId="4a7e16d7-ffb1-40f7-83a0-a1197d631c7e" providerId="ADAL" clId="{EA9BD926-EFEF-4B99-B66A-8916432BB991}" dt="2025-05-17T09:27:40.618" v="55" actId="165"/>
          <ac:picMkLst>
            <pc:docMk/>
            <pc:sldMk cId="0" sldId="259"/>
            <ac:picMk id="14" creationId="{00000000-0000-0000-0000-000000000000}"/>
          </ac:picMkLst>
        </pc:picChg>
        <pc:picChg chg="mod topLvl">
          <ac:chgData name="Khaled M. Alshly" userId="4a7e16d7-ffb1-40f7-83a0-a1197d631c7e" providerId="ADAL" clId="{EA9BD926-EFEF-4B99-B66A-8916432BB991}" dt="2025-05-17T09:27:40.618" v="55" actId="165"/>
          <ac:picMkLst>
            <pc:docMk/>
            <pc:sldMk cId="0" sldId="259"/>
            <ac:picMk id="18" creationId="{00000000-0000-0000-0000-000000000000}"/>
          </ac:picMkLst>
        </pc:picChg>
        <pc:picChg chg="mod topLvl">
          <ac:chgData name="Khaled M. Alshly" userId="4a7e16d7-ffb1-40f7-83a0-a1197d631c7e" providerId="ADAL" clId="{EA9BD926-EFEF-4B99-B66A-8916432BB991}" dt="2025-05-17T09:27:40.618" v="55" actId="165"/>
          <ac:picMkLst>
            <pc:docMk/>
            <pc:sldMk cId="0" sldId="259"/>
            <ac:picMk id="20" creationId="{00000000-0000-0000-0000-000000000000}"/>
          </ac:picMkLst>
        </pc:picChg>
        <pc:picChg chg="mod topLvl">
          <ac:chgData name="Khaled M. Alshly" userId="4a7e16d7-ffb1-40f7-83a0-a1197d631c7e" providerId="ADAL" clId="{EA9BD926-EFEF-4B99-B66A-8916432BB991}" dt="2025-05-17T09:27:40.618" v="55" actId="165"/>
          <ac:picMkLst>
            <pc:docMk/>
            <pc:sldMk cId="0" sldId="259"/>
            <ac:picMk id="22" creationId="{00000000-0000-0000-0000-000000000000}"/>
          </ac:picMkLst>
        </pc:picChg>
      </pc:sldChg>
      <pc:sldChg chg="addSp modSp del">
        <pc:chgData name="Khaled M. Alshly" userId="4a7e16d7-ffb1-40f7-83a0-a1197d631c7e" providerId="ADAL" clId="{EA9BD926-EFEF-4B99-B66A-8916432BB991}" dt="2025-05-17T10:15:15.190" v="510" actId="47"/>
        <pc:sldMkLst>
          <pc:docMk/>
          <pc:sldMk cId="0" sldId="261"/>
        </pc:sldMkLst>
        <pc:spChg chg="add mod">
          <ac:chgData name="Khaled M. Alshly" userId="4a7e16d7-ffb1-40f7-83a0-a1197d631c7e" providerId="ADAL" clId="{EA9BD926-EFEF-4B99-B66A-8916432BB991}" dt="2025-05-17T09:29:26.450" v="63"/>
          <ac:spMkLst>
            <pc:docMk/>
            <pc:sldMk cId="0" sldId="261"/>
            <ac:spMk id="5" creationId="{2FB83301-1195-6201-AC9B-0E2C2CB480F8}"/>
          </ac:spMkLst>
        </pc:spChg>
      </pc:sldChg>
      <pc:sldChg chg="addSp delSp modSp add del mod">
        <pc:chgData name="Khaled M. Alshly" userId="4a7e16d7-ffb1-40f7-83a0-a1197d631c7e" providerId="ADAL" clId="{EA9BD926-EFEF-4B99-B66A-8916432BB991}" dt="2025-05-17T10:10:16.030" v="479" actId="47"/>
        <pc:sldMkLst>
          <pc:docMk/>
          <pc:sldMk cId="2292194875" sldId="265"/>
        </pc:sldMkLst>
        <pc:spChg chg="del">
          <ac:chgData name="Khaled M. Alshly" userId="4a7e16d7-ffb1-40f7-83a0-a1197d631c7e" providerId="ADAL" clId="{EA9BD926-EFEF-4B99-B66A-8916432BB991}" dt="2025-05-17T10:08:29.533" v="470" actId="478"/>
          <ac:spMkLst>
            <pc:docMk/>
            <pc:sldMk cId="2292194875" sldId="265"/>
            <ac:spMk id="2" creationId="{1A683125-0C52-7CAE-2587-EB283A763087}"/>
          </ac:spMkLst>
        </pc:spChg>
        <pc:spChg chg="del">
          <ac:chgData name="Khaled M. Alshly" userId="4a7e16d7-ffb1-40f7-83a0-a1197d631c7e" providerId="ADAL" clId="{EA9BD926-EFEF-4B99-B66A-8916432BB991}" dt="2025-05-17T10:08:29.533" v="470" actId="478"/>
          <ac:spMkLst>
            <pc:docMk/>
            <pc:sldMk cId="2292194875" sldId="265"/>
            <ac:spMk id="3" creationId="{CC283262-0A92-6228-1E4D-D190206473D9}"/>
          </ac:spMkLst>
        </pc:spChg>
        <pc:spChg chg="add del mod">
          <ac:chgData name="Khaled M. Alshly" userId="4a7e16d7-ffb1-40f7-83a0-a1197d631c7e" providerId="ADAL" clId="{EA9BD926-EFEF-4B99-B66A-8916432BB991}" dt="2025-05-17T10:09:35.009" v="477" actId="478"/>
          <ac:spMkLst>
            <pc:docMk/>
            <pc:sldMk cId="2292194875" sldId="265"/>
            <ac:spMk id="5" creationId="{CE8BEACB-23BA-1B12-2708-94534A3F5EB8}"/>
          </ac:spMkLst>
        </pc:spChg>
        <pc:spChg chg="del">
          <ac:chgData name="Khaled M. Alshly" userId="4a7e16d7-ffb1-40f7-83a0-a1197d631c7e" providerId="ADAL" clId="{EA9BD926-EFEF-4B99-B66A-8916432BB991}" dt="2025-05-17T10:08:29.533" v="470" actId="478"/>
          <ac:spMkLst>
            <pc:docMk/>
            <pc:sldMk cId="2292194875" sldId="265"/>
            <ac:spMk id="9" creationId="{B1B243A6-D353-A3A5-D8C2-93CA32EBC282}"/>
          </ac:spMkLst>
        </pc:spChg>
        <pc:spChg chg="del">
          <ac:chgData name="Khaled M. Alshly" userId="4a7e16d7-ffb1-40f7-83a0-a1197d631c7e" providerId="ADAL" clId="{EA9BD926-EFEF-4B99-B66A-8916432BB991}" dt="2025-05-17T10:08:29.533" v="470" actId="478"/>
          <ac:spMkLst>
            <pc:docMk/>
            <pc:sldMk cId="2292194875" sldId="265"/>
            <ac:spMk id="28" creationId="{F3507790-4708-F149-9429-E006D550739A}"/>
          </ac:spMkLst>
        </pc:spChg>
        <pc:graphicFrameChg chg="del">
          <ac:chgData name="Khaled M. Alshly" userId="4a7e16d7-ffb1-40f7-83a0-a1197d631c7e" providerId="ADAL" clId="{EA9BD926-EFEF-4B99-B66A-8916432BB991}" dt="2025-05-17T10:08:29.533" v="470" actId="478"/>
          <ac:graphicFrameMkLst>
            <pc:docMk/>
            <pc:sldMk cId="2292194875" sldId="265"/>
            <ac:graphicFrameMk id="12" creationId="{C5808B5A-2478-D163-DB2C-578F80D6523E}"/>
          </ac:graphicFrameMkLst>
        </pc:graphicFrameChg>
        <pc:graphicFrameChg chg="del modGraphic">
          <ac:chgData name="Khaled M. Alshly" userId="4a7e16d7-ffb1-40f7-83a0-a1197d631c7e" providerId="ADAL" clId="{EA9BD926-EFEF-4B99-B66A-8916432BB991}" dt="2025-05-17T10:08:29.533" v="470" actId="478"/>
          <ac:graphicFrameMkLst>
            <pc:docMk/>
            <pc:sldMk cId="2292194875" sldId="265"/>
            <ac:graphicFrameMk id="38" creationId="{B0D846BE-8413-381A-11A6-B15807EF6815}"/>
          </ac:graphicFrameMkLst>
        </pc:graphicFrameChg>
      </pc:sldChg>
      <pc:sldChg chg="add">
        <pc:chgData name="Khaled M. Alshly" userId="4a7e16d7-ffb1-40f7-83a0-a1197d631c7e" providerId="ADAL" clId="{EA9BD926-EFEF-4B99-B66A-8916432BB991}" dt="2025-05-17T10:10:14.409" v="478"/>
        <pc:sldMkLst>
          <pc:docMk/>
          <pc:sldMk cId="1363971038" sldId="266"/>
        </pc:sldMkLst>
      </pc:sldChg>
      <pc:sldChg chg="addSp delSp modSp add mod ord setBg">
        <pc:chgData name="Khaled M. Alshly" userId="4a7e16d7-ffb1-40f7-83a0-a1197d631c7e" providerId="ADAL" clId="{EA9BD926-EFEF-4B99-B66A-8916432BB991}" dt="2025-05-17T10:40:33.728" v="742" actId="255"/>
        <pc:sldMkLst>
          <pc:docMk/>
          <pc:sldMk cId="2066803412" sldId="269"/>
        </pc:sldMkLst>
        <pc:spChg chg="del">
          <ac:chgData name="Khaled M. Alshly" userId="4a7e16d7-ffb1-40f7-83a0-a1197d631c7e" providerId="ADAL" clId="{EA9BD926-EFEF-4B99-B66A-8916432BB991}" dt="2025-05-17T10:05:51.591" v="458" actId="478"/>
          <ac:spMkLst>
            <pc:docMk/>
            <pc:sldMk cId="2066803412" sldId="269"/>
            <ac:spMk id="2" creationId="{66357020-6CCC-FCD9-BB40-0E6E6BE44C00}"/>
          </ac:spMkLst>
        </pc:spChg>
        <pc:spChg chg="add mod">
          <ac:chgData name="Khaled M. Alshly" userId="4a7e16d7-ffb1-40f7-83a0-a1197d631c7e" providerId="ADAL" clId="{EA9BD926-EFEF-4B99-B66A-8916432BB991}" dt="2025-05-17T10:22:51.915" v="596" actId="207"/>
          <ac:spMkLst>
            <pc:docMk/>
            <pc:sldMk cId="2066803412" sldId="269"/>
            <ac:spMk id="3" creationId="{F9ADEAD8-2440-49D5-8FEA-E9C1EF3158AE}"/>
          </ac:spMkLst>
        </pc:spChg>
        <pc:spChg chg="add mod">
          <ac:chgData name="Khaled M. Alshly" userId="4a7e16d7-ffb1-40f7-83a0-a1197d631c7e" providerId="ADAL" clId="{EA9BD926-EFEF-4B99-B66A-8916432BB991}" dt="2025-05-17T10:22:51.915" v="596" actId="207"/>
          <ac:spMkLst>
            <pc:docMk/>
            <pc:sldMk cId="2066803412" sldId="269"/>
            <ac:spMk id="4" creationId="{2A44B622-27FE-31D9-15C1-9412087AE0D4}"/>
          </ac:spMkLst>
        </pc:spChg>
        <pc:spChg chg="add mod">
          <ac:chgData name="Khaled M. Alshly" userId="4a7e16d7-ffb1-40f7-83a0-a1197d631c7e" providerId="ADAL" clId="{EA9BD926-EFEF-4B99-B66A-8916432BB991}" dt="2025-05-17T10:22:51.915" v="596" actId="207"/>
          <ac:spMkLst>
            <pc:docMk/>
            <pc:sldMk cId="2066803412" sldId="269"/>
            <ac:spMk id="5" creationId="{8CB31236-9444-9C6A-E195-CB1C07AA3CBC}"/>
          </ac:spMkLst>
        </pc:spChg>
        <pc:spChg chg="mod">
          <ac:chgData name="Khaled M. Alshly" userId="4a7e16d7-ffb1-40f7-83a0-a1197d631c7e" providerId="ADAL" clId="{EA9BD926-EFEF-4B99-B66A-8916432BB991}" dt="2025-05-17T10:22:51.915" v="596" actId="207"/>
          <ac:spMkLst>
            <pc:docMk/>
            <pc:sldMk cId="2066803412" sldId="269"/>
            <ac:spMk id="6" creationId="{6B3F8D51-934C-DCAC-0D1F-1F042913B052}"/>
          </ac:spMkLst>
        </pc:spChg>
        <pc:spChg chg="mod">
          <ac:chgData name="Khaled M. Alshly" userId="4a7e16d7-ffb1-40f7-83a0-a1197d631c7e" providerId="ADAL" clId="{EA9BD926-EFEF-4B99-B66A-8916432BB991}" dt="2025-05-17T10:21:25.618" v="582" actId="207"/>
          <ac:spMkLst>
            <pc:docMk/>
            <pc:sldMk cId="2066803412" sldId="269"/>
            <ac:spMk id="8" creationId="{DAE87A52-919B-3AF0-1EDE-1974ECFA70EE}"/>
          </ac:spMkLst>
        </pc:spChg>
        <pc:spChg chg="add mod">
          <ac:chgData name="Khaled M. Alshly" userId="4a7e16d7-ffb1-40f7-83a0-a1197d631c7e" providerId="ADAL" clId="{EA9BD926-EFEF-4B99-B66A-8916432BB991}" dt="2025-05-17T10:11:32.397" v="491"/>
          <ac:spMkLst>
            <pc:docMk/>
            <pc:sldMk cId="2066803412" sldId="269"/>
            <ac:spMk id="10" creationId="{E22A9508-8E4F-329C-7726-FD3DA48468DF}"/>
          </ac:spMkLst>
        </pc:spChg>
        <pc:spChg chg="add mod">
          <ac:chgData name="Khaled M. Alshly" userId="4a7e16d7-ffb1-40f7-83a0-a1197d631c7e" providerId="ADAL" clId="{EA9BD926-EFEF-4B99-B66A-8916432BB991}" dt="2025-05-17T10:11:32.397" v="491"/>
          <ac:spMkLst>
            <pc:docMk/>
            <pc:sldMk cId="2066803412" sldId="269"/>
            <ac:spMk id="14" creationId="{88FA57FB-A4D3-BA40-B182-7A420BD9AAC0}"/>
          </ac:spMkLst>
        </pc:spChg>
        <pc:spChg chg="add mod">
          <ac:chgData name="Khaled M. Alshly" userId="4a7e16d7-ffb1-40f7-83a0-a1197d631c7e" providerId="ADAL" clId="{EA9BD926-EFEF-4B99-B66A-8916432BB991}" dt="2025-05-17T10:11:32.397" v="491"/>
          <ac:spMkLst>
            <pc:docMk/>
            <pc:sldMk cId="2066803412" sldId="269"/>
            <ac:spMk id="16" creationId="{BF057BC9-12A4-C104-9AD9-301953DA5335}"/>
          </ac:spMkLst>
        </pc:spChg>
        <pc:spChg chg="add mod">
          <ac:chgData name="Khaled M. Alshly" userId="4a7e16d7-ffb1-40f7-83a0-a1197d631c7e" providerId="ADAL" clId="{EA9BD926-EFEF-4B99-B66A-8916432BB991}" dt="2025-05-17T10:39:33.771" v="730" actId="2711"/>
          <ac:spMkLst>
            <pc:docMk/>
            <pc:sldMk cId="2066803412" sldId="269"/>
            <ac:spMk id="22" creationId="{0870ED43-C3EE-47A2-37C5-63AEE6187F67}"/>
          </ac:spMkLst>
        </pc:spChg>
        <pc:spChg chg="add mod">
          <ac:chgData name="Khaled M. Alshly" userId="4a7e16d7-ffb1-40f7-83a0-a1197d631c7e" providerId="ADAL" clId="{EA9BD926-EFEF-4B99-B66A-8916432BB991}" dt="2025-05-17T10:22:51.915" v="596" actId="207"/>
          <ac:spMkLst>
            <pc:docMk/>
            <pc:sldMk cId="2066803412" sldId="269"/>
            <ac:spMk id="23" creationId="{86E34AA3-9EEB-8E32-D462-48770033910B}"/>
          </ac:spMkLst>
        </pc:spChg>
        <pc:spChg chg="mod">
          <ac:chgData name="Khaled M. Alshly" userId="4a7e16d7-ffb1-40f7-83a0-a1197d631c7e" providerId="ADAL" clId="{EA9BD926-EFEF-4B99-B66A-8916432BB991}" dt="2025-05-17T10:40:33.728" v="742" actId="255"/>
          <ac:spMkLst>
            <pc:docMk/>
            <pc:sldMk cId="2066803412" sldId="269"/>
            <ac:spMk id="24" creationId="{50DCD60A-4B35-9DF5-2618-ECBE4A7C18A1}"/>
          </ac:spMkLst>
        </pc:spChg>
        <pc:spChg chg="add mod">
          <ac:chgData name="Khaled M. Alshly" userId="4a7e16d7-ffb1-40f7-83a0-a1197d631c7e" providerId="ADAL" clId="{EA9BD926-EFEF-4B99-B66A-8916432BB991}" dt="2025-05-17T10:11:32.397" v="491"/>
          <ac:spMkLst>
            <pc:docMk/>
            <pc:sldMk cId="2066803412" sldId="269"/>
            <ac:spMk id="25" creationId="{DAD0B972-EADF-42D2-4FAE-25513BC4A0F9}"/>
          </ac:spMkLst>
        </pc:spChg>
        <pc:spChg chg="del">
          <ac:chgData name="Khaled M. Alshly" userId="4a7e16d7-ffb1-40f7-83a0-a1197d631c7e" providerId="ADAL" clId="{EA9BD926-EFEF-4B99-B66A-8916432BB991}" dt="2025-05-17T10:11:54.758" v="494" actId="478"/>
          <ac:spMkLst>
            <pc:docMk/>
            <pc:sldMk cId="2066803412" sldId="269"/>
            <ac:spMk id="26" creationId="{93748194-82A5-98BD-9AFE-7D600FD4BCD9}"/>
          </ac:spMkLst>
        </pc:spChg>
        <pc:spChg chg="add del mod">
          <ac:chgData name="Khaled M. Alshly" userId="4a7e16d7-ffb1-40f7-83a0-a1197d631c7e" providerId="ADAL" clId="{EA9BD926-EFEF-4B99-B66A-8916432BB991}" dt="2025-05-17T10:14:18.758" v="502" actId="478"/>
          <ac:spMkLst>
            <pc:docMk/>
            <pc:sldMk cId="2066803412" sldId="269"/>
            <ac:spMk id="27" creationId="{01B34B72-B778-AD7E-AD45-42AF8964B555}"/>
          </ac:spMkLst>
        </pc:spChg>
        <pc:picChg chg="mod">
          <ac:chgData name="Khaled M. Alshly" userId="4a7e16d7-ffb1-40f7-83a0-a1197d631c7e" providerId="ADAL" clId="{EA9BD926-EFEF-4B99-B66A-8916432BB991}" dt="2025-05-17T10:21:35.885" v="583"/>
          <ac:picMkLst>
            <pc:docMk/>
            <pc:sldMk cId="2066803412" sldId="269"/>
            <ac:picMk id="11" creationId="{8DF2854A-E3CA-A9D0-FE96-B0C5D43DA0E0}"/>
          </ac:picMkLst>
        </pc:picChg>
        <pc:picChg chg="mod">
          <ac:chgData name="Khaled M. Alshly" userId="4a7e16d7-ffb1-40f7-83a0-a1197d631c7e" providerId="ADAL" clId="{EA9BD926-EFEF-4B99-B66A-8916432BB991}" dt="2025-05-17T10:21:50.151" v="584"/>
          <ac:picMkLst>
            <pc:docMk/>
            <pc:sldMk cId="2066803412" sldId="269"/>
            <ac:picMk id="12" creationId="{22F1B6BC-2C00-509A-80D3-B8352A93564E}"/>
          </ac:picMkLst>
        </pc:picChg>
        <pc:picChg chg="mod">
          <ac:chgData name="Khaled M. Alshly" userId="4a7e16d7-ffb1-40f7-83a0-a1197d631c7e" providerId="ADAL" clId="{EA9BD926-EFEF-4B99-B66A-8916432BB991}" dt="2025-05-17T10:22:08.815" v="586"/>
          <ac:picMkLst>
            <pc:docMk/>
            <pc:sldMk cId="2066803412" sldId="269"/>
            <ac:picMk id="17" creationId="{017634CD-7823-785F-7999-352EC3AB3E2C}"/>
          </ac:picMkLst>
        </pc:picChg>
        <pc:picChg chg="mod">
          <ac:chgData name="Khaled M. Alshly" userId="4a7e16d7-ffb1-40f7-83a0-a1197d631c7e" providerId="ADAL" clId="{EA9BD926-EFEF-4B99-B66A-8916432BB991}" dt="2025-05-17T10:22:04.211" v="585"/>
          <ac:picMkLst>
            <pc:docMk/>
            <pc:sldMk cId="2066803412" sldId="269"/>
            <ac:picMk id="18" creationId="{C4BB1CD8-3E34-BEC4-A6D2-4ED833E517C1}"/>
          </ac:picMkLst>
        </pc:picChg>
        <pc:picChg chg="mod">
          <ac:chgData name="Khaled M. Alshly" userId="4a7e16d7-ffb1-40f7-83a0-a1197d631c7e" providerId="ADAL" clId="{EA9BD926-EFEF-4B99-B66A-8916432BB991}" dt="2025-05-17T10:22:17.010" v="588"/>
          <ac:picMkLst>
            <pc:docMk/>
            <pc:sldMk cId="2066803412" sldId="269"/>
            <ac:picMk id="21" creationId="{EC7FDCDF-D781-57F0-451C-37EF5306A3D4}"/>
          </ac:picMkLst>
        </pc:picChg>
      </pc:sldChg>
      <pc:sldChg chg="delSp modSp del mod">
        <pc:chgData name="Khaled M. Alshly" userId="4a7e16d7-ffb1-40f7-83a0-a1197d631c7e" providerId="ADAL" clId="{EA9BD926-EFEF-4B99-B66A-8916432BB991}" dt="2025-05-17T10:20:48.401" v="576" actId="47"/>
        <pc:sldMkLst>
          <pc:docMk/>
          <pc:sldMk cId="0" sldId="272"/>
        </pc:sldMkLst>
        <pc:spChg chg="mod">
          <ac:chgData name="Khaled M. Alshly" userId="4a7e16d7-ffb1-40f7-83a0-a1197d631c7e" providerId="ADAL" clId="{EA9BD926-EFEF-4B99-B66A-8916432BB991}" dt="2025-05-17T10:16:15.997" v="523" actId="1076"/>
          <ac:spMkLst>
            <pc:docMk/>
            <pc:sldMk cId="0" sldId="272"/>
            <ac:spMk id="6" creationId="{00000000-0000-0000-0000-000000000000}"/>
          </ac:spMkLst>
        </pc:spChg>
        <pc:grpChg chg="mod">
          <ac:chgData name="Khaled M. Alshly" userId="4a7e16d7-ffb1-40f7-83a0-a1197d631c7e" providerId="ADAL" clId="{EA9BD926-EFEF-4B99-B66A-8916432BB991}" dt="2025-05-17T10:16:10.468" v="521" actId="1076"/>
          <ac:grpSpMkLst>
            <pc:docMk/>
            <pc:sldMk cId="0" sldId="272"/>
            <ac:grpSpMk id="3" creationId="{00000000-0000-0000-0000-000000000000}"/>
          </ac:grpSpMkLst>
        </pc:grpChg>
        <pc:picChg chg="del mod">
          <ac:chgData name="Khaled M. Alshly" userId="4a7e16d7-ffb1-40f7-83a0-a1197d631c7e" providerId="ADAL" clId="{EA9BD926-EFEF-4B99-B66A-8916432BB991}" dt="2025-05-17T10:15:43.231" v="516" actId="478"/>
          <ac:picMkLst>
            <pc:docMk/>
            <pc:sldMk cId="0" sldId="272"/>
            <ac:picMk id="2" creationId="{00000000-0000-0000-0000-000000000000}"/>
          </ac:picMkLst>
        </pc:picChg>
      </pc:sldChg>
      <pc:sldChg chg="addSp modSp del mod">
        <pc:chgData name="Khaled M. Alshly" userId="4a7e16d7-ffb1-40f7-83a0-a1197d631c7e" providerId="ADAL" clId="{EA9BD926-EFEF-4B99-B66A-8916432BB991}" dt="2025-05-17T10:29:14.785" v="667" actId="47"/>
        <pc:sldMkLst>
          <pc:docMk/>
          <pc:sldMk cId="0" sldId="276"/>
        </pc:sldMkLst>
        <pc:spChg chg="mod">
          <ac:chgData name="Khaled M. Alshly" userId="4a7e16d7-ffb1-40f7-83a0-a1197d631c7e" providerId="ADAL" clId="{EA9BD926-EFEF-4B99-B66A-8916432BB991}" dt="2025-05-17T10:24:49.639" v="623" actId="1076"/>
          <ac:spMkLst>
            <pc:docMk/>
            <pc:sldMk cId="0" sldId="276"/>
            <ac:spMk id="2" creationId="{00000000-0000-0000-0000-000000000000}"/>
          </ac:spMkLst>
        </pc:spChg>
        <pc:spChg chg="mod">
          <ac:chgData name="Khaled M. Alshly" userId="4a7e16d7-ffb1-40f7-83a0-a1197d631c7e" providerId="ADAL" clId="{EA9BD926-EFEF-4B99-B66A-8916432BB991}" dt="2025-05-17T10:24:40.903" v="621" actId="1076"/>
          <ac:spMkLst>
            <pc:docMk/>
            <pc:sldMk cId="0" sldId="276"/>
            <ac:spMk id="17" creationId="{00000000-0000-0000-0000-000000000000}"/>
          </ac:spMkLst>
        </pc:spChg>
        <pc:spChg chg="add mod">
          <ac:chgData name="Khaled M. Alshly" userId="4a7e16d7-ffb1-40f7-83a0-a1197d631c7e" providerId="ADAL" clId="{EA9BD926-EFEF-4B99-B66A-8916432BB991}" dt="2025-05-17T09:29:30.449" v="64"/>
          <ac:spMkLst>
            <pc:docMk/>
            <pc:sldMk cId="0" sldId="276"/>
            <ac:spMk id="19" creationId="{5617B1B3-984B-0B17-FEC9-37A9C0FB5CF2}"/>
          </ac:spMkLst>
        </pc:spChg>
      </pc:sldChg>
      <pc:sldChg chg="addSp modSp del">
        <pc:chgData name="Khaled M. Alshly" userId="4a7e16d7-ffb1-40f7-83a0-a1197d631c7e" providerId="ADAL" clId="{EA9BD926-EFEF-4B99-B66A-8916432BB991}" dt="2025-05-17T10:32:19.822" v="683" actId="47"/>
        <pc:sldMkLst>
          <pc:docMk/>
          <pc:sldMk cId="0" sldId="280"/>
        </pc:sldMkLst>
        <pc:spChg chg="add mod">
          <ac:chgData name="Khaled M. Alshly" userId="4a7e16d7-ffb1-40f7-83a0-a1197d631c7e" providerId="ADAL" clId="{EA9BD926-EFEF-4B99-B66A-8916432BB991}" dt="2025-05-17T09:29:33.872" v="65"/>
          <ac:spMkLst>
            <pc:docMk/>
            <pc:sldMk cId="0" sldId="280"/>
            <ac:spMk id="10" creationId="{6AB95A8B-D405-E1B1-4A4F-F1E09B15F050}"/>
          </ac:spMkLst>
        </pc:spChg>
      </pc:sldChg>
      <pc:sldChg chg="addSp delSp modSp mod">
        <pc:chgData name="Khaled M. Alshly" userId="4a7e16d7-ffb1-40f7-83a0-a1197d631c7e" providerId="ADAL" clId="{EA9BD926-EFEF-4B99-B66A-8916432BB991}" dt="2025-05-17T09:47:12.025" v="330" actId="207"/>
        <pc:sldMkLst>
          <pc:docMk/>
          <pc:sldMk cId="0" sldId="282"/>
        </pc:sldMkLst>
        <pc:spChg chg="mod">
          <ac:chgData name="Khaled M. Alshly" userId="4a7e16d7-ffb1-40f7-83a0-a1197d631c7e" providerId="ADAL" clId="{EA9BD926-EFEF-4B99-B66A-8916432BB991}" dt="2025-05-17T09:44:02.428" v="315" actId="207"/>
          <ac:spMkLst>
            <pc:docMk/>
            <pc:sldMk cId="0" sldId="282"/>
            <ac:spMk id="2" creationId="{00000000-0000-0000-0000-000000000000}"/>
          </ac:spMkLst>
        </pc:spChg>
        <pc:spChg chg="mod">
          <ac:chgData name="Khaled M. Alshly" userId="4a7e16d7-ffb1-40f7-83a0-a1197d631c7e" providerId="ADAL" clId="{EA9BD926-EFEF-4B99-B66A-8916432BB991}" dt="2025-05-17T09:44:11.567" v="316" actId="207"/>
          <ac:spMkLst>
            <pc:docMk/>
            <pc:sldMk cId="0" sldId="282"/>
            <ac:spMk id="4" creationId="{00000000-0000-0000-0000-000000000000}"/>
          </ac:spMkLst>
        </pc:spChg>
        <pc:spChg chg="mod">
          <ac:chgData name="Khaled M. Alshly" userId="4a7e16d7-ffb1-40f7-83a0-a1197d631c7e" providerId="ADAL" clId="{EA9BD926-EFEF-4B99-B66A-8916432BB991}" dt="2025-05-17T09:44:15.297" v="317" actId="207"/>
          <ac:spMkLst>
            <pc:docMk/>
            <pc:sldMk cId="0" sldId="282"/>
            <ac:spMk id="5" creationId="{00000000-0000-0000-0000-000000000000}"/>
          </ac:spMkLst>
        </pc:spChg>
        <pc:spChg chg="mod">
          <ac:chgData name="Khaled M. Alshly" userId="4a7e16d7-ffb1-40f7-83a0-a1197d631c7e" providerId="ADAL" clId="{EA9BD926-EFEF-4B99-B66A-8916432BB991}" dt="2025-05-17T09:44:21.427" v="318" actId="207"/>
          <ac:spMkLst>
            <pc:docMk/>
            <pc:sldMk cId="0" sldId="282"/>
            <ac:spMk id="6" creationId="{00000000-0000-0000-0000-000000000000}"/>
          </ac:spMkLst>
        </pc:spChg>
        <pc:spChg chg="mod topLvl">
          <ac:chgData name="Khaled M. Alshly" userId="4a7e16d7-ffb1-40f7-83a0-a1197d631c7e" providerId="ADAL" clId="{EA9BD926-EFEF-4B99-B66A-8916432BB991}" dt="2025-05-17T09:47:12.025" v="330" actId="207"/>
          <ac:spMkLst>
            <pc:docMk/>
            <pc:sldMk cId="0" sldId="282"/>
            <ac:spMk id="10" creationId="{00000000-0000-0000-0000-000000000000}"/>
          </ac:spMkLst>
        </pc:spChg>
        <pc:grpChg chg="del">
          <ac:chgData name="Khaled M. Alshly" userId="4a7e16d7-ffb1-40f7-83a0-a1197d631c7e" providerId="ADAL" clId="{EA9BD926-EFEF-4B99-B66A-8916432BB991}" dt="2025-05-17T09:44:27.252" v="319" actId="165"/>
          <ac:grpSpMkLst>
            <pc:docMk/>
            <pc:sldMk cId="0" sldId="282"/>
            <ac:grpSpMk id="7" creationId="{00000000-0000-0000-0000-000000000000}"/>
          </ac:grpSpMkLst>
        </pc:grpChg>
        <pc:picChg chg="mod topLvl">
          <ac:chgData name="Khaled M. Alshly" userId="4a7e16d7-ffb1-40f7-83a0-a1197d631c7e" providerId="ADAL" clId="{EA9BD926-EFEF-4B99-B66A-8916432BB991}" dt="2025-05-17T09:46:38.233" v="326"/>
          <ac:picMkLst>
            <pc:docMk/>
            <pc:sldMk cId="0" sldId="282"/>
            <ac:picMk id="8" creationId="{00000000-0000-0000-0000-000000000000}"/>
          </ac:picMkLst>
        </pc:picChg>
        <pc:picChg chg="del mod topLvl">
          <ac:chgData name="Khaled M. Alshly" userId="4a7e16d7-ffb1-40f7-83a0-a1197d631c7e" providerId="ADAL" clId="{EA9BD926-EFEF-4B99-B66A-8916432BB991}" dt="2025-05-17T09:46:47.671" v="328" actId="478"/>
          <ac:picMkLst>
            <pc:docMk/>
            <pc:sldMk cId="0" sldId="282"/>
            <ac:picMk id="9" creationId="{00000000-0000-0000-0000-000000000000}"/>
          </ac:picMkLst>
        </pc:picChg>
        <pc:picChg chg="add mod">
          <ac:chgData name="Khaled M. Alshly" userId="4a7e16d7-ffb1-40f7-83a0-a1197d631c7e" providerId="ADAL" clId="{EA9BD926-EFEF-4B99-B66A-8916432BB991}" dt="2025-05-17T09:46:52.752" v="329" actId="1076"/>
          <ac:picMkLst>
            <pc:docMk/>
            <pc:sldMk cId="0" sldId="282"/>
            <ac:picMk id="13" creationId="{E525E4B8-BC48-0E42-5ECC-F45C742ECE88}"/>
          </ac:picMkLst>
        </pc:picChg>
      </pc:sldChg>
      <pc:sldChg chg="modSp mod">
        <pc:chgData name="Khaled M. Alshly" userId="4a7e16d7-ffb1-40f7-83a0-a1197d631c7e" providerId="ADAL" clId="{EA9BD926-EFEF-4B99-B66A-8916432BB991}" dt="2025-05-17T09:54:38.680" v="398" actId="207"/>
        <pc:sldMkLst>
          <pc:docMk/>
          <pc:sldMk cId="0" sldId="283"/>
        </pc:sldMkLst>
        <pc:spChg chg="mod">
          <ac:chgData name="Khaled M. Alshly" userId="4a7e16d7-ffb1-40f7-83a0-a1197d631c7e" providerId="ADAL" clId="{EA9BD926-EFEF-4B99-B66A-8916432BB991}" dt="2025-05-17T09:49:06.925" v="349" actId="1076"/>
          <ac:spMkLst>
            <pc:docMk/>
            <pc:sldMk cId="0" sldId="283"/>
            <ac:spMk id="2" creationId="{00000000-0000-0000-0000-000000000000}"/>
          </ac:spMkLst>
        </pc:spChg>
        <pc:graphicFrameChg chg="mod modGraphic">
          <ac:chgData name="Khaled M. Alshly" userId="4a7e16d7-ffb1-40f7-83a0-a1197d631c7e" providerId="ADAL" clId="{EA9BD926-EFEF-4B99-B66A-8916432BB991}" dt="2025-05-17T09:54:38.680" v="398" actId="207"/>
          <ac:graphicFrameMkLst>
            <pc:docMk/>
            <pc:sldMk cId="0" sldId="283"/>
            <ac:graphicFrameMk id="3" creationId="{00000000-0000-0000-0000-000000000000}"/>
          </ac:graphicFrameMkLst>
        </pc:graphicFrameChg>
      </pc:sldChg>
      <pc:sldChg chg="addSp modSp del">
        <pc:chgData name="Khaled M. Alshly" userId="4a7e16d7-ffb1-40f7-83a0-a1197d631c7e" providerId="ADAL" clId="{EA9BD926-EFEF-4B99-B66A-8916432BB991}" dt="2025-05-17T10:39:12.567" v="729" actId="47"/>
        <pc:sldMkLst>
          <pc:docMk/>
          <pc:sldMk cId="0" sldId="284"/>
        </pc:sldMkLst>
        <pc:spChg chg="add mod">
          <ac:chgData name="Khaled M. Alshly" userId="4a7e16d7-ffb1-40f7-83a0-a1197d631c7e" providerId="ADAL" clId="{EA9BD926-EFEF-4B99-B66A-8916432BB991}" dt="2025-05-17T09:29:38.058" v="66"/>
          <ac:spMkLst>
            <pc:docMk/>
            <pc:sldMk cId="0" sldId="284"/>
            <ac:spMk id="49" creationId="{44BE7AB4-4F8C-D810-EAE8-8488F61D1C06}"/>
          </ac:spMkLst>
        </pc:spChg>
      </pc:sldChg>
      <pc:sldChg chg="delSp modSp mod">
        <pc:chgData name="Khaled M. Alshly" userId="4a7e16d7-ffb1-40f7-83a0-a1197d631c7e" providerId="ADAL" clId="{EA9BD926-EFEF-4B99-B66A-8916432BB991}" dt="2025-05-17T10:03:02.964" v="455" actId="1036"/>
        <pc:sldMkLst>
          <pc:docMk/>
          <pc:sldMk cId="0" sldId="286"/>
        </pc:sldMkLst>
        <pc:spChg chg="mod">
          <ac:chgData name="Khaled M. Alshly" userId="4a7e16d7-ffb1-40f7-83a0-a1197d631c7e" providerId="ADAL" clId="{EA9BD926-EFEF-4B99-B66A-8916432BB991}" dt="2025-05-17T09:54:39.335" v="399" actId="207"/>
          <ac:spMkLst>
            <pc:docMk/>
            <pc:sldMk cId="0" sldId="286"/>
            <ac:spMk id="2" creationId="{00000000-0000-0000-0000-000000000000}"/>
          </ac:spMkLst>
        </pc:spChg>
        <pc:spChg chg="mod topLvl">
          <ac:chgData name="Khaled M. Alshly" userId="4a7e16d7-ffb1-40f7-83a0-a1197d631c7e" providerId="ADAL" clId="{EA9BD926-EFEF-4B99-B66A-8916432BB991}" dt="2025-05-17T09:57:59.036" v="431" actId="1076"/>
          <ac:spMkLst>
            <pc:docMk/>
            <pc:sldMk cId="0" sldId="286"/>
            <ac:spMk id="5" creationId="{00000000-0000-0000-0000-000000000000}"/>
          </ac:spMkLst>
        </pc:spChg>
        <pc:spChg chg="mod topLvl">
          <ac:chgData name="Khaled M. Alshly" userId="4a7e16d7-ffb1-40f7-83a0-a1197d631c7e" providerId="ADAL" clId="{EA9BD926-EFEF-4B99-B66A-8916432BB991}" dt="2025-05-17T09:57:53.516" v="429" actId="207"/>
          <ac:spMkLst>
            <pc:docMk/>
            <pc:sldMk cId="0" sldId="286"/>
            <ac:spMk id="8" creationId="{00000000-0000-0000-0000-000000000000}"/>
          </ac:spMkLst>
        </pc:spChg>
        <pc:spChg chg="mod topLvl">
          <ac:chgData name="Khaled M. Alshly" userId="4a7e16d7-ffb1-40f7-83a0-a1197d631c7e" providerId="ADAL" clId="{EA9BD926-EFEF-4B99-B66A-8916432BB991}" dt="2025-05-17T09:57:38.029" v="426" actId="207"/>
          <ac:spMkLst>
            <pc:docMk/>
            <pc:sldMk cId="0" sldId="286"/>
            <ac:spMk id="10" creationId="{00000000-0000-0000-0000-000000000000}"/>
          </ac:spMkLst>
        </pc:spChg>
        <pc:spChg chg="mod topLvl">
          <ac:chgData name="Khaled M. Alshly" userId="4a7e16d7-ffb1-40f7-83a0-a1197d631c7e" providerId="ADAL" clId="{EA9BD926-EFEF-4B99-B66A-8916432BB991}" dt="2025-05-17T09:58:05.618" v="433" actId="207"/>
          <ac:spMkLst>
            <pc:docMk/>
            <pc:sldMk cId="0" sldId="286"/>
            <ac:spMk id="13" creationId="{00000000-0000-0000-0000-000000000000}"/>
          </ac:spMkLst>
        </pc:spChg>
        <pc:spChg chg="mod">
          <ac:chgData name="Khaled M. Alshly" userId="4a7e16d7-ffb1-40f7-83a0-a1197d631c7e" providerId="ADAL" clId="{EA9BD926-EFEF-4B99-B66A-8916432BB991}" dt="2025-05-17T10:03:02.964" v="455" actId="1036"/>
          <ac:spMkLst>
            <pc:docMk/>
            <pc:sldMk cId="0" sldId="286"/>
            <ac:spMk id="14" creationId="{00000000-0000-0000-0000-000000000000}"/>
          </ac:spMkLst>
        </pc:spChg>
        <pc:spChg chg="mod">
          <ac:chgData name="Khaled M. Alshly" userId="4a7e16d7-ffb1-40f7-83a0-a1197d631c7e" providerId="ADAL" clId="{EA9BD926-EFEF-4B99-B66A-8916432BB991}" dt="2025-05-17T10:02:51.047" v="449" actId="1076"/>
          <ac:spMkLst>
            <pc:docMk/>
            <pc:sldMk cId="0" sldId="286"/>
            <ac:spMk id="20" creationId="{00000000-0000-0000-0000-000000000000}"/>
          </ac:spMkLst>
        </pc:spChg>
        <pc:spChg chg="mod">
          <ac:chgData name="Khaled M. Alshly" userId="4a7e16d7-ffb1-40f7-83a0-a1197d631c7e" providerId="ADAL" clId="{EA9BD926-EFEF-4B99-B66A-8916432BB991}" dt="2025-05-17T09:58:45.817" v="445" actId="1076"/>
          <ac:spMkLst>
            <pc:docMk/>
            <pc:sldMk cId="0" sldId="286"/>
            <ac:spMk id="21" creationId="{00000000-0000-0000-0000-000000000000}"/>
          </ac:spMkLst>
        </pc:spChg>
        <pc:spChg chg="mod">
          <ac:chgData name="Khaled M. Alshly" userId="4a7e16d7-ffb1-40f7-83a0-a1197d631c7e" providerId="ADAL" clId="{EA9BD926-EFEF-4B99-B66A-8916432BB991}" dt="2025-05-17T09:56:53.448" v="411" actId="207"/>
          <ac:spMkLst>
            <pc:docMk/>
            <pc:sldMk cId="0" sldId="286"/>
            <ac:spMk id="22" creationId="{00000000-0000-0000-0000-000000000000}"/>
          </ac:spMkLst>
        </pc:spChg>
        <pc:picChg chg="mod topLvl">
          <ac:chgData name="Khaled M. Alshly" userId="4a7e16d7-ffb1-40f7-83a0-a1197d631c7e" providerId="ADAL" clId="{EA9BD926-EFEF-4B99-B66A-8916432BB991}" dt="2025-05-17T09:57:44.073" v="428" actId="1076"/>
          <ac:picMkLst>
            <pc:docMk/>
            <pc:sldMk cId="0" sldId="286"/>
            <ac:picMk id="4" creationId="{00000000-0000-0000-0000-000000000000}"/>
          </ac:picMkLst>
        </pc:picChg>
        <pc:picChg chg="mod topLvl">
          <ac:chgData name="Khaled M. Alshly" userId="4a7e16d7-ffb1-40f7-83a0-a1197d631c7e" providerId="ADAL" clId="{EA9BD926-EFEF-4B99-B66A-8916432BB991}" dt="2025-05-17T09:57:38.029" v="426" actId="207"/>
          <ac:picMkLst>
            <pc:docMk/>
            <pc:sldMk cId="0" sldId="286"/>
            <ac:picMk id="6" creationId="{00000000-0000-0000-0000-000000000000}"/>
          </ac:picMkLst>
        </pc:picChg>
        <pc:picChg chg="mod topLvl">
          <ac:chgData name="Khaled M. Alshly" userId="4a7e16d7-ffb1-40f7-83a0-a1197d631c7e" providerId="ADAL" clId="{EA9BD926-EFEF-4B99-B66A-8916432BB991}" dt="2025-05-17T09:57:38.029" v="426" actId="207"/>
          <ac:picMkLst>
            <pc:docMk/>
            <pc:sldMk cId="0" sldId="286"/>
            <ac:picMk id="7" creationId="{00000000-0000-0000-0000-000000000000}"/>
          </ac:picMkLst>
        </pc:picChg>
        <pc:picChg chg="mod topLvl">
          <ac:chgData name="Khaled M. Alshly" userId="4a7e16d7-ffb1-40f7-83a0-a1197d631c7e" providerId="ADAL" clId="{EA9BD926-EFEF-4B99-B66A-8916432BB991}" dt="2025-05-17T09:57:38.029" v="426" actId="207"/>
          <ac:picMkLst>
            <pc:docMk/>
            <pc:sldMk cId="0" sldId="286"/>
            <ac:picMk id="9" creationId="{00000000-0000-0000-0000-000000000000}"/>
          </ac:picMkLst>
        </pc:picChg>
        <pc:picChg chg="mod topLvl">
          <ac:chgData name="Khaled M. Alshly" userId="4a7e16d7-ffb1-40f7-83a0-a1197d631c7e" providerId="ADAL" clId="{EA9BD926-EFEF-4B99-B66A-8916432BB991}" dt="2025-05-17T09:57:38.029" v="426" actId="207"/>
          <ac:picMkLst>
            <pc:docMk/>
            <pc:sldMk cId="0" sldId="286"/>
            <ac:picMk id="11" creationId="{00000000-0000-0000-0000-000000000000}"/>
          </ac:picMkLst>
        </pc:picChg>
        <pc:picChg chg="mod topLvl">
          <ac:chgData name="Khaled M. Alshly" userId="4a7e16d7-ffb1-40f7-83a0-a1197d631c7e" providerId="ADAL" clId="{EA9BD926-EFEF-4B99-B66A-8916432BB991}" dt="2025-05-17T09:57:38.029" v="426" actId="207"/>
          <ac:picMkLst>
            <pc:docMk/>
            <pc:sldMk cId="0" sldId="286"/>
            <ac:picMk id="12" creationId="{00000000-0000-0000-0000-000000000000}"/>
          </ac:picMkLst>
        </pc:picChg>
      </pc:sldChg>
      <pc:sldChg chg="modSp del mod setBg">
        <pc:chgData name="Khaled M. Alshly" userId="4a7e16d7-ffb1-40f7-83a0-a1197d631c7e" providerId="ADAL" clId="{EA9BD926-EFEF-4B99-B66A-8916432BB991}" dt="2025-05-17T10:45:23.890" v="767" actId="47"/>
        <pc:sldMkLst>
          <pc:docMk/>
          <pc:sldMk cId="3598919470" sldId="287"/>
        </pc:sldMkLst>
        <pc:picChg chg="mod">
          <ac:chgData name="Khaled M. Alshly" userId="4a7e16d7-ffb1-40f7-83a0-a1197d631c7e" providerId="ADAL" clId="{EA9BD926-EFEF-4B99-B66A-8916432BB991}" dt="2025-05-17T10:44:57.266" v="758" actId="2085"/>
          <ac:picMkLst>
            <pc:docMk/>
            <pc:sldMk cId="3598919470" sldId="287"/>
            <ac:picMk id="6" creationId="{BA2683C9-19EF-7F69-8809-BB290A7713EB}"/>
          </ac:picMkLst>
        </pc:picChg>
      </pc:sldChg>
      <pc:sldChg chg="addSp modSp del">
        <pc:chgData name="Khaled M. Alshly" userId="4a7e16d7-ffb1-40f7-83a0-a1197d631c7e" providerId="ADAL" clId="{EA9BD926-EFEF-4B99-B66A-8916432BB991}" dt="2025-05-17T11:06:54.073" v="951" actId="47"/>
        <pc:sldMkLst>
          <pc:docMk/>
          <pc:sldMk cId="0" sldId="300"/>
        </pc:sldMkLst>
        <pc:spChg chg="add mod">
          <ac:chgData name="Khaled M. Alshly" userId="4a7e16d7-ffb1-40f7-83a0-a1197d631c7e" providerId="ADAL" clId="{EA9BD926-EFEF-4B99-B66A-8916432BB991}" dt="2025-05-17T09:29:43.206" v="67"/>
          <ac:spMkLst>
            <pc:docMk/>
            <pc:sldMk cId="0" sldId="300"/>
            <ac:spMk id="18" creationId="{D8C2E718-E195-E72B-93A9-8C4AFCBD7846}"/>
          </ac:spMkLst>
        </pc:spChg>
      </pc:sldChg>
      <pc:sldChg chg="addSp delSp modSp mod">
        <pc:chgData name="Khaled M. Alshly" userId="4a7e16d7-ffb1-40f7-83a0-a1197d631c7e" providerId="ADAL" clId="{EA9BD926-EFEF-4B99-B66A-8916432BB991}" dt="2025-05-17T09:30:26.708" v="74" actId="478"/>
        <pc:sldMkLst>
          <pc:docMk/>
          <pc:sldMk cId="0" sldId="302"/>
        </pc:sldMkLst>
        <pc:spChg chg="add del">
          <ac:chgData name="Khaled M. Alshly" userId="4a7e16d7-ffb1-40f7-83a0-a1197d631c7e" providerId="ADAL" clId="{EA9BD926-EFEF-4B99-B66A-8916432BB991}" dt="2025-05-17T09:30:26.708" v="74" actId="478"/>
          <ac:spMkLst>
            <pc:docMk/>
            <pc:sldMk cId="0" sldId="302"/>
            <ac:spMk id="3" creationId="{00000000-0000-0000-0000-000000000000}"/>
          </ac:spMkLst>
        </pc:spChg>
        <pc:spChg chg="add mod">
          <ac:chgData name="Khaled M. Alshly" userId="4a7e16d7-ffb1-40f7-83a0-a1197d631c7e" providerId="ADAL" clId="{EA9BD926-EFEF-4B99-B66A-8916432BB991}" dt="2025-05-17T09:29:52.580" v="68"/>
          <ac:spMkLst>
            <pc:docMk/>
            <pc:sldMk cId="0" sldId="302"/>
            <ac:spMk id="34" creationId="{048F5891-D522-AA08-9F29-B7BD91A6F17E}"/>
          </ac:spMkLst>
        </pc:spChg>
      </pc:sldChg>
      <pc:sldChg chg="addSp delSp modSp mod">
        <pc:chgData name="Khaled M. Alshly" userId="4a7e16d7-ffb1-40f7-83a0-a1197d631c7e" providerId="ADAL" clId="{EA9BD926-EFEF-4B99-B66A-8916432BB991}" dt="2025-05-17T09:43:08.967" v="308" actId="1076"/>
        <pc:sldMkLst>
          <pc:docMk/>
          <pc:sldMk cId="0" sldId="320"/>
        </pc:sldMkLst>
        <pc:spChg chg="mod">
          <ac:chgData name="Khaled M. Alshly" userId="4a7e16d7-ffb1-40f7-83a0-a1197d631c7e" providerId="ADAL" clId="{EA9BD926-EFEF-4B99-B66A-8916432BB991}" dt="2025-05-17T09:33:54.818" v="96" actId="207"/>
          <ac:spMkLst>
            <pc:docMk/>
            <pc:sldMk cId="0" sldId="320"/>
            <ac:spMk id="2" creationId="{00000000-0000-0000-0000-000000000000}"/>
          </ac:spMkLst>
        </pc:spChg>
        <pc:spChg chg="add del mod topLvl">
          <ac:chgData name="Khaled M. Alshly" userId="4a7e16d7-ffb1-40f7-83a0-a1197d631c7e" providerId="ADAL" clId="{EA9BD926-EFEF-4B99-B66A-8916432BB991}" dt="2025-05-17T09:32:49.842" v="95" actId="1035"/>
          <ac:spMkLst>
            <pc:docMk/>
            <pc:sldMk cId="0" sldId="320"/>
            <ac:spMk id="5" creationId="{00000000-0000-0000-0000-000000000000}"/>
          </ac:spMkLst>
        </pc:spChg>
        <pc:spChg chg="mod topLvl">
          <ac:chgData name="Khaled M. Alshly" userId="4a7e16d7-ffb1-40f7-83a0-a1197d631c7e" providerId="ADAL" clId="{EA9BD926-EFEF-4B99-B66A-8916432BB991}" dt="2025-05-17T09:31:44.665" v="83" actId="207"/>
          <ac:spMkLst>
            <pc:docMk/>
            <pc:sldMk cId="0" sldId="320"/>
            <ac:spMk id="7" creationId="{00000000-0000-0000-0000-000000000000}"/>
          </ac:spMkLst>
        </pc:spChg>
        <pc:spChg chg="mod topLvl">
          <ac:chgData name="Khaled M. Alshly" userId="4a7e16d7-ffb1-40f7-83a0-a1197d631c7e" providerId="ADAL" clId="{EA9BD926-EFEF-4B99-B66A-8916432BB991}" dt="2025-05-17T09:31:37.670" v="82" actId="207"/>
          <ac:spMkLst>
            <pc:docMk/>
            <pc:sldMk cId="0" sldId="320"/>
            <ac:spMk id="9" creationId="{00000000-0000-0000-0000-000000000000}"/>
          </ac:spMkLst>
        </pc:spChg>
        <pc:spChg chg="mod topLvl">
          <ac:chgData name="Khaled M. Alshly" userId="4a7e16d7-ffb1-40f7-83a0-a1197d631c7e" providerId="ADAL" clId="{EA9BD926-EFEF-4B99-B66A-8916432BB991}" dt="2025-05-17T09:31:06.442" v="77" actId="165"/>
          <ac:spMkLst>
            <pc:docMk/>
            <pc:sldMk cId="0" sldId="320"/>
            <ac:spMk id="12" creationId="{00000000-0000-0000-0000-000000000000}"/>
          </ac:spMkLst>
        </pc:spChg>
        <pc:spChg chg="mod topLvl">
          <ac:chgData name="Khaled M. Alshly" userId="4a7e16d7-ffb1-40f7-83a0-a1197d631c7e" providerId="ADAL" clId="{EA9BD926-EFEF-4B99-B66A-8916432BB991}" dt="2025-05-17T09:31:06.442" v="77" actId="165"/>
          <ac:spMkLst>
            <pc:docMk/>
            <pc:sldMk cId="0" sldId="320"/>
            <ac:spMk id="15" creationId="{00000000-0000-0000-0000-000000000000}"/>
          </ac:spMkLst>
        </pc:spChg>
        <pc:spChg chg="mod topLvl">
          <ac:chgData name="Khaled M. Alshly" userId="4a7e16d7-ffb1-40f7-83a0-a1197d631c7e" providerId="ADAL" clId="{EA9BD926-EFEF-4B99-B66A-8916432BB991}" dt="2025-05-17T09:31:06.442" v="77" actId="165"/>
          <ac:spMkLst>
            <pc:docMk/>
            <pc:sldMk cId="0" sldId="320"/>
            <ac:spMk id="21" creationId="{00000000-0000-0000-0000-000000000000}"/>
          </ac:spMkLst>
        </pc:spChg>
        <pc:spChg chg="mod topLvl">
          <ac:chgData name="Khaled M. Alshly" userId="4a7e16d7-ffb1-40f7-83a0-a1197d631c7e" providerId="ADAL" clId="{EA9BD926-EFEF-4B99-B66A-8916432BB991}" dt="2025-05-17T09:31:06.442" v="77" actId="165"/>
          <ac:spMkLst>
            <pc:docMk/>
            <pc:sldMk cId="0" sldId="320"/>
            <ac:spMk id="27" creationId="{00000000-0000-0000-0000-000000000000}"/>
          </ac:spMkLst>
        </pc:spChg>
        <pc:spChg chg="mod topLvl">
          <ac:chgData name="Khaled M. Alshly" userId="4a7e16d7-ffb1-40f7-83a0-a1197d631c7e" providerId="ADAL" clId="{EA9BD926-EFEF-4B99-B66A-8916432BB991}" dt="2025-05-17T09:42:43.442" v="301" actId="208"/>
          <ac:spMkLst>
            <pc:docMk/>
            <pc:sldMk cId="0" sldId="320"/>
            <ac:spMk id="30" creationId="{00000000-0000-0000-0000-000000000000}"/>
          </ac:spMkLst>
        </pc:spChg>
        <pc:spChg chg="mod">
          <ac:chgData name="Khaled M. Alshly" userId="4a7e16d7-ffb1-40f7-83a0-a1197d631c7e" providerId="ADAL" clId="{EA9BD926-EFEF-4B99-B66A-8916432BB991}" dt="2025-05-17T09:42:40.270" v="300" actId="208"/>
          <ac:spMkLst>
            <pc:docMk/>
            <pc:sldMk cId="0" sldId="320"/>
            <ac:spMk id="33" creationId="{00000000-0000-0000-0000-000000000000}"/>
          </ac:spMkLst>
        </pc:spChg>
        <pc:spChg chg="mod">
          <ac:chgData name="Khaled M. Alshly" userId="4a7e16d7-ffb1-40f7-83a0-a1197d631c7e" providerId="ADAL" clId="{EA9BD926-EFEF-4B99-B66A-8916432BB991}" dt="2025-05-17T09:42:55.811" v="305" actId="208"/>
          <ac:spMkLst>
            <pc:docMk/>
            <pc:sldMk cId="0" sldId="320"/>
            <ac:spMk id="36" creationId="{00000000-0000-0000-0000-000000000000}"/>
          </ac:spMkLst>
        </pc:spChg>
        <pc:spChg chg="mod">
          <ac:chgData name="Khaled M. Alshly" userId="4a7e16d7-ffb1-40f7-83a0-a1197d631c7e" providerId="ADAL" clId="{EA9BD926-EFEF-4B99-B66A-8916432BB991}" dt="2025-05-17T09:42:59.441" v="306" actId="208"/>
          <ac:spMkLst>
            <pc:docMk/>
            <pc:sldMk cId="0" sldId="320"/>
            <ac:spMk id="39" creationId="{00000000-0000-0000-0000-000000000000}"/>
          </ac:spMkLst>
        </pc:spChg>
        <pc:spChg chg="mod topLvl">
          <ac:chgData name="Khaled M. Alshly" userId="4a7e16d7-ffb1-40f7-83a0-a1197d631c7e" providerId="ADAL" clId="{EA9BD926-EFEF-4B99-B66A-8916432BB991}" dt="2025-05-17T09:31:06.442" v="77" actId="165"/>
          <ac:spMkLst>
            <pc:docMk/>
            <pc:sldMk cId="0" sldId="320"/>
            <ac:spMk id="40" creationId="{00000000-0000-0000-0000-000000000000}"/>
          </ac:spMkLst>
        </pc:spChg>
        <pc:spChg chg="mod topLvl">
          <ac:chgData name="Khaled M. Alshly" userId="4a7e16d7-ffb1-40f7-83a0-a1197d631c7e" providerId="ADAL" clId="{EA9BD926-EFEF-4B99-B66A-8916432BB991}" dt="2025-05-17T09:42:17.161" v="292" actId="207"/>
          <ac:spMkLst>
            <pc:docMk/>
            <pc:sldMk cId="0" sldId="320"/>
            <ac:spMk id="41" creationId="{00000000-0000-0000-0000-000000000000}"/>
          </ac:spMkLst>
        </pc:spChg>
        <pc:spChg chg="mod">
          <ac:chgData name="Khaled M. Alshly" userId="4a7e16d7-ffb1-40f7-83a0-a1197d631c7e" providerId="ADAL" clId="{EA9BD926-EFEF-4B99-B66A-8916432BB991}" dt="2025-05-17T09:37:56.318" v="175" actId="1076"/>
          <ac:spMkLst>
            <pc:docMk/>
            <pc:sldMk cId="0" sldId="320"/>
            <ac:spMk id="44" creationId="{00000000-0000-0000-0000-000000000000}"/>
          </ac:spMkLst>
        </pc:spChg>
        <pc:spChg chg="mod">
          <ac:chgData name="Khaled M. Alshly" userId="4a7e16d7-ffb1-40f7-83a0-a1197d631c7e" providerId="ADAL" clId="{EA9BD926-EFEF-4B99-B66A-8916432BB991}" dt="2025-05-17T09:38:06.227" v="176" actId="1076"/>
          <ac:spMkLst>
            <pc:docMk/>
            <pc:sldMk cId="0" sldId="320"/>
            <ac:spMk id="45" creationId="{00000000-0000-0000-0000-000000000000}"/>
          </ac:spMkLst>
        </pc:spChg>
        <pc:spChg chg="mod">
          <ac:chgData name="Khaled M. Alshly" userId="4a7e16d7-ffb1-40f7-83a0-a1197d631c7e" providerId="ADAL" clId="{EA9BD926-EFEF-4B99-B66A-8916432BB991}" dt="2025-05-17T09:37:11.247" v="158" actId="1076"/>
          <ac:spMkLst>
            <pc:docMk/>
            <pc:sldMk cId="0" sldId="320"/>
            <ac:spMk id="47" creationId="{00000000-0000-0000-0000-000000000000}"/>
          </ac:spMkLst>
        </pc:spChg>
        <pc:spChg chg="mod topLvl">
          <ac:chgData name="Khaled M. Alshly" userId="4a7e16d7-ffb1-40f7-83a0-a1197d631c7e" providerId="ADAL" clId="{EA9BD926-EFEF-4B99-B66A-8916432BB991}" dt="2025-05-17T09:39:55.771" v="218" actId="208"/>
          <ac:spMkLst>
            <pc:docMk/>
            <pc:sldMk cId="0" sldId="320"/>
            <ac:spMk id="48" creationId="{00000000-0000-0000-0000-000000000000}"/>
          </ac:spMkLst>
        </pc:spChg>
        <pc:spChg chg="mod topLvl">
          <ac:chgData name="Khaled M. Alshly" userId="4a7e16d7-ffb1-40f7-83a0-a1197d631c7e" providerId="ADAL" clId="{EA9BD926-EFEF-4B99-B66A-8916432BB991}" dt="2025-05-17T09:39:55.771" v="218" actId="208"/>
          <ac:spMkLst>
            <pc:docMk/>
            <pc:sldMk cId="0" sldId="320"/>
            <ac:spMk id="50" creationId="{00000000-0000-0000-0000-000000000000}"/>
          </ac:spMkLst>
        </pc:spChg>
        <pc:spChg chg="mod topLvl">
          <ac:chgData name="Khaled M. Alshly" userId="4a7e16d7-ffb1-40f7-83a0-a1197d631c7e" providerId="ADAL" clId="{EA9BD926-EFEF-4B99-B66A-8916432BB991}" dt="2025-05-17T09:39:55.771" v="218" actId="208"/>
          <ac:spMkLst>
            <pc:docMk/>
            <pc:sldMk cId="0" sldId="320"/>
            <ac:spMk id="53" creationId="{00000000-0000-0000-0000-000000000000}"/>
          </ac:spMkLst>
        </pc:spChg>
        <pc:spChg chg="mod topLvl">
          <ac:chgData name="Khaled M. Alshly" userId="4a7e16d7-ffb1-40f7-83a0-a1197d631c7e" providerId="ADAL" clId="{EA9BD926-EFEF-4B99-B66A-8916432BB991}" dt="2025-05-17T09:39:55.771" v="218" actId="208"/>
          <ac:spMkLst>
            <pc:docMk/>
            <pc:sldMk cId="0" sldId="320"/>
            <ac:spMk id="54" creationId="{00000000-0000-0000-0000-000000000000}"/>
          </ac:spMkLst>
        </pc:spChg>
        <pc:spChg chg="mod">
          <ac:chgData name="Khaled M. Alshly" userId="4a7e16d7-ffb1-40f7-83a0-a1197d631c7e" providerId="ADAL" clId="{EA9BD926-EFEF-4B99-B66A-8916432BB991}" dt="2025-05-17T09:30:59.541" v="76" actId="208"/>
          <ac:spMkLst>
            <pc:docMk/>
            <pc:sldMk cId="0" sldId="320"/>
            <ac:spMk id="57" creationId="{00000000-0000-0000-0000-000000000000}"/>
          </ac:spMkLst>
        </pc:spChg>
        <pc:spChg chg="mod topLvl">
          <ac:chgData name="Khaled M. Alshly" userId="4a7e16d7-ffb1-40f7-83a0-a1197d631c7e" providerId="ADAL" clId="{EA9BD926-EFEF-4B99-B66A-8916432BB991}" dt="2025-05-17T09:39:55.771" v="218" actId="208"/>
          <ac:spMkLst>
            <pc:docMk/>
            <pc:sldMk cId="0" sldId="320"/>
            <ac:spMk id="62" creationId="{00000000-0000-0000-0000-000000000000}"/>
          </ac:spMkLst>
        </pc:spChg>
        <pc:spChg chg="mod topLvl">
          <ac:chgData name="Khaled M. Alshly" userId="4a7e16d7-ffb1-40f7-83a0-a1197d631c7e" providerId="ADAL" clId="{EA9BD926-EFEF-4B99-B66A-8916432BB991}" dt="2025-05-17T09:39:55.771" v="218" actId="208"/>
          <ac:spMkLst>
            <pc:docMk/>
            <pc:sldMk cId="0" sldId="320"/>
            <ac:spMk id="63" creationId="{00000000-0000-0000-0000-000000000000}"/>
          </ac:spMkLst>
        </pc:spChg>
        <pc:spChg chg="mod topLvl">
          <ac:chgData name="Khaled M. Alshly" userId="4a7e16d7-ffb1-40f7-83a0-a1197d631c7e" providerId="ADAL" clId="{EA9BD926-EFEF-4B99-B66A-8916432BB991}" dt="2025-05-17T09:39:55.771" v="218" actId="208"/>
          <ac:spMkLst>
            <pc:docMk/>
            <pc:sldMk cId="0" sldId="320"/>
            <ac:spMk id="65" creationId="{00000000-0000-0000-0000-000000000000}"/>
          </ac:spMkLst>
        </pc:spChg>
        <pc:spChg chg="mod topLvl">
          <ac:chgData name="Khaled M. Alshly" userId="4a7e16d7-ffb1-40f7-83a0-a1197d631c7e" providerId="ADAL" clId="{EA9BD926-EFEF-4B99-B66A-8916432BB991}" dt="2025-05-17T09:39:55.771" v="218" actId="208"/>
          <ac:spMkLst>
            <pc:docMk/>
            <pc:sldMk cId="0" sldId="320"/>
            <ac:spMk id="66" creationId="{00000000-0000-0000-0000-000000000000}"/>
          </ac:spMkLst>
        </pc:spChg>
        <pc:spChg chg="mod">
          <ac:chgData name="Khaled M. Alshly" userId="4a7e16d7-ffb1-40f7-83a0-a1197d631c7e" providerId="ADAL" clId="{EA9BD926-EFEF-4B99-B66A-8916432BB991}" dt="2025-05-17T09:30:59.541" v="76" actId="208"/>
          <ac:spMkLst>
            <pc:docMk/>
            <pc:sldMk cId="0" sldId="320"/>
            <ac:spMk id="68" creationId="{00000000-0000-0000-0000-000000000000}"/>
          </ac:spMkLst>
        </pc:spChg>
        <pc:spChg chg="mod topLvl">
          <ac:chgData name="Khaled M. Alshly" userId="4a7e16d7-ffb1-40f7-83a0-a1197d631c7e" providerId="ADAL" clId="{EA9BD926-EFEF-4B99-B66A-8916432BB991}" dt="2025-05-17T09:39:55.771" v="218" actId="208"/>
          <ac:spMkLst>
            <pc:docMk/>
            <pc:sldMk cId="0" sldId="320"/>
            <ac:spMk id="72" creationId="{00000000-0000-0000-0000-000000000000}"/>
          </ac:spMkLst>
        </pc:spChg>
        <pc:spChg chg="mod topLvl">
          <ac:chgData name="Khaled M. Alshly" userId="4a7e16d7-ffb1-40f7-83a0-a1197d631c7e" providerId="ADAL" clId="{EA9BD926-EFEF-4B99-B66A-8916432BB991}" dt="2025-05-17T09:39:55.771" v="218" actId="208"/>
          <ac:spMkLst>
            <pc:docMk/>
            <pc:sldMk cId="0" sldId="320"/>
            <ac:spMk id="73" creationId="{00000000-0000-0000-0000-000000000000}"/>
          </ac:spMkLst>
        </pc:spChg>
        <pc:spChg chg="mod">
          <ac:chgData name="Khaled M. Alshly" userId="4a7e16d7-ffb1-40f7-83a0-a1197d631c7e" providerId="ADAL" clId="{EA9BD926-EFEF-4B99-B66A-8916432BB991}" dt="2025-05-17T09:43:08.967" v="308" actId="1076"/>
          <ac:spMkLst>
            <pc:docMk/>
            <pc:sldMk cId="0" sldId="320"/>
            <ac:spMk id="74" creationId="{00000000-0000-0000-0000-000000000000}"/>
          </ac:spMkLst>
        </pc:spChg>
        <pc:spChg chg="mod topLvl">
          <ac:chgData name="Khaled M. Alshly" userId="4a7e16d7-ffb1-40f7-83a0-a1197d631c7e" providerId="ADAL" clId="{EA9BD926-EFEF-4B99-B66A-8916432BB991}" dt="2025-05-17T09:40:15.501" v="221" actId="207"/>
          <ac:spMkLst>
            <pc:docMk/>
            <pc:sldMk cId="0" sldId="320"/>
            <ac:spMk id="78" creationId="{00000000-0000-0000-0000-000000000000}"/>
          </ac:spMkLst>
        </pc:spChg>
        <pc:spChg chg="mod topLvl">
          <ac:chgData name="Khaled M. Alshly" userId="4a7e16d7-ffb1-40f7-83a0-a1197d631c7e" providerId="ADAL" clId="{EA9BD926-EFEF-4B99-B66A-8916432BB991}" dt="2025-05-17T09:41:04.971" v="261" actId="207"/>
          <ac:spMkLst>
            <pc:docMk/>
            <pc:sldMk cId="0" sldId="320"/>
            <ac:spMk id="80" creationId="{00000000-0000-0000-0000-000000000000}"/>
          </ac:spMkLst>
        </pc:spChg>
        <pc:spChg chg="mod topLvl">
          <ac:chgData name="Khaled M. Alshly" userId="4a7e16d7-ffb1-40f7-83a0-a1197d631c7e" providerId="ADAL" clId="{EA9BD926-EFEF-4B99-B66A-8916432BB991}" dt="2025-05-17T09:41:04.971" v="261" actId="207"/>
          <ac:spMkLst>
            <pc:docMk/>
            <pc:sldMk cId="0" sldId="320"/>
            <ac:spMk id="82" creationId="{00000000-0000-0000-0000-000000000000}"/>
          </ac:spMkLst>
        </pc:spChg>
        <pc:spChg chg="mod topLvl">
          <ac:chgData name="Khaled M. Alshly" userId="4a7e16d7-ffb1-40f7-83a0-a1197d631c7e" providerId="ADAL" clId="{EA9BD926-EFEF-4B99-B66A-8916432BB991}" dt="2025-05-17T09:41:04.971" v="261" actId="207"/>
          <ac:spMkLst>
            <pc:docMk/>
            <pc:sldMk cId="0" sldId="320"/>
            <ac:spMk id="84" creationId="{00000000-0000-0000-0000-000000000000}"/>
          </ac:spMkLst>
        </pc:spChg>
        <pc:spChg chg="mod topLvl">
          <ac:chgData name="Khaled M. Alshly" userId="4a7e16d7-ffb1-40f7-83a0-a1197d631c7e" providerId="ADAL" clId="{EA9BD926-EFEF-4B99-B66A-8916432BB991}" dt="2025-05-17T09:41:04.971" v="261" actId="207"/>
          <ac:spMkLst>
            <pc:docMk/>
            <pc:sldMk cId="0" sldId="320"/>
            <ac:spMk id="86" creationId="{00000000-0000-0000-0000-000000000000}"/>
          </ac:spMkLst>
        </pc:spChg>
        <pc:spChg chg="mod topLvl">
          <ac:chgData name="Khaled M. Alshly" userId="4a7e16d7-ffb1-40f7-83a0-a1197d631c7e" providerId="ADAL" clId="{EA9BD926-EFEF-4B99-B66A-8916432BB991}" dt="2025-05-17T09:41:04.971" v="261" actId="207"/>
          <ac:spMkLst>
            <pc:docMk/>
            <pc:sldMk cId="0" sldId="320"/>
            <ac:spMk id="88" creationId="{00000000-0000-0000-0000-000000000000}"/>
          </ac:spMkLst>
        </pc:spChg>
        <pc:spChg chg="mod topLvl">
          <ac:chgData name="Khaled M. Alshly" userId="4a7e16d7-ffb1-40f7-83a0-a1197d631c7e" providerId="ADAL" clId="{EA9BD926-EFEF-4B99-B66A-8916432BB991}" dt="2025-05-17T09:41:08.681" v="262" actId="207"/>
          <ac:spMkLst>
            <pc:docMk/>
            <pc:sldMk cId="0" sldId="320"/>
            <ac:spMk id="89" creationId="{00000000-0000-0000-0000-000000000000}"/>
          </ac:spMkLst>
        </pc:spChg>
        <pc:spChg chg="mod topLvl">
          <ac:chgData name="Khaled M. Alshly" userId="4a7e16d7-ffb1-40f7-83a0-a1197d631c7e" providerId="ADAL" clId="{EA9BD926-EFEF-4B99-B66A-8916432BB991}" dt="2025-05-17T09:40:12.551" v="220" actId="207"/>
          <ac:spMkLst>
            <pc:docMk/>
            <pc:sldMk cId="0" sldId="320"/>
            <ac:spMk id="92" creationId="{00000000-0000-0000-0000-000000000000}"/>
          </ac:spMkLst>
        </pc:spChg>
        <pc:spChg chg="mod">
          <ac:chgData name="Khaled M. Alshly" userId="4a7e16d7-ffb1-40f7-83a0-a1197d631c7e" providerId="ADAL" clId="{EA9BD926-EFEF-4B99-B66A-8916432BB991}" dt="2025-05-17T09:30:59.541" v="76" actId="208"/>
          <ac:spMkLst>
            <pc:docMk/>
            <pc:sldMk cId="0" sldId="320"/>
            <ac:spMk id="95" creationId="{00000000-0000-0000-0000-000000000000}"/>
          </ac:spMkLst>
        </pc:spChg>
        <pc:spChg chg="mod topLvl">
          <ac:chgData name="Khaled M. Alshly" userId="4a7e16d7-ffb1-40f7-83a0-a1197d631c7e" providerId="ADAL" clId="{EA9BD926-EFEF-4B99-B66A-8916432BB991}" dt="2025-05-17T09:34:40.908" v="99" actId="165"/>
          <ac:spMkLst>
            <pc:docMk/>
            <pc:sldMk cId="0" sldId="320"/>
            <ac:spMk id="98" creationId="{00000000-0000-0000-0000-000000000000}"/>
          </ac:spMkLst>
        </pc:spChg>
        <pc:spChg chg="mod topLvl">
          <ac:chgData name="Khaled M. Alshly" userId="4a7e16d7-ffb1-40f7-83a0-a1197d631c7e" providerId="ADAL" clId="{EA9BD926-EFEF-4B99-B66A-8916432BB991}" dt="2025-05-17T09:34:40.908" v="99" actId="165"/>
          <ac:spMkLst>
            <pc:docMk/>
            <pc:sldMk cId="0" sldId="320"/>
            <ac:spMk id="101" creationId="{00000000-0000-0000-0000-000000000000}"/>
          </ac:spMkLst>
        </pc:spChg>
        <pc:spChg chg="mod">
          <ac:chgData name="Khaled M. Alshly" userId="4a7e16d7-ffb1-40f7-83a0-a1197d631c7e" providerId="ADAL" clId="{EA9BD926-EFEF-4B99-B66A-8916432BB991}" dt="2025-05-17T09:41:13.221" v="263" actId="207"/>
          <ac:spMkLst>
            <pc:docMk/>
            <pc:sldMk cId="0" sldId="320"/>
            <ac:spMk id="102" creationId="{00000000-0000-0000-0000-000000000000}"/>
          </ac:spMkLst>
        </pc:spChg>
        <pc:spChg chg="mod">
          <ac:chgData name="Khaled M. Alshly" userId="4a7e16d7-ffb1-40f7-83a0-a1197d631c7e" providerId="ADAL" clId="{EA9BD926-EFEF-4B99-B66A-8916432BB991}" dt="2025-05-17T09:36:11.130" v="150" actId="1076"/>
          <ac:spMkLst>
            <pc:docMk/>
            <pc:sldMk cId="0" sldId="320"/>
            <ac:spMk id="103" creationId="{00000000-0000-0000-0000-000000000000}"/>
          </ac:spMkLst>
        </pc:spChg>
        <pc:spChg chg="mod">
          <ac:chgData name="Khaled M. Alshly" userId="4a7e16d7-ffb1-40f7-83a0-a1197d631c7e" providerId="ADAL" clId="{EA9BD926-EFEF-4B99-B66A-8916432BB991}" dt="2025-05-17T09:30:59.541" v="76" actId="208"/>
          <ac:spMkLst>
            <pc:docMk/>
            <pc:sldMk cId="0" sldId="320"/>
            <ac:spMk id="107" creationId="{00000000-0000-0000-0000-000000000000}"/>
          </ac:spMkLst>
        </pc:spChg>
        <pc:spChg chg="add mod">
          <ac:chgData name="Khaled M. Alshly" userId="4a7e16d7-ffb1-40f7-83a0-a1197d631c7e" providerId="ADAL" clId="{EA9BD926-EFEF-4B99-B66A-8916432BB991}" dt="2025-05-17T09:30:04.061" v="70"/>
          <ac:spMkLst>
            <pc:docMk/>
            <pc:sldMk cId="0" sldId="320"/>
            <ac:spMk id="108" creationId="{D8205850-D511-45F5-6DA6-EC36E57B197D}"/>
          </ac:spMkLst>
        </pc:spChg>
        <pc:spChg chg="add del mod">
          <ac:chgData name="Khaled M. Alshly" userId="4a7e16d7-ffb1-40f7-83a0-a1197d631c7e" providerId="ADAL" clId="{EA9BD926-EFEF-4B99-B66A-8916432BB991}" dt="2025-05-17T09:32:16.850" v="91" actId="478"/>
          <ac:spMkLst>
            <pc:docMk/>
            <pc:sldMk cId="0" sldId="320"/>
            <ac:spMk id="109" creationId="{6882FB0E-DB8F-C87A-4550-51851EFEE9CC}"/>
          </ac:spMkLst>
        </pc:spChg>
        <pc:grpChg chg="mod">
          <ac:chgData name="Khaled M. Alshly" userId="4a7e16d7-ffb1-40f7-83a0-a1197d631c7e" providerId="ADAL" clId="{EA9BD926-EFEF-4B99-B66A-8916432BB991}" dt="2025-05-17T09:34:14.138" v="98" actId="1076"/>
          <ac:grpSpMkLst>
            <pc:docMk/>
            <pc:sldMk cId="0" sldId="320"/>
            <ac:grpSpMk id="42" creationId="{00000000-0000-0000-0000-000000000000}"/>
          </ac:grpSpMkLst>
        </pc:grpChg>
        <pc:picChg chg="del">
          <ac:chgData name="Khaled M. Alshly" userId="4a7e16d7-ffb1-40f7-83a0-a1197d631c7e" providerId="ADAL" clId="{EA9BD926-EFEF-4B99-B66A-8916432BB991}" dt="2025-05-17T09:32:08.749" v="88" actId="478"/>
          <ac:picMkLst>
            <pc:docMk/>
            <pc:sldMk cId="0" sldId="320"/>
            <ac:picMk id="4" creationId="{00000000-0000-0000-0000-000000000000}"/>
          </ac:picMkLst>
        </pc:picChg>
        <pc:picChg chg="del mod">
          <ac:chgData name="Khaled M. Alshly" userId="4a7e16d7-ffb1-40f7-83a0-a1197d631c7e" providerId="ADAL" clId="{EA9BD926-EFEF-4B99-B66A-8916432BB991}" dt="2025-05-17T09:43:02.302" v="307" actId="478"/>
          <ac:picMkLst>
            <pc:docMk/>
            <pc:sldMk cId="0" sldId="320"/>
            <ac:picMk id="28" creationId="{00000000-0000-0000-0000-000000000000}"/>
          </ac:picMkLst>
        </pc:picChg>
        <pc:picChg chg="del">
          <ac:chgData name="Khaled M. Alshly" userId="4a7e16d7-ffb1-40f7-83a0-a1197d631c7e" providerId="ADAL" clId="{EA9BD926-EFEF-4B99-B66A-8916432BB991}" dt="2025-05-17T09:42:12.391" v="291" actId="478"/>
          <ac:picMkLst>
            <pc:docMk/>
            <pc:sldMk cId="0" sldId="320"/>
            <ac:picMk id="29" creationId="{00000000-0000-0000-0000-000000000000}"/>
          </ac:picMkLst>
        </pc:picChg>
        <pc:picChg chg="del mod">
          <ac:chgData name="Khaled M. Alshly" userId="4a7e16d7-ffb1-40f7-83a0-a1197d631c7e" providerId="ADAL" clId="{EA9BD926-EFEF-4B99-B66A-8916432BB991}" dt="2025-05-17T09:43:02.302" v="307" actId="478"/>
          <ac:picMkLst>
            <pc:docMk/>
            <pc:sldMk cId="0" sldId="320"/>
            <ac:picMk id="31" creationId="{00000000-0000-0000-0000-000000000000}"/>
          </ac:picMkLst>
        </pc:picChg>
        <pc:picChg chg="del">
          <ac:chgData name="Khaled M. Alshly" userId="4a7e16d7-ffb1-40f7-83a0-a1197d631c7e" providerId="ADAL" clId="{EA9BD926-EFEF-4B99-B66A-8916432BB991}" dt="2025-05-17T09:42:10.141" v="290" actId="478"/>
          <ac:picMkLst>
            <pc:docMk/>
            <pc:sldMk cId="0" sldId="320"/>
            <ac:picMk id="32" creationId="{00000000-0000-0000-0000-000000000000}"/>
          </ac:picMkLst>
        </pc:picChg>
        <pc:picChg chg="del mod">
          <ac:chgData name="Khaled M. Alshly" userId="4a7e16d7-ffb1-40f7-83a0-a1197d631c7e" providerId="ADAL" clId="{EA9BD926-EFEF-4B99-B66A-8916432BB991}" dt="2025-05-17T09:43:02.302" v="307" actId="478"/>
          <ac:picMkLst>
            <pc:docMk/>
            <pc:sldMk cId="0" sldId="320"/>
            <ac:picMk id="34" creationId="{00000000-0000-0000-0000-000000000000}"/>
          </ac:picMkLst>
        </pc:picChg>
        <pc:picChg chg="del">
          <ac:chgData name="Khaled M. Alshly" userId="4a7e16d7-ffb1-40f7-83a0-a1197d631c7e" providerId="ADAL" clId="{EA9BD926-EFEF-4B99-B66A-8916432BB991}" dt="2025-05-17T09:42:07.451" v="289" actId="478"/>
          <ac:picMkLst>
            <pc:docMk/>
            <pc:sldMk cId="0" sldId="320"/>
            <ac:picMk id="35" creationId="{00000000-0000-0000-0000-000000000000}"/>
          </ac:picMkLst>
        </pc:picChg>
        <pc:picChg chg="del mod">
          <ac:chgData name="Khaled M. Alshly" userId="4a7e16d7-ffb1-40f7-83a0-a1197d631c7e" providerId="ADAL" clId="{EA9BD926-EFEF-4B99-B66A-8916432BB991}" dt="2025-05-17T09:43:02.302" v="307" actId="478"/>
          <ac:picMkLst>
            <pc:docMk/>
            <pc:sldMk cId="0" sldId="320"/>
            <ac:picMk id="37" creationId="{00000000-0000-0000-0000-000000000000}"/>
          </ac:picMkLst>
        </pc:picChg>
        <pc:picChg chg="del mod">
          <ac:chgData name="Khaled M. Alshly" userId="4a7e16d7-ffb1-40f7-83a0-a1197d631c7e" providerId="ADAL" clId="{EA9BD926-EFEF-4B99-B66A-8916432BB991}" dt="2025-05-17T09:42:05.142" v="288" actId="478"/>
          <ac:picMkLst>
            <pc:docMk/>
            <pc:sldMk cId="0" sldId="320"/>
            <ac:picMk id="38" creationId="{00000000-0000-0000-0000-000000000000}"/>
          </ac:picMkLst>
        </pc:picChg>
        <pc:picChg chg="del mod">
          <ac:chgData name="Khaled M. Alshly" userId="4a7e16d7-ffb1-40f7-83a0-a1197d631c7e" providerId="ADAL" clId="{EA9BD926-EFEF-4B99-B66A-8916432BB991}" dt="2025-05-17T09:38:09.604" v="178" actId="478"/>
          <ac:picMkLst>
            <pc:docMk/>
            <pc:sldMk cId="0" sldId="320"/>
            <ac:picMk id="43" creationId="{00000000-0000-0000-0000-000000000000}"/>
          </ac:picMkLst>
        </pc:picChg>
        <pc:picChg chg="del mod">
          <ac:chgData name="Khaled M. Alshly" userId="4a7e16d7-ffb1-40f7-83a0-a1197d631c7e" providerId="ADAL" clId="{EA9BD926-EFEF-4B99-B66A-8916432BB991}" dt="2025-05-17T09:37:39.872" v="169" actId="478"/>
          <ac:picMkLst>
            <pc:docMk/>
            <pc:sldMk cId="0" sldId="320"/>
            <ac:picMk id="46" creationId="{00000000-0000-0000-0000-000000000000}"/>
          </ac:picMkLst>
        </pc:picChg>
        <pc:picChg chg="del mod">
          <ac:chgData name="Khaled M. Alshly" userId="4a7e16d7-ffb1-40f7-83a0-a1197d631c7e" providerId="ADAL" clId="{EA9BD926-EFEF-4B99-B66A-8916432BB991}" dt="2025-05-17T09:37:39.872" v="169" actId="478"/>
          <ac:picMkLst>
            <pc:docMk/>
            <pc:sldMk cId="0" sldId="320"/>
            <ac:picMk id="49" creationId="{00000000-0000-0000-0000-000000000000}"/>
          </ac:picMkLst>
        </pc:picChg>
        <pc:picChg chg="del mod">
          <ac:chgData name="Khaled M. Alshly" userId="4a7e16d7-ffb1-40f7-83a0-a1197d631c7e" providerId="ADAL" clId="{EA9BD926-EFEF-4B99-B66A-8916432BB991}" dt="2025-05-17T09:37:39.872" v="169" actId="478"/>
          <ac:picMkLst>
            <pc:docMk/>
            <pc:sldMk cId="0" sldId="320"/>
            <ac:picMk id="52" creationId="{00000000-0000-0000-0000-000000000000}"/>
          </ac:picMkLst>
        </pc:picChg>
        <pc:picChg chg="del mod">
          <ac:chgData name="Khaled M. Alshly" userId="4a7e16d7-ffb1-40f7-83a0-a1197d631c7e" providerId="ADAL" clId="{EA9BD926-EFEF-4B99-B66A-8916432BB991}" dt="2025-05-17T09:37:39.872" v="169" actId="478"/>
          <ac:picMkLst>
            <pc:docMk/>
            <pc:sldMk cId="0" sldId="320"/>
            <ac:picMk id="55" creationId="{00000000-0000-0000-0000-000000000000}"/>
          </ac:picMkLst>
        </pc:picChg>
        <pc:picChg chg="del mod">
          <ac:chgData name="Khaled M. Alshly" userId="4a7e16d7-ffb1-40f7-83a0-a1197d631c7e" providerId="ADAL" clId="{EA9BD926-EFEF-4B99-B66A-8916432BB991}" dt="2025-05-17T09:37:39.872" v="169" actId="478"/>
          <ac:picMkLst>
            <pc:docMk/>
            <pc:sldMk cId="0" sldId="320"/>
            <ac:picMk id="58" creationId="{00000000-0000-0000-0000-000000000000}"/>
          </ac:picMkLst>
        </pc:picChg>
        <pc:picChg chg="del mod">
          <ac:chgData name="Khaled M. Alshly" userId="4a7e16d7-ffb1-40f7-83a0-a1197d631c7e" providerId="ADAL" clId="{EA9BD926-EFEF-4B99-B66A-8916432BB991}" dt="2025-05-17T09:37:39.872" v="169" actId="478"/>
          <ac:picMkLst>
            <pc:docMk/>
            <pc:sldMk cId="0" sldId="320"/>
            <ac:picMk id="61" creationId="{00000000-0000-0000-0000-000000000000}"/>
          </ac:picMkLst>
        </pc:picChg>
        <pc:picChg chg="del mod">
          <ac:chgData name="Khaled M. Alshly" userId="4a7e16d7-ffb1-40f7-83a0-a1197d631c7e" providerId="ADAL" clId="{EA9BD926-EFEF-4B99-B66A-8916432BB991}" dt="2025-05-17T09:37:39.872" v="169" actId="478"/>
          <ac:picMkLst>
            <pc:docMk/>
            <pc:sldMk cId="0" sldId="320"/>
            <ac:picMk id="64" creationId="{00000000-0000-0000-0000-000000000000}"/>
          </ac:picMkLst>
        </pc:picChg>
        <pc:picChg chg="del mod">
          <ac:chgData name="Khaled M. Alshly" userId="4a7e16d7-ffb1-40f7-83a0-a1197d631c7e" providerId="ADAL" clId="{EA9BD926-EFEF-4B99-B66A-8916432BB991}" dt="2025-05-17T09:37:39.872" v="169" actId="478"/>
          <ac:picMkLst>
            <pc:docMk/>
            <pc:sldMk cId="0" sldId="320"/>
            <ac:picMk id="67" creationId="{00000000-0000-0000-0000-000000000000}"/>
          </ac:picMkLst>
        </pc:picChg>
        <pc:picChg chg="del mod">
          <ac:chgData name="Khaled M. Alshly" userId="4a7e16d7-ffb1-40f7-83a0-a1197d631c7e" providerId="ADAL" clId="{EA9BD926-EFEF-4B99-B66A-8916432BB991}" dt="2025-05-17T09:37:39.872" v="169" actId="478"/>
          <ac:picMkLst>
            <pc:docMk/>
            <pc:sldMk cId="0" sldId="320"/>
            <ac:picMk id="70" creationId="{00000000-0000-0000-0000-000000000000}"/>
          </ac:picMkLst>
        </pc:picChg>
      </pc:sldChg>
      <pc:sldChg chg="modSp mod setBg">
        <pc:chgData name="Khaled M. Alshly" userId="4a7e16d7-ffb1-40f7-83a0-a1197d631c7e" providerId="ADAL" clId="{EA9BD926-EFEF-4B99-B66A-8916432BB991}" dt="2025-05-17T10:06:02.629" v="459"/>
        <pc:sldMkLst>
          <pc:docMk/>
          <pc:sldMk cId="3588420779" sldId="321"/>
        </pc:sldMkLst>
        <pc:spChg chg="mod">
          <ac:chgData name="Khaled M. Alshly" userId="4a7e16d7-ffb1-40f7-83a0-a1197d631c7e" providerId="ADAL" clId="{EA9BD926-EFEF-4B99-B66A-8916432BB991}" dt="2025-05-17T09:43:57.418" v="314" actId="207"/>
          <ac:spMkLst>
            <pc:docMk/>
            <pc:sldMk cId="3588420779" sldId="321"/>
            <ac:spMk id="2" creationId="{43D77E4F-FAD8-E2AB-42E5-76263747BE48}"/>
          </ac:spMkLst>
        </pc:spChg>
        <pc:picChg chg="mod">
          <ac:chgData name="Khaled M. Alshly" userId="4a7e16d7-ffb1-40f7-83a0-a1197d631c7e" providerId="ADAL" clId="{EA9BD926-EFEF-4B99-B66A-8916432BB991}" dt="2025-05-17T09:43:48.593" v="313" actId="2085"/>
          <ac:picMkLst>
            <pc:docMk/>
            <pc:sldMk cId="3588420779" sldId="321"/>
            <ac:picMk id="7" creationId="{6D931461-0CFD-BB93-4006-366FB8544884}"/>
          </ac:picMkLst>
        </pc:picChg>
      </pc:sldChg>
      <pc:sldChg chg="addSp modSp setBg">
        <pc:chgData name="Khaled M. Alshly" userId="4a7e16d7-ffb1-40f7-83a0-a1197d631c7e" providerId="ADAL" clId="{EA9BD926-EFEF-4B99-B66A-8916432BB991}" dt="2025-05-17T10:06:02.629" v="459"/>
        <pc:sldMkLst>
          <pc:docMk/>
          <pc:sldMk cId="2944620960" sldId="395"/>
        </pc:sldMkLst>
        <pc:picChg chg="add mod">
          <ac:chgData name="Khaled M. Alshly" userId="4a7e16d7-ffb1-40f7-83a0-a1197d631c7e" providerId="ADAL" clId="{EA9BD926-EFEF-4B99-B66A-8916432BB991}" dt="2025-05-17T10:05:12.566" v="456"/>
          <ac:picMkLst>
            <pc:docMk/>
            <pc:sldMk cId="2944620960" sldId="395"/>
            <ac:picMk id="3" creationId="{BEC4869B-F812-C377-19FA-4C1ECCBBE316}"/>
          </ac:picMkLst>
        </pc:picChg>
      </pc:sldChg>
      <pc:sldChg chg="add del">
        <pc:chgData name="Khaled M. Alshly" userId="4a7e16d7-ffb1-40f7-83a0-a1197d631c7e" providerId="ADAL" clId="{EA9BD926-EFEF-4B99-B66A-8916432BB991}" dt="2025-05-17T10:06:34.107" v="466"/>
        <pc:sldMkLst>
          <pc:docMk/>
          <pc:sldMk cId="405341920" sldId="396"/>
        </pc:sldMkLst>
      </pc:sldChg>
      <pc:sldChg chg="delSp modSp add mod ord modNotes">
        <pc:chgData name="Khaled M. Alshly" userId="4a7e16d7-ffb1-40f7-83a0-a1197d631c7e" providerId="ADAL" clId="{EA9BD926-EFEF-4B99-B66A-8916432BB991}" dt="2025-05-17T10:23:51.307" v="617"/>
        <pc:sldMkLst>
          <pc:docMk/>
          <pc:sldMk cId="1377472846" sldId="396"/>
        </pc:sldMkLst>
        <pc:spChg chg="del">
          <ac:chgData name="Khaled M. Alshly" userId="4a7e16d7-ffb1-40f7-83a0-a1197d631c7e" providerId="ADAL" clId="{EA9BD926-EFEF-4B99-B66A-8916432BB991}" dt="2025-05-17T10:11:11.703" v="488" actId="478"/>
          <ac:spMkLst>
            <pc:docMk/>
            <pc:sldMk cId="1377472846" sldId="396"/>
            <ac:spMk id="2" creationId="{B42373F7-430C-EBA8-8D37-20663A928E63}"/>
          </ac:spMkLst>
        </pc:spChg>
        <pc:spChg chg="mod">
          <ac:chgData name="Khaled M. Alshly" userId="4a7e16d7-ffb1-40f7-83a0-a1197d631c7e" providerId="ADAL" clId="{EA9BD926-EFEF-4B99-B66A-8916432BB991}" dt="2025-05-17T10:11:17.359" v="489" actId="1076"/>
          <ac:spMkLst>
            <pc:docMk/>
            <pc:sldMk cId="1377472846" sldId="396"/>
            <ac:spMk id="3" creationId="{D1093431-EFEE-A0B5-76E6-002837753A69}"/>
          </ac:spMkLst>
        </pc:spChg>
      </pc:sldChg>
      <pc:sldChg chg="addSp delSp modSp add mod">
        <pc:chgData name="Khaled M. Alshly" userId="4a7e16d7-ffb1-40f7-83a0-a1197d631c7e" providerId="ADAL" clId="{EA9BD926-EFEF-4B99-B66A-8916432BB991}" dt="2025-05-17T10:41:59.697" v="748" actId="207"/>
        <pc:sldMkLst>
          <pc:docMk/>
          <pc:sldMk cId="1005248434" sldId="397"/>
        </pc:sldMkLst>
        <pc:spChg chg="del">
          <ac:chgData name="Khaled M. Alshly" userId="4a7e16d7-ffb1-40f7-83a0-a1197d631c7e" providerId="ADAL" clId="{EA9BD926-EFEF-4B99-B66A-8916432BB991}" dt="2025-05-17T10:14:36.997" v="504" actId="478"/>
          <ac:spMkLst>
            <pc:docMk/>
            <pc:sldMk cId="1005248434" sldId="397"/>
            <ac:spMk id="3" creationId="{585FBF77-4ED7-273F-6929-4D12786FB570}"/>
          </ac:spMkLst>
        </pc:spChg>
        <pc:spChg chg="del">
          <ac:chgData name="Khaled M. Alshly" userId="4a7e16d7-ffb1-40f7-83a0-a1197d631c7e" providerId="ADAL" clId="{EA9BD926-EFEF-4B99-B66A-8916432BB991}" dt="2025-05-17T10:14:36.997" v="504" actId="478"/>
          <ac:spMkLst>
            <pc:docMk/>
            <pc:sldMk cId="1005248434" sldId="397"/>
            <ac:spMk id="4" creationId="{1CDE0E14-92AD-58CA-CF36-1A5B2FF8ED48}"/>
          </ac:spMkLst>
        </pc:spChg>
        <pc:spChg chg="del">
          <ac:chgData name="Khaled M. Alshly" userId="4a7e16d7-ffb1-40f7-83a0-a1197d631c7e" providerId="ADAL" clId="{EA9BD926-EFEF-4B99-B66A-8916432BB991}" dt="2025-05-17T10:14:36.997" v="504" actId="478"/>
          <ac:spMkLst>
            <pc:docMk/>
            <pc:sldMk cId="1005248434" sldId="397"/>
            <ac:spMk id="5" creationId="{B6CAE4D2-1B04-1A57-8D5C-9547048A9B2B}"/>
          </ac:spMkLst>
        </pc:spChg>
        <pc:spChg chg="del">
          <ac:chgData name="Khaled M. Alshly" userId="4a7e16d7-ffb1-40f7-83a0-a1197d631c7e" providerId="ADAL" clId="{EA9BD926-EFEF-4B99-B66A-8916432BB991}" dt="2025-05-17T10:14:36.997" v="504" actId="478"/>
          <ac:spMkLst>
            <pc:docMk/>
            <pc:sldMk cId="1005248434" sldId="397"/>
            <ac:spMk id="6" creationId="{71389B3F-59B6-DBB4-9BB6-FAF5D2113CF7}"/>
          </ac:spMkLst>
        </pc:spChg>
        <pc:spChg chg="del">
          <ac:chgData name="Khaled M. Alshly" userId="4a7e16d7-ffb1-40f7-83a0-a1197d631c7e" providerId="ADAL" clId="{EA9BD926-EFEF-4B99-B66A-8916432BB991}" dt="2025-05-17T10:14:36.997" v="504" actId="478"/>
          <ac:spMkLst>
            <pc:docMk/>
            <pc:sldMk cId="1005248434" sldId="397"/>
            <ac:spMk id="8" creationId="{96AB2FF2-A2EA-24DC-D3D7-BE7EB0B4105D}"/>
          </ac:spMkLst>
        </pc:spChg>
        <pc:spChg chg="del">
          <ac:chgData name="Khaled M. Alshly" userId="4a7e16d7-ffb1-40f7-83a0-a1197d631c7e" providerId="ADAL" clId="{EA9BD926-EFEF-4B99-B66A-8916432BB991}" dt="2025-05-17T10:14:36.997" v="504" actId="478"/>
          <ac:spMkLst>
            <pc:docMk/>
            <pc:sldMk cId="1005248434" sldId="397"/>
            <ac:spMk id="10" creationId="{B3210D52-95BD-7171-5C40-D0610270A808}"/>
          </ac:spMkLst>
        </pc:spChg>
        <pc:spChg chg="del">
          <ac:chgData name="Khaled M. Alshly" userId="4a7e16d7-ffb1-40f7-83a0-a1197d631c7e" providerId="ADAL" clId="{EA9BD926-EFEF-4B99-B66A-8916432BB991}" dt="2025-05-17T10:14:36.997" v="504" actId="478"/>
          <ac:spMkLst>
            <pc:docMk/>
            <pc:sldMk cId="1005248434" sldId="397"/>
            <ac:spMk id="20" creationId="{B17F411E-635C-D80B-ECBB-B890F457D698}"/>
          </ac:spMkLst>
        </pc:spChg>
        <pc:spChg chg="del">
          <ac:chgData name="Khaled M. Alshly" userId="4a7e16d7-ffb1-40f7-83a0-a1197d631c7e" providerId="ADAL" clId="{EA9BD926-EFEF-4B99-B66A-8916432BB991}" dt="2025-05-17T10:14:36.997" v="504" actId="478"/>
          <ac:spMkLst>
            <pc:docMk/>
            <pc:sldMk cId="1005248434" sldId="397"/>
            <ac:spMk id="22" creationId="{B94DDA32-A528-80BF-369E-282EC79E6D46}"/>
          </ac:spMkLst>
        </pc:spChg>
        <pc:spChg chg="del">
          <ac:chgData name="Khaled M. Alshly" userId="4a7e16d7-ffb1-40f7-83a0-a1197d631c7e" providerId="ADAL" clId="{EA9BD926-EFEF-4B99-B66A-8916432BB991}" dt="2025-05-17T10:14:36.997" v="504" actId="478"/>
          <ac:spMkLst>
            <pc:docMk/>
            <pc:sldMk cId="1005248434" sldId="397"/>
            <ac:spMk id="23" creationId="{55AD8E51-6164-B2BA-EC40-42A5C87653D5}"/>
          </ac:spMkLst>
        </pc:spChg>
        <pc:spChg chg="del">
          <ac:chgData name="Khaled M. Alshly" userId="4a7e16d7-ffb1-40f7-83a0-a1197d631c7e" providerId="ADAL" clId="{EA9BD926-EFEF-4B99-B66A-8916432BB991}" dt="2025-05-17T10:14:36.997" v="504" actId="478"/>
          <ac:spMkLst>
            <pc:docMk/>
            <pc:sldMk cId="1005248434" sldId="397"/>
            <ac:spMk id="25" creationId="{B71C846A-2179-2081-C868-DC1298DF2078}"/>
          </ac:spMkLst>
        </pc:spChg>
        <pc:spChg chg="add mod">
          <ac:chgData name="Khaled M. Alshly" userId="4a7e16d7-ffb1-40f7-83a0-a1197d631c7e" providerId="ADAL" clId="{EA9BD926-EFEF-4B99-B66A-8916432BB991}" dt="2025-05-17T10:41:49.541" v="746" actId="207"/>
          <ac:spMkLst>
            <pc:docMk/>
            <pc:sldMk cId="1005248434" sldId="397"/>
            <ac:spMk id="26" creationId="{1DE578F6-388E-1C82-E3EB-65FAB6330A77}"/>
          </ac:spMkLst>
        </pc:spChg>
        <pc:spChg chg="add mod">
          <ac:chgData name="Khaled M. Alshly" userId="4a7e16d7-ffb1-40f7-83a0-a1197d631c7e" providerId="ADAL" clId="{EA9BD926-EFEF-4B99-B66A-8916432BB991}" dt="2025-05-17T10:41:59.697" v="748" actId="207"/>
          <ac:spMkLst>
            <pc:docMk/>
            <pc:sldMk cId="1005248434" sldId="397"/>
            <ac:spMk id="27" creationId="{C84149A4-A56D-2D10-1563-810F2D751F92}"/>
          </ac:spMkLst>
        </pc:spChg>
        <pc:spChg chg="add mod">
          <ac:chgData name="Khaled M. Alshly" userId="4a7e16d7-ffb1-40f7-83a0-a1197d631c7e" providerId="ADAL" clId="{EA9BD926-EFEF-4B99-B66A-8916432BB991}" dt="2025-05-17T10:15:20.734" v="512"/>
          <ac:spMkLst>
            <pc:docMk/>
            <pc:sldMk cId="1005248434" sldId="397"/>
            <ac:spMk id="30" creationId="{103B57A7-8D54-E3DE-2733-FFAF6BAB1AE1}"/>
          </ac:spMkLst>
        </pc:spChg>
        <pc:spChg chg="add mod">
          <ac:chgData name="Khaled M. Alshly" userId="4a7e16d7-ffb1-40f7-83a0-a1197d631c7e" providerId="ADAL" clId="{EA9BD926-EFEF-4B99-B66A-8916432BB991}" dt="2025-05-17T10:15:19.100" v="511"/>
          <ac:spMkLst>
            <pc:docMk/>
            <pc:sldMk cId="1005248434" sldId="397"/>
            <ac:spMk id="31" creationId="{448F97B5-6020-C614-1B30-7FE0FBD31BBB}"/>
          </ac:spMkLst>
        </pc:spChg>
        <pc:picChg chg="add mod">
          <ac:chgData name="Khaled M. Alshly" userId="4a7e16d7-ffb1-40f7-83a0-a1197d631c7e" providerId="ADAL" clId="{EA9BD926-EFEF-4B99-B66A-8916432BB991}" dt="2025-05-17T10:21:12.272" v="578"/>
          <ac:picMkLst>
            <pc:docMk/>
            <pc:sldMk cId="1005248434" sldId="397"/>
            <ac:picMk id="2" creationId="{231A858C-F197-086D-3A27-9C9D1B3F6782}"/>
          </ac:picMkLst>
        </pc:picChg>
        <pc:picChg chg="add mod">
          <ac:chgData name="Khaled M. Alshly" userId="4a7e16d7-ffb1-40f7-83a0-a1197d631c7e" providerId="ADAL" clId="{EA9BD926-EFEF-4B99-B66A-8916432BB991}" dt="2025-05-17T10:20:58.658" v="577"/>
          <ac:picMkLst>
            <pc:docMk/>
            <pc:sldMk cId="1005248434" sldId="397"/>
            <ac:picMk id="28" creationId="{29F7B9D3-7C40-8B40-07A3-4A95345DB040}"/>
          </ac:picMkLst>
        </pc:picChg>
        <pc:picChg chg="add mod">
          <ac:chgData name="Khaled M. Alshly" userId="4a7e16d7-ffb1-40f7-83a0-a1197d631c7e" providerId="ADAL" clId="{EA9BD926-EFEF-4B99-B66A-8916432BB991}" dt="2025-05-17T10:15:19.100" v="511"/>
          <ac:picMkLst>
            <pc:docMk/>
            <pc:sldMk cId="1005248434" sldId="397"/>
            <ac:picMk id="29" creationId="{8360905F-DF47-09C4-355F-BA7AF74C9234}"/>
          </ac:picMkLst>
        </pc:picChg>
        <pc:picChg chg="add mod">
          <ac:chgData name="Khaled M. Alshly" userId="4a7e16d7-ffb1-40f7-83a0-a1197d631c7e" providerId="ADAL" clId="{EA9BD926-EFEF-4B99-B66A-8916432BB991}" dt="2025-05-17T10:15:19.100" v="511"/>
          <ac:picMkLst>
            <pc:docMk/>
            <pc:sldMk cId="1005248434" sldId="397"/>
            <ac:picMk id="32" creationId="{659E1595-CBD2-242C-0AF8-4CFA2331740C}"/>
          </ac:picMkLst>
        </pc:picChg>
      </pc:sldChg>
      <pc:sldChg chg="addSp delSp modSp add mod">
        <pc:chgData name="Khaled M. Alshly" userId="4a7e16d7-ffb1-40f7-83a0-a1197d631c7e" providerId="ADAL" clId="{EA9BD926-EFEF-4B99-B66A-8916432BB991}" dt="2025-05-17T10:44:32.658" v="755" actId="478"/>
        <pc:sldMkLst>
          <pc:docMk/>
          <pc:sldMk cId="1292511721" sldId="398"/>
        </pc:sldMkLst>
        <pc:spChg chg="add mod">
          <ac:chgData name="Khaled M. Alshly" userId="4a7e16d7-ffb1-40f7-83a0-a1197d631c7e" providerId="ADAL" clId="{EA9BD926-EFEF-4B99-B66A-8916432BB991}" dt="2025-05-17T10:15:58.311" v="518"/>
          <ac:spMkLst>
            <pc:docMk/>
            <pc:sldMk cId="1292511721" sldId="398"/>
            <ac:spMk id="3" creationId="{A246E821-7AA9-7928-D41D-D747CDE7A008}"/>
          </ac:spMkLst>
        </pc:spChg>
        <pc:spChg chg="add mod">
          <ac:chgData name="Khaled M. Alshly" userId="4a7e16d7-ffb1-40f7-83a0-a1197d631c7e" providerId="ADAL" clId="{EA9BD926-EFEF-4B99-B66A-8916432BB991}" dt="2025-05-17T10:15:56.486" v="517"/>
          <ac:spMkLst>
            <pc:docMk/>
            <pc:sldMk cId="1292511721" sldId="398"/>
            <ac:spMk id="4" creationId="{4ED0F60B-2BD2-2F3E-E3EB-09781C670622}"/>
          </ac:spMkLst>
        </pc:spChg>
        <pc:spChg chg="add mod">
          <ac:chgData name="Khaled M. Alshly" userId="4a7e16d7-ffb1-40f7-83a0-a1197d631c7e" providerId="ADAL" clId="{EA9BD926-EFEF-4B99-B66A-8916432BB991}" dt="2025-05-17T10:15:56.486" v="517"/>
          <ac:spMkLst>
            <pc:docMk/>
            <pc:sldMk cId="1292511721" sldId="398"/>
            <ac:spMk id="9" creationId="{B8FC27A2-7B3F-4873-1FEB-20DC5DA2D243}"/>
          </ac:spMkLst>
        </pc:spChg>
        <pc:spChg chg="add mod">
          <ac:chgData name="Khaled M. Alshly" userId="4a7e16d7-ffb1-40f7-83a0-a1197d631c7e" providerId="ADAL" clId="{EA9BD926-EFEF-4B99-B66A-8916432BB991}" dt="2025-05-17T10:15:56.486" v="517"/>
          <ac:spMkLst>
            <pc:docMk/>
            <pc:sldMk cId="1292511721" sldId="398"/>
            <ac:spMk id="11" creationId="{0D9A826C-0C2F-3412-D26D-9B13166A6F64}"/>
          </ac:spMkLst>
        </pc:spChg>
        <pc:spChg chg="add mod">
          <ac:chgData name="Khaled M. Alshly" userId="4a7e16d7-ffb1-40f7-83a0-a1197d631c7e" providerId="ADAL" clId="{EA9BD926-EFEF-4B99-B66A-8916432BB991}" dt="2025-05-17T10:15:56.486" v="517"/>
          <ac:spMkLst>
            <pc:docMk/>
            <pc:sldMk cId="1292511721" sldId="398"/>
            <ac:spMk id="12" creationId="{32640E5F-082C-3C2A-CEB8-3AE4651A3BB6}"/>
          </ac:spMkLst>
        </pc:spChg>
        <pc:spChg chg="add mod">
          <ac:chgData name="Khaled M. Alshly" userId="4a7e16d7-ffb1-40f7-83a0-a1197d631c7e" providerId="ADAL" clId="{EA9BD926-EFEF-4B99-B66A-8916432BB991}" dt="2025-05-17T10:15:56.486" v="517"/>
          <ac:spMkLst>
            <pc:docMk/>
            <pc:sldMk cId="1292511721" sldId="398"/>
            <ac:spMk id="13" creationId="{723A56F1-6141-F5B7-4092-32C01AC16B0F}"/>
          </ac:spMkLst>
        </pc:spChg>
        <pc:spChg chg="mod">
          <ac:chgData name="Khaled M. Alshly" userId="4a7e16d7-ffb1-40f7-83a0-a1197d631c7e" providerId="ADAL" clId="{EA9BD926-EFEF-4B99-B66A-8916432BB991}" dt="2025-05-17T10:15:58.311" v="518"/>
          <ac:spMkLst>
            <pc:docMk/>
            <pc:sldMk cId="1292511721" sldId="398"/>
            <ac:spMk id="15" creationId="{AEBA6A44-4FBE-4A11-034C-46B30B2FE6E4}"/>
          </ac:spMkLst>
        </pc:spChg>
        <pc:spChg chg="mod">
          <ac:chgData name="Khaled M. Alshly" userId="4a7e16d7-ffb1-40f7-83a0-a1197d631c7e" providerId="ADAL" clId="{EA9BD926-EFEF-4B99-B66A-8916432BB991}" dt="2025-05-17T10:15:58.311" v="518"/>
          <ac:spMkLst>
            <pc:docMk/>
            <pc:sldMk cId="1292511721" sldId="398"/>
            <ac:spMk id="16" creationId="{184289EB-B0F1-A4BD-63E4-D01121BECCB2}"/>
          </ac:spMkLst>
        </pc:spChg>
        <pc:spChg chg="add mod">
          <ac:chgData name="Khaled M. Alshly" userId="4a7e16d7-ffb1-40f7-83a0-a1197d631c7e" providerId="ADAL" clId="{EA9BD926-EFEF-4B99-B66A-8916432BB991}" dt="2025-05-17T10:15:56.486" v="517"/>
          <ac:spMkLst>
            <pc:docMk/>
            <pc:sldMk cId="1292511721" sldId="398"/>
            <ac:spMk id="17" creationId="{78608504-1A32-8C1A-A302-E68D5D18B401}"/>
          </ac:spMkLst>
        </pc:spChg>
        <pc:spChg chg="add mod">
          <ac:chgData name="Khaled M. Alshly" userId="4a7e16d7-ffb1-40f7-83a0-a1197d631c7e" providerId="ADAL" clId="{EA9BD926-EFEF-4B99-B66A-8916432BB991}" dt="2025-05-17T10:15:56.486" v="517"/>
          <ac:spMkLst>
            <pc:docMk/>
            <pc:sldMk cId="1292511721" sldId="398"/>
            <ac:spMk id="19" creationId="{98275298-90C2-3AE7-CA72-9D90B22003AD}"/>
          </ac:spMkLst>
        </pc:spChg>
        <pc:spChg chg="add mod">
          <ac:chgData name="Khaled M. Alshly" userId="4a7e16d7-ffb1-40f7-83a0-a1197d631c7e" providerId="ADAL" clId="{EA9BD926-EFEF-4B99-B66A-8916432BB991}" dt="2025-05-17T10:15:56.486" v="517"/>
          <ac:spMkLst>
            <pc:docMk/>
            <pc:sldMk cId="1292511721" sldId="398"/>
            <ac:spMk id="21" creationId="{F2F59E18-3C7A-B00C-7AC7-CDBE22CD050E}"/>
          </ac:spMkLst>
        </pc:spChg>
        <pc:spChg chg="add mod">
          <ac:chgData name="Khaled M. Alshly" userId="4a7e16d7-ffb1-40f7-83a0-a1197d631c7e" providerId="ADAL" clId="{EA9BD926-EFEF-4B99-B66A-8916432BB991}" dt="2025-05-17T10:15:56.486" v="517"/>
          <ac:spMkLst>
            <pc:docMk/>
            <pc:sldMk cId="1292511721" sldId="398"/>
            <ac:spMk id="22" creationId="{299A717C-0C2F-F0C8-9918-35D1CA48E2C7}"/>
          </ac:spMkLst>
        </pc:spChg>
        <pc:spChg chg="add mod">
          <ac:chgData name="Khaled M. Alshly" userId="4a7e16d7-ffb1-40f7-83a0-a1197d631c7e" providerId="ADAL" clId="{EA9BD926-EFEF-4B99-B66A-8916432BB991}" dt="2025-05-17T10:16:52.455" v="531"/>
          <ac:spMkLst>
            <pc:docMk/>
            <pc:sldMk cId="1292511721" sldId="398"/>
            <ac:spMk id="23" creationId="{69F35ABE-EE8C-6AFA-EF45-02CA4D5813DC}"/>
          </ac:spMkLst>
        </pc:spChg>
        <pc:spChg chg="add mod">
          <ac:chgData name="Khaled M. Alshly" userId="4a7e16d7-ffb1-40f7-83a0-a1197d631c7e" providerId="ADAL" clId="{EA9BD926-EFEF-4B99-B66A-8916432BB991}" dt="2025-05-17T10:16:42.740" v="524"/>
          <ac:spMkLst>
            <pc:docMk/>
            <pc:sldMk cId="1292511721" sldId="398"/>
            <ac:spMk id="25" creationId="{83B1FE2C-0845-1726-6740-204D2213FBA2}"/>
          </ac:spMkLst>
        </pc:spChg>
        <pc:spChg chg="del">
          <ac:chgData name="Khaled M. Alshly" userId="4a7e16d7-ffb1-40f7-83a0-a1197d631c7e" providerId="ADAL" clId="{EA9BD926-EFEF-4B99-B66A-8916432BB991}" dt="2025-05-17T10:15:26.400" v="514" actId="478"/>
          <ac:spMkLst>
            <pc:docMk/>
            <pc:sldMk cId="1292511721" sldId="398"/>
            <ac:spMk id="26" creationId="{BA7CFCBA-25B1-9FBA-50A7-DE3B88544837}"/>
          </ac:spMkLst>
        </pc:spChg>
        <pc:spChg chg="del">
          <ac:chgData name="Khaled M. Alshly" userId="4a7e16d7-ffb1-40f7-83a0-a1197d631c7e" providerId="ADAL" clId="{EA9BD926-EFEF-4B99-B66A-8916432BB991}" dt="2025-05-17T10:15:26.400" v="514" actId="478"/>
          <ac:spMkLst>
            <pc:docMk/>
            <pc:sldMk cId="1292511721" sldId="398"/>
            <ac:spMk id="27" creationId="{8D5AEBC2-C65E-404A-C299-7ADC5F3924CD}"/>
          </ac:spMkLst>
        </pc:spChg>
        <pc:spChg chg="add mod">
          <ac:chgData name="Khaled M. Alshly" userId="4a7e16d7-ffb1-40f7-83a0-a1197d631c7e" providerId="ADAL" clId="{EA9BD926-EFEF-4B99-B66A-8916432BB991}" dt="2025-05-17T10:16:42.740" v="524"/>
          <ac:spMkLst>
            <pc:docMk/>
            <pc:sldMk cId="1292511721" sldId="398"/>
            <ac:spMk id="30" creationId="{7C4D684D-9705-2ED2-D313-146BDFA2C698}"/>
          </ac:spMkLst>
        </pc:spChg>
        <pc:spChg chg="add mod">
          <ac:chgData name="Khaled M. Alshly" userId="4a7e16d7-ffb1-40f7-83a0-a1197d631c7e" providerId="ADAL" clId="{EA9BD926-EFEF-4B99-B66A-8916432BB991}" dt="2025-05-17T10:16:42.740" v="524"/>
          <ac:spMkLst>
            <pc:docMk/>
            <pc:sldMk cId="1292511721" sldId="398"/>
            <ac:spMk id="33" creationId="{63FCEAF2-0A7E-5926-FD2F-2511F5559167}"/>
          </ac:spMkLst>
        </pc:spChg>
        <pc:spChg chg="add mod">
          <ac:chgData name="Khaled M. Alshly" userId="4a7e16d7-ffb1-40f7-83a0-a1197d631c7e" providerId="ADAL" clId="{EA9BD926-EFEF-4B99-B66A-8916432BB991}" dt="2025-05-17T10:16:42.740" v="524"/>
          <ac:spMkLst>
            <pc:docMk/>
            <pc:sldMk cId="1292511721" sldId="398"/>
            <ac:spMk id="34" creationId="{23D4F29C-67EA-3686-7DF0-58F3E3C82AC1}"/>
          </ac:spMkLst>
        </pc:spChg>
        <pc:spChg chg="add mod">
          <ac:chgData name="Khaled M. Alshly" userId="4a7e16d7-ffb1-40f7-83a0-a1197d631c7e" providerId="ADAL" clId="{EA9BD926-EFEF-4B99-B66A-8916432BB991}" dt="2025-05-17T10:16:42.740" v="524"/>
          <ac:spMkLst>
            <pc:docMk/>
            <pc:sldMk cId="1292511721" sldId="398"/>
            <ac:spMk id="35" creationId="{B3A64B29-4601-891E-F207-CAD492481937}"/>
          </ac:spMkLst>
        </pc:spChg>
        <pc:spChg chg="add mod">
          <ac:chgData name="Khaled M. Alshly" userId="4a7e16d7-ffb1-40f7-83a0-a1197d631c7e" providerId="ADAL" clId="{EA9BD926-EFEF-4B99-B66A-8916432BB991}" dt="2025-05-17T10:16:42.740" v="524"/>
          <ac:spMkLst>
            <pc:docMk/>
            <pc:sldMk cId="1292511721" sldId="398"/>
            <ac:spMk id="36" creationId="{EDC14672-69AD-4920-59AC-294E0FD33B63}"/>
          </ac:spMkLst>
        </pc:spChg>
        <pc:spChg chg="add mod">
          <ac:chgData name="Khaled M. Alshly" userId="4a7e16d7-ffb1-40f7-83a0-a1197d631c7e" providerId="ADAL" clId="{EA9BD926-EFEF-4B99-B66A-8916432BB991}" dt="2025-05-17T10:16:42.740" v="524"/>
          <ac:spMkLst>
            <pc:docMk/>
            <pc:sldMk cId="1292511721" sldId="398"/>
            <ac:spMk id="37" creationId="{A9EEBE28-8537-B2BD-6B85-5DA9C533DD6F}"/>
          </ac:spMkLst>
        </pc:spChg>
        <pc:spChg chg="add mod">
          <ac:chgData name="Khaled M. Alshly" userId="4a7e16d7-ffb1-40f7-83a0-a1197d631c7e" providerId="ADAL" clId="{EA9BD926-EFEF-4B99-B66A-8916432BB991}" dt="2025-05-17T10:16:42.740" v="524"/>
          <ac:spMkLst>
            <pc:docMk/>
            <pc:sldMk cId="1292511721" sldId="398"/>
            <ac:spMk id="40" creationId="{BF1830CF-1468-CA34-E31C-5B108D644909}"/>
          </ac:spMkLst>
        </pc:spChg>
        <pc:spChg chg="add mod">
          <ac:chgData name="Khaled M. Alshly" userId="4a7e16d7-ffb1-40f7-83a0-a1197d631c7e" providerId="ADAL" clId="{EA9BD926-EFEF-4B99-B66A-8916432BB991}" dt="2025-05-17T10:16:42.740" v="524"/>
          <ac:spMkLst>
            <pc:docMk/>
            <pc:sldMk cId="1292511721" sldId="398"/>
            <ac:spMk id="41" creationId="{4D462919-32DA-C832-9714-01DCAA5AB1D1}"/>
          </ac:spMkLst>
        </pc:spChg>
        <pc:spChg chg="mod">
          <ac:chgData name="Khaled M. Alshly" userId="4a7e16d7-ffb1-40f7-83a0-a1197d631c7e" providerId="ADAL" clId="{EA9BD926-EFEF-4B99-B66A-8916432BB991}" dt="2025-05-17T10:17:59.803" v="551" actId="207"/>
          <ac:spMkLst>
            <pc:docMk/>
            <pc:sldMk cId="1292511721" sldId="398"/>
            <ac:spMk id="45" creationId="{484BE877-70BF-FF6D-4CE4-B4D43A0A60E3}"/>
          </ac:spMkLst>
        </pc:spChg>
        <pc:spChg chg="mod">
          <ac:chgData name="Khaled M. Alshly" userId="4a7e16d7-ffb1-40f7-83a0-a1197d631c7e" providerId="ADAL" clId="{EA9BD926-EFEF-4B99-B66A-8916432BB991}" dt="2025-05-17T10:18:02.675" v="552" actId="207"/>
          <ac:spMkLst>
            <pc:docMk/>
            <pc:sldMk cId="1292511721" sldId="398"/>
            <ac:spMk id="47" creationId="{612B248E-3D3E-6414-53A9-7DB6EAC1F197}"/>
          </ac:spMkLst>
        </pc:spChg>
        <pc:spChg chg="mod">
          <ac:chgData name="Khaled M. Alshly" userId="4a7e16d7-ffb1-40f7-83a0-a1197d631c7e" providerId="ADAL" clId="{EA9BD926-EFEF-4B99-B66A-8916432BB991}" dt="2025-05-17T10:17:59.803" v="551" actId="207"/>
          <ac:spMkLst>
            <pc:docMk/>
            <pc:sldMk cId="1292511721" sldId="398"/>
            <ac:spMk id="48" creationId="{1786C705-91A8-6EE5-0B2E-9863DEE5ABAB}"/>
          </ac:spMkLst>
        </pc:spChg>
        <pc:spChg chg="del mod">
          <ac:chgData name="Khaled M. Alshly" userId="4a7e16d7-ffb1-40f7-83a0-a1197d631c7e" providerId="ADAL" clId="{EA9BD926-EFEF-4B99-B66A-8916432BB991}" dt="2025-05-17T10:44:32.658" v="755" actId="478"/>
          <ac:spMkLst>
            <pc:docMk/>
            <pc:sldMk cId="1292511721" sldId="398"/>
            <ac:spMk id="49" creationId="{86C8756A-ED8A-3A14-6692-D1F07C28046C}"/>
          </ac:spMkLst>
        </pc:spChg>
        <pc:spChg chg="add mod">
          <ac:chgData name="Khaled M. Alshly" userId="4a7e16d7-ffb1-40f7-83a0-a1197d631c7e" providerId="ADAL" clId="{EA9BD926-EFEF-4B99-B66A-8916432BB991}" dt="2025-05-17T10:17:36.360" v="545" actId="782"/>
          <ac:spMkLst>
            <pc:docMk/>
            <pc:sldMk cId="1292511721" sldId="398"/>
            <ac:spMk id="50" creationId="{C3B266D2-FB8C-2A96-6DF0-FD4793DCCCEE}"/>
          </ac:spMkLst>
        </pc:spChg>
        <pc:spChg chg="add mod">
          <ac:chgData name="Khaled M. Alshly" userId="4a7e16d7-ffb1-40f7-83a0-a1197d631c7e" providerId="ADAL" clId="{EA9BD926-EFEF-4B99-B66A-8916432BB991}" dt="2025-05-17T10:17:36.360" v="545" actId="782"/>
          <ac:spMkLst>
            <pc:docMk/>
            <pc:sldMk cId="1292511721" sldId="398"/>
            <ac:spMk id="51" creationId="{E549C2DB-AA78-0842-7D54-58F572E2314D}"/>
          </ac:spMkLst>
        </pc:spChg>
        <pc:spChg chg="mod">
          <ac:chgData name="Khaled M. Alshly" userId="4a7e16d7-ffb1-40f7-83a0-a1197d631c7e" providerId="ADAL" clId="{EA9BD926-EFEF-4B99-B66A-8916432BB991}" dt="2025-05-17T10:20:12.966" v="571" actId="208"/>
          <ac:spMkLst>
            <pc:docMk/>
            <pc:sldMk cId="1292511721" sldId="398"/>
            <ac:spMk id="54" creationId="{CFC6756C-38C9-F345-1913-ECF1058706C9}"/>
          </ac:spMkLst>
        </pc:spChg>
        <pc:spChg chg="add mod">
          <ac:chgData name="Khaled M. Alshly" userId="4a7e16d7-ffb1-40f7-83a0-a1197d631c7e" providerId="ADAL" clId="{EA9BD926-EFEF-4B99-B66A-8916432BB991}" dt="2025-05-17T10:19:16.069" v="563" actId="207"/>
          <ac:spMkLst>
            <pc:docMk/>
            <pc:sldMk cId="1292511721" sldId="398"/>
            <ac:spMk id="55" creationId="{C4AC9EB2-8DA5-0D20-FBFD-F38221E7DCA2}"/>
          </ac:spMkLst>
        </pc:spChg>
        <pc:spChg chg="mod">
          <ac:chgData name="Khaled M. Alshly" userId="4a7e16d7-ffb1-40f7-83a0-a1197d631c7e" providerId="ADAL" clId="{EA9BD926-EFEF-4B99-B66A-8916432BB991}" dt="2025-05-17T10:20:20.619" v="573" actId="208"/>
          <ac:spMkLst>
            <pc:docMk/>
            <pc:sldMk cId="1292511721" sldId="398"/>
            <ac:spMk id="56" creationId="{027BD338-8D07-A262-CC3D-1DEECFA71720}"/>
          </ac:spMkLst>
        </pc:spChg>
        <pc:spChg chg="mod">
          <ac:chgData name="Khaled M. Alshly" userId="4a7e16d7-ffb1-40f7-83a0-a1197d631c7e" providerId="ADAL" clId="{EA9BD926-EFEF-4B99-B66A-8916432BB991}" dt="2025-05-17T10:19:24.686" v="564" actId="207"/>
          <ac:spMkLst>
            <pc:docMk/>
            <pc:sldMk cId="1292511721" sldId="398"/>
            <ac:spMk id="57" creationId="{6858856D-DF79-0E5F-1583-4A9913D491FE}"/>
          </ac:spMkLst>
        </pc:spChg>
        <pc:spChg chg="add mod">
          <ac:chgData name="Khaled M. Alshly" userId="4a7e16d7-ffb1-40f7-83a0-a1197d631c7e" providerId="ADAL" clId="{EA9BD926-EFEF-4B99-B66A-8916432BB991}" dt="2025-05-17T10:20:17.601" v="572" actId="208"/>
          <ac:spMkLst>
            <pc:docMk/>
            <pc:sldMk cId="1292511721" sldId="398"/>
            <ac:spMk id="58" creationId="{03B55C6D-671F-313D-AA73-85AA69D8F6AB}"/>
          </ac:spMkLst>
        </pc:spChg>
        <pc:spChg chg="mod">
          <ac:chgData name="Khaled M. Alshly" userId="4a7e16d7-ffb1-40f7-83a0-a1197d631c7e" providerId="ADAL" clId="{EA9BD926-EFEF-4B99-B66A-8916432BB991}" dt="2025-05-17T10:19:43.480" v="566" actId="207"/>
          <ac:spMkLst>
            <pc:docMk/>
            <pc:sldMk cId="1292511721" sldId="398"/>
            <ac:spMk id="59" creationId="{00A465F5-1E33-A63B-9D9E-D9B0B4F51C92}"/>
          </ac:spMkLst>
        </pc:spChg>
        <pc:spChg chg="add mod">
          <ac:chgData name="Khaled M. Alshly" userId="4a7e16d7-ffb1-40f7-83a0-a1197d631c7e" providerId="ADAL" clId="{EA9BD926-EFEF-4B99-B66A-8916432BB991}" dt="2025-05-17T10:20:23.675" v="574" actId="208"/>
          <ac:spMkLst>
            <pc:docMk/>
            <pc:sldMk cId="1292511721" sldId="398"/>
            <ac:spMk id="60" creationId="{132B7E39-A012-0B17-D95A-D24624515D1F}"/>
          </ac:spMkLst>
        </pc:spChg>
        <pc:spChg chg="add mod">
          <ac:chgData name="Khaled M. Alshly" userId="4a7e16d7-ffb1-40f7-83a0-a1197d631c7e" providerId="ADAL" clId="{EA9BD926-EFEF-4B99-B66A-8916432BB991}" dt="2025-05-17T10:19:24.686" v="564" actId="207"/>
          <ac:spMkLst>
            <pc:docMk/>
            <pc:sldMk cId="1292511721" sldId="398"/>
            <ac:spMk id="61" creationId="{2B4C90D6-7980-8877-8344-5DDC6139980D}"/>
          </ac:spMkLst>
        </pc:spChg>
        <pc:spChg chg="add mod">
          <ac:chgData name="Khaled M. Alshly" userId="4a7e16d7-ffb1-40f7-83a0-a1197d631c7e" providerId="ADAL" clId="{EA9BD926-EFEF-4B99-B66A-8916432BB991}" dt="2025-05-17T10:20:28.471" v="575" actId="208"/>
          <ac:spMkLst>
            <pc:docMk/>
            <pc:sldMk cId="1292511721" sldId="398"/>
            <ac:spMk id="62" creationId="{AF0EE97D-9AF9-B935-3516-DAAB03818A7E}"/>
          </ac:spMkLst>
        </pc:spChg>
        <pc:spChg chg="add mod">
          <ac:chgData name="Khaled M. Alshly" userId="4a7e16d7-ffb1-40f7-83a0-a1197d631c7e" providerId="ADAL" clId="{EA9BD926-EFEF-4B99-B66A-8916432BB991}" dt="2025-05-17T10:19:39.753" v="565" actId="207"/>
          <ac:spMkLst>
            <pc:docMk/>
            <pc:sldMk cId="1292511721" sldId="398"/>
            <ac:spMk id="63" creationId="{BAE75538-81A3-D140-3527-C14FBB63530D}"/>
          </ac:spMkLst>
        </pc:spChg>
        <pc:spChg chg="add mod">
          <ac:chgData name="Khaled M. Alshly" userId="4a7e16d7-ffb1-40f7-83a0-a1197d631c7e" providerId="ADAL" clId="{EA9BD926-EFEF-4B99-B66A-8916432BB991}" dt="2025-05-17T10:18:44.746" v="557"/>
          <ac:spMkLst>
            <pc:docMk/>
            <pc:sldMk cId="1292511721" sldId="398"/>
            <ac:spMk id="64" creationId="{4E1FD43D-4EF0-1C4B-D761-DCFCBFD825D2}"/>
          </ac:spMkLst>
        </pc:spChg>
        <pc:spChg chg="add mod">
          <ac:chgData name="Khaled M. Alshly" userId="4a7e16d7-ffb1-40f7-83a0-a1197d631c7e" providerId="ADAL" clId="{EA9BD926-EFEF-4B99-B66A-8916432BB991}" dt="2025-05-17T10:19:12.662" v="562" actId="207"/>
          <ac:spMkLst>
            <pc:docMk/>
            <pc:sldMk cId="1292511721" sldId="398"/>
            <ac:spMk id="65" creationId="{7094F6B4-E8C9-B49C-F7CE-3C13F2A18DBE}"/>
          </ac:spMkLst>
        </pc:spChg>
        <pc:spChg chg="add mod">
          <ac:chgData name="Khaled M. Alshly" userId="4a7e16d7-ffb1-40f7-83a0-a1197d631c7e" providerId="ADAL" clId="{EA9BD926-EFEF-4B99-B66A-8916432BB991}" dt="2025-05-17T10:18:44.746" v="557"/>
          <ac:spMkLst>
            <pc:docMk/>
            <pc:sldMk cId="1292511721" sldId="398"/>
            <ac:spMk id="67" creationId="{91660837-F4BA-6B78-B293-A636D50F89F4}"/>
          </ac:spMkLst>
        </pc:spChg>
        <pc:spChg chg="add mod">
          <ac:chgData name="Khaled M. Alshly" userId="4a7e16d7-ffb1-40f7-83a0-a1197d631c7e" providerId="ADAL" clId="{EA9BD926-EFEF-4B99-B66A-8916432BB991}" dt="2025-05-17T10:18:44.746" v="557"/>
          <ac:spMkLst>
            <pc:docMk/>
            <pc:sldMk cId="1292511721" sldId="398"/>
            <ac:spMk id="69" creationId="{2615155B-40FE-683E-E843-96851DAF4197}"/>
          </ac:spMkLst>
        </pc:spChg>
        <pc:grpChg chg="add mod">
          <ac:chgData name="Khaled M. Alshly" userId="4a7e16d7-ffb1-40f7-83a0-a1197d631c7e" providerId="ADAL" clId="{EA9BD926-EFEF-4B99-B66A-8916432BB991}" dt="2025-05-17T10:18:10.773" v="554" actId="14100"/>
          <ac:grpSpMkLst>
            <pc:docMk/>
            <pc:sldMk cId="1292511721" sldId="398"/>
            <ac:grpSpMk id="44" creationId="{4E88A065-E066-79F7-BA2A-E9B1AC1F0432}"/>
          </ac:grpSpMkLst>
        </pc:grpChg>
        <pc:graphicFrameChg chg="add del modGraphic">
          <ac:chgData name="Khaled M. Alshly" userId="4a7e16d7-ffb1-40f7-83a0-a1197d631c7e" providerId="ADAL" clId="{EA9BD926-EFEF-4B99-B66A-8916432BB991}" dt="2025-05-17T10:17:47.140" v="549" actId="478"/>
          <ac:graphicFrameMkLst>
            <pc:docMk/>
            <pc:sldMk cId="1292511721" sldId="398"/>
            <ac:graphicFrameMk id="53" creationId="{A1A61F7E-317B-C75F-B171-A9F42EBCF453}"/>
          </ac:graphicFrameMkLst>
        </pc:graphicFrameChg>
        <pc:picChg chg="del">
          <ac:chgData name="Khaled M. Alshly" userId="4a7e16d7-ffb1-40f7-83a0-a1197d631c7e" providerId="ADAL" clId="{EA9BD926-EFEF-4B99-B66A-8916432BB991}" dt="2025-05-17T10:15:26.400" v="514" actId="478"/>
          <ac:picMkLst>
            <pc:docMk/>
            <pc:sldMk cId="1292511721" sldId="398"/>
            <ac:picMk id="2" creationId="{C2A8F462-C610-0C31-59C1-733B808A21C9}"/>
          </ac:picMkLst>
        </pc:picChg>
        <pc:picChg chg="del">
          <ac:chgData name="Khaled M. Alshly" userId="4a7e16d7-ffb1-40f7-83a0-a1197d631c7e" providerId="ADAL" clId="{EA9BD926-EFEF-4B99-B66A-8916432BB991}" dt="2025-05-17T10:15:26.400" v="514" actId="478"/>
          <ac:picMkLst>
            <pc:docMk/>
            <pc:sldMk cId="1292511721" sldId="398"/>
            <ac:picMk id="28" creationId="{46CC41DE-EC5D-BCEF-CA77-1D8E5F37B430}"/>
          </ac:picMkLst>
        </pc:picChg>
        <pc:picChg chg="add mod">
          <ac:chgData name="Khaled M. Alshly" userId="4a7e16d7-ffb1-40f7-83a0-a1197d631c7e" providerId="ADAL" clId="{EA9BD926-EFEF-4B99-B66A-8916432BB991}" dt="2025-05-17T10:16:57.918" v="534" actId="14100"/>
          <ac:picMkLst>
            <pc:docMk/>
            <pc:sldMk cId="1292511721" sldId="398"/>
            <ac:picMk id="42" creationId="{C6DF30E6-AB9B-8DDE-AF5E-207B745CFD96}"/>
          </ac:picMkLst>
        </pc:picChg>
        <pc:picChg chg="add mod">
          <ac:chgData name="Khaled M. Alshly" userId="4a7e16d7-ffb1-40f7-83a0-a1197d631c7e" providerId="ADAL" clId="{EA9BD926-EFEF-4B99-B66A-8916432BB991}" dt="2025-05-17T10:17:07.015" v="535"/>
          <ac:picMkLst>
            <pc:docMk/>
            <pc:sldMk cId="1292511721" sldId="398"/>
            <ac:picMk id="43" creationId="{74DC643C-5EFF-4134-B069-6479481596E9}"/>
          </ac:picMkLst>
        </pc:picChg>
        <pc:picChg chg="mod">
          <ac:chgData name="Khaled M. Alshly" userId="4a7e16d7-ffb1-40f7-83a0-a1197d631c7e" providerId="ADAL" clId="{EA9BD926-EFEF-4B99-B66A-8916432BB991}" dt="2025-05-17T10:17:59.803" v="551" actId="207"/>
          <ac:picMkLst>
            <pc:docMk/>
            <pc:sldMk cId="1292511721" sldId="398"/>
            <ac:picMk id="46" creationId="{77F748CA-D665-1131-71EB-A9DE2DEBCFA5}"/>
          </ac:picMkLst>
        </pc:picChg>
      </pc:sldChg>
      <pc:sldChg chg="addSp delSp modSp add mod">
        <pc:chgData name="Khaled M. Alshly" userId="4a7e16d7-ffb1-40f7-83a0-a1197d631c7e" providerId="ADAL" clId="{EA9BD926-EFEF-4B99-B66A-8916432BB991}" dt="2025-05-17T10:42:38.525" v="754" actId="1076"/>
        <pc:sldMkLst>
          <pc:docMk/>
          <pc:sldMk cId="161830037" sldId="399"/>
        </pc:sldMkLst>
        <pc:spChg chg="add mod">
          <ac:chgData name="Khaled M. Alshly" userId="4a7e16d7-ffb1-40f7-83a0-a1197d631c7e" providerId="ADAL" clId="{EA9BD926-EFEF-4B99-B66A-8916432BB991}" dt="2025-05-17T10:42:38.525" v="754" actId="1076"/>
          <ac:spMkLst>
            <pc:docMk/>
            <pc:sldMk cId="161830037" sldId="399"/>
            <ac:spMk id="2" creationId="{5FFE658B-8CFC-AFF6-A423-AFB9B7176752}"/>
          </ac:spMkLst>
        </pc:spChg>
        <pc:spChg chg="add mod">
          <ac:chgData name="Khaled M. Alshly" userId="4a7e16d7-ffb1-40f7-83a0-a1197d631c7e" providerId="ADAL" clId="{EA9BD926-EFEF-4B99-B66A-8916432BB991}" dt="2025-05-17T10:42:36.594" v="753" actId="1076"/>
          <ac:spMkLst>
            <pc:docMk/>
            <pc:sldMk cId="161830037" sldId="399"/>
            <ac:spMk id="3" creationId="{945254A6-7872-FB7F-10E9-AE7BFA22D8BE}"/>
          </ac:spMkLst>
        </pc:spChg>
        <pc:spChg chg="add mod">
          <ac:chgData name="Khaled M. Alshly" userId="4a7e16d7-ffb1-40f7-83a0-a1197d631c7e" providerId="ADAL" clId="{EA9BD926-EFEF-4B99-B66A-8916432BB991}" dt="2025-05-17T10:27:55.175" v="661" actId="1076"/>
          <ac:spMkLst>
            <pc:docMk/>
            <pc:sldMk cId="161830037" sldId="399"/>
            <ac:spMk id="4" creationId="{198D5D2D-B03E-1191-216E-72BCA0475849}"/>
          </ac:spMkLst>
        </pc:spChg>
        <pc:spChg chg="mod">
          <ac:chgData name="Khaled M. Alshly" userId="4a7e16d7-ffb1-40f7-83a0-a1197d631c7e" providerId="ADAL" clId="{EA9BD926-EFEF-4B99-B66A-8916432BB991}" dt="2025-05-17T10:26:49.285" v="647" actId="207"/>
          <ac:spMkLst>
            <pc:docMk/>
            <pc:sldMk cId="161830037" sldId="399"/>
            <ac:spMk id="5" creationId="{D923D0E2-438A-EBF3-34BD-D5EA6E0AC063}"/>
          </ac:spMkLst>
        </pc:spChg>
        <pc:spChg chg="add mod">
          <ac:chgData name="Khaled M. Alshly" userId="4a7e16d7-ffb1-40f7-83a0-a1197d631c7e" providerId="ADAL" clId="{EA9BD926-EFEF-4B99-B66A-8916432BB991}" dt="2025-05-17T10:26:58.649" v="651" actId="208"/>
          <ac:spMkLst>
            <pc:docMk/>
            <pc:sldMk cId="161830037" sldId="399"/>
            <ac:spMk id="6" creationId="{B8E6AE7F-9E1D-D0C0-6F44-DA0001F05E48}"/>
          </ac:spMkLst>
        </pc:spChg>
        <pc:spChg chg="mod">
          <ac:chgData name="Khaled M. Alshly" userId="4a7e16d7-ffb1-40f7-83a0-a1197d631c7e" providerId="ADAL" clId="{EA9BD926-EFEF-4B99-B66A-8916432BB991}" dt="2025-05-17T10:26:51.795" v="648" actId="207"/>
          <ac:spMkLst>
            <pc:docMk/>
            <pc:sldMk cId="161830037" sldId="399"/>
            <ac:spMk id="7" creationId="{1D1F39BB-236F-1AC1-B3CD-3D62AB276594}"/>
          </ac:spMkLst>
        </pc:spChg>
        <pc:spChg chg="mod">
          <ac:chgData name="Khaled M. Alshly" userId="4a7e16d7-ffb1-40f7-83a0-a1197d631c7e" providerId="ADAL" clId="{EA9BD926-EFEF-4B99-B66A-8916432BB991}" dt="2025-05-17T10:26:39.872" v="644" actId="207"/>
          <ac:spMkLst>
            <pc:docMk/>
            <pc:sldMk cId="161830037" sldId="399"/>
            <ac:spMk id="8" creationId="{606D7380-D73C-A2F8-4EE3-0542F36400EE}"/>
          </ac:spMkLst>
        </pc:spChg>
        <pc:spChg chg="add mod">
          <ac:chgData name="Khaled M. Alshly" userId="4a7e16d7-ffb1-40f7-83a0-a1197d631c7e" providerId="ADAL" clId="{EA9BD926-EFEF-4B99-B66A-8916432BB991}" dt="2025-05-17T10:25:04.075" v="624"/>
          <ac:spMkLst>
            <pc:docMk/>
            <pc:sldMk cId="161830037" sldId="399"/>
            <ac:spMk id="9" creationId="{6B997B56-CD3B-29B3-E333-1F3BAF2340A6}"/>
          </ac:spMkLst>
        </pc:spChg>
        <pc:spChg chg="mod">
          <ac:chgData name="Khaled M. Alshly" userId="4a7e16d7-ffb1-40f7-83a0-a1197d631c7e" providerId="ADAL" clId="{EA9BD926-EFEF-4B99-B66A-8916432BB991}" dt="2025-05-17T10:27:10.346" v="653" actId="207"/>
          <ac:spMkLst>
            <pc:docMk/>
            <pc:sldMk cId="161830037" sldId="399"/>
            <ac:spMk id="10" creationId="{A5A7D2D7-5688-0A3D-3DC7-653640BFA4C4}"/>
          </ac:spMkLst>
        </pc:spChg>
        <pc:spChg chg="add mod">
          <ac:chgData name="Khaled M. Alshly" userId="4a7e16d7-ffb1-40f7-83a0-a1197d631c7e" providerId="ADAL" clId="{EA9BD926-EFEF-4B99-B66A-8916432BB991}" dt="2025-05-17T10:27:19.375" v="655" actId="207"/>
          <ac:spMkLst>
            <pc:docMk/>
            <pc:sldMk cId="161830037" sldId="399"/>
            <ac:spMk id="11" creationId="{9AD846C5-56E5-101E-39D8-B509A824639E}"/>
          </ac:spMkLst>
        </pc:spChg>
        <pc:spChg chg="add mod">
          <ac:chgData name="Khaled M. Alshly" userId="4a7e16d7-ffb1-40f7-83a0-a1197d631c7e" providerId="ADAL" clId="{EA9BD926-EFEF-4B99-B66A-8916432BB991}" dt="2025-05-17T10:28:28.093" v="665" actId="12"/>
          <ac:spMkLst>
            <pc:docMk/>
            <pc:sldMk cId="161830037" sldId="399"/>
            <ac:spMk id="12" creationId="{F0711000-A720-1B78-3B35-1C9ABABD056B}"/>
          </ac:spMkLst>
        </pc:spChg>
        <pc:spChg chg="add mod">
          <ac:chgData name="Khaled M. Alshly" userId="4a7e16d7-ffb1-40f7-83a0-a1197d631c7e" providerId="ADAL" clId="{EA9BD926-EFEF-4B99-B66A-8916432BB991}" dt="2025-05-17T10:28:39.503" v="666" actId="12"/>
          <ac:spMkLst>
            <pc:docMk/>
            <pc:sldMk cId="161830037" sldId="399"/>
            <ac:spMk id="13" creationId="{57178E2D-FBE4-73AD-CBF7-3512C352E940}"/>
          </ac:spMkLst>
        </pc:spChg>
        <pc:spChg chg="add mod">
          <ac:chgData name="Khaled M. Alshly" userId="4a7e16d7-ffb1-40f7-83a0-a1197d631c7e" providerId="ADAL" clId="{EA9BD926-EFEF-4B99-B66A-8916432BB991}" dt="2025-05-17T10:26:01.226" v="635" actId="207"/>
          <ac:spMkLst>
            <pc:docMk/>
            <pc:sldMk cId="161830037" sldId="399"/>
            <ac:spMk id="14" creationId="{4FE7B9DA-83EE-2456-5166-E482A7FC6E94}"/>
          </ac:spMkLst>
        </pc:spChg>
        <pc:spChg chg="mod">
          <ac:chgData name="Khaled M. Alshly" userId="4a7e16d7-ffb1-40f7-83a0-a1197d631c7e" providerId="ADAL" clId="{EA9BD926-EFEF-4B99-B66A-8916432BB991}" dt="2025-05-17T10:26:14.586" v="637" actId="207"/>
          <ac:spMkLst>
            <pc:docMk/>
            <pc:sldMk cId="161830037" sldId="399"/>
            <ac:spMk id="15" creationId="{C51C403F-3776-69A9-7D73-2A70B93BAC8D}"/>
          </ac:spMkLst>
        </pc:spChg>
        <pc:spChg chg="add mod">
          <ac:chgData name="Khaled M. Alshly" userId="4a7e16d7-ffb1-40f7-83a0-a1197d631c7e" providerId="ADAL" clId="{EA9BD926-EFEF-4B99-B66A-8916432BB991}" dt="2025-05-17T10:26:07.480" v="636" actId="207"/>
          <ac:spMkLst>
            <pc:docMk/>
            <pc:sldMk cId="161830037" sldId="399"/>
            <ac:spMk id="16" creationId="{04A0EDF9-D7F5-6A79-C5CD-737F43F85633}"/>
          </ac:spMkLst>
        </pc:spChg>
        <pc:spChg chg="del">
          <ac:chgData name="Khaled M. Alshly" userId="4a7e16d7-ffb1-40f7-83a0-a1197d631c7e" providerId="ADAL" clId="{EA9BD926-EFEF-4B99-B66A-8916432BB991}" dt="2025-05-17T10:24:34.894" v="619" actId="478"/>
          <ac:spMkLst>
            <pc:docMk/>
            <pc:sldMk cId="161830037" sldId="399"/>
            <ac:spMk id="50" creationId="{354B41E0-5699-F697-A2BE-664A3C62C1EC}"/>
          </ac:spMkLst>
        </pc:spChg>
        <pc:spChg chg="del">
          <ac:chgData name="Khaled M. Alshly" userId="4a7e16d7-ffb1-40f7-83a0-a1197d631c7e" providerId="ADAL" clId="{EA9BD926-EFEF-4B99-B66A-8916432BB991}" dt="2025-05-17T10:24:34.894" v="619" actId="478"/>
          <ac:spMkLst>
            <pc:docMk/>
            <pc:sldMk cId="161830037" sldId="399"/>
            <ac:spMk id="54" creationId="{A4D3E688-ABC5-02CC-DCB7-60D0B53E62C9}"/>
          </ac:spMkLst>
        </pc:spChg>
        <pc:spChg chg="del">
          <ac:chgData name="Khaled M. Alshly" userId="4a7e16d7-ffb1-40f7-83a0-a1197d631c7e" providerId="ADAL" clId="{EA9BD926-EFEF-4B99-B66A-8916432BB991}" dt="2025-05-17T10:24:34.894" v="619" actId="478"/>
          <ac:spMkLst>
            <pc:docMk/>
            <pc:sldMk cId="161830037" sldId="399"/>
            <ac:spMk id="55" creationId="{841598F1-1F6C-FC78-D20E-D6023B65B9FB}"/>
          </ac:spMkLst>
        </pc:spChg>
        <pc:spChg chg="del">
          <ac:chgData name="Khaled M. Alshly" userId="4a7e16d7-ffb1-40f7-83a0-a1197d631c7e" providerId="ADAL" clId="{EA9BD926-EFEF-4B99-B66A-8916432BB991}" dt="2025-05-17T10:24:34.894" v="619" actId="478"/>
          <ac:spMkLst>
            <pc:docMk/>
            <pc:sldMk cId="161830037" sldId="399"/>
            <ac:spMk id="56" creationId="{8B5066A6-9CF8-FA32-6E8B-D2A7319D1FF3}"/>
          </ac:spMkLst>
        </pc:spChg>
        <pc:spChg chg="del">
          <ac:chgData name="Khaled M. Alshly" userId="4a7e16d7-ffb1-40f7-83a0-a1197d631c7e" providerId="ADAL" clId="{EA9BD926-EFEF-4B99-B66A-8916432BB991}" dt="2025-05-17T10:24:34.894" v="619" actId="478"/>
          <ac:spMkLst>
            <pc:docMk/>
            <pc:sldMk cId="161830037" sldId="399"/>
            <ac:spMk id="58" creationId="{75B13A7F-9C43-62DF-5945-2973B9686C00}"/>
          </ac:spMkLst>
        </pc:spChg>
        <pc:spChg chg="del">
          <ac:chgData name="Khaled M. Alshly" userId="4a7e16d7-ffb1-40f7-83a0-a1197d631c7e" providerId="ADAL" clId="{EA9BD926-EFEF-4B99-B66A-8916432BB991}" dt="2025-05-17T10:24:34.894" v="619" actId="478"/>
          <ac:spMkLst>
            <pc:docMk/>
            <pc:sldMk cId="161830037" sldId="399"/>
            <ac:spMk id="59" creationId="{6D252A20-88DE-DC6E-3AB5-CE734CCC1E02}"/>
          </ac:spMkLst>
        </pc:spChg>
        <pc:spChg chg="del">
          <ac:chgData name="Khaled M. Alshly" userId="4a7e16d7-ffb1-40f7-83a0-a1197d631c7e" providerId="ADAL" clId="{EA9BD926-EFEF-4B99-B66A-8916432BB991}" dt="2025-05-17T10:24:34.894" v="619" actId="478"/>
          <ac:spMkLst>
            <pc:docMk/>
            <pc:sldMk cId="161830037" sldId="399"/>
            <ac:spMk id="60" creationId="{A3D91DD1-DF81-7610-1772-9FA357C62F5B}"/>
          </ac:spMkLst>
        </pc:spChg>
        <pc:spChg chg="del">
          <ac:chgData name="Khaled M. Alshly" userId="4a7e16d7-ffb1-40f7-83a0-a1197d631c7e" providerId="ADAL" clId="{EA9BD926-EFEF-4B99-B66A-8916432BB991}" dt="2025-05-17T10:24:34.894" v="619" actId="478"/>
          <ac:spMkLst>
            <pc:docMk/>
            <pc:sldMk cId="161830037" sldId="399"/>
            <ac:spMk id="66" creationId="{C8383612-02F5-0D51-454E-570B121EF290}"/>
          </ac:spMkLst>
        </pc:spChg>
        <pc:spChg chg="del">
          <ac:chgData name="Khaled M. Alshly" userId="4a7e16d7-ffb1-40f7-83a0-a1197d631c7e" providerId="ADAL" clId="{EA9BD926-EFEF-4B99-B66A-8916432BB991}" dt="2025-05-17T10:24:34.894" v="619" actId="478"/>
          <ac:spMkLst>
            <pc:docMk/>
            <pc:sldMk cId="161830037" sldId="399"/>
            <ac:spMk id="67" creationId="{50000A07-AFC6-B757-3304-25A71BBB4E0C}"/>
          </ac:spMkLst>
        </pc:spChg>
        <pc:spChg chg="del">
          <ac:chgData name="Khaled M. Alshly" userId="4a7e16d7-ffb1-40f7-83a0-a1197d631c7e" providerId="ADAL" clId="{EA9BD926-EFEF-4B99-B66A-8916432BB991}" dt="2025-05-17T10:24:34.894" v="619" actId="478"/>
          <ac:spMkLst>
            <pc:docMk/>
            <pc:sldMk cId="161830037" sldId="399"/>
            <ac:spMk id="69" creationId="{B6733330-A5C4-19AD-9CBC-82F94B4587DE}"/>
          </ac:spMkLst>
        </pc:spChg>
      </pc:sldChg>
      <pc:sldChg chg="addSp delSp modSp add mod">
        <pc:chgData name="Khaled M. Alshly" userId="4a7e16d7-ffb1-40f7-83a0-a1197d631c7e" providerId="ADAL" clId="{EA9BD926-EFEF-4B99-B66A-8916432BB991}" dt="2025-05-17T10:44:44.546" v="756" actId="20577"/>
        <pc:sldMkLst>
          <pc:docMk/>
          <pc:sldMk cId="531483374" sldId="400"/>
        </pc:sldMkLst>
        <pc:spChg chg="del">
          <ac:chgData name="Khaled M. Alshly" userId="4a7e16d7-ffb1-40f7-83a0-a1197d631c7e" providerId="ADAL" clId="{EA9BD926-EFEF-4B99-B66A-8916432BB991}" dt="2025-05-17T10:29:22.626" v="669" actId="478"/>
          <ac:spMkLst>
            <pc:docMk/>
            <pc:sldMk cId="531483374" sldId="400"/>
            <ac:spMk id="3" creationId="{887B72C9-5455-25D5-2E5C-BAA1C019DB7A}"/>
          </ac:spMkLst>
        </pc:spChg>
        <pc:spChg chg="del">
          <ac:chgData name="Khaled M. Alshly" userId="4a7e16d7-ffb1-40f7-83a0-a1197d631c7e" providerId="ADAL" clId="{EA9BD926-EFEF-4B99-B66A-8916432BB991}" dt="2025-05-17T10:29:22.626" v="669" actId="478"/>
          <ac:spMkLst>
            <pc:docMk/>
            <pc:sldMk cId="531483374" sldId="400"/>
            <ac:spMk id="4" creationId="{F65151DF-2E6C-2498-5850-5351E61A6BDD}"/>
          </ac:spMkLst>
        </pc:spChg>
        <pc:spChg chg="del">
          <ac:chgData name="Khaled M. Alshly" userId="4a7e16d7-ffb1-40f7-83a0-a1197d631c7e" providerId="ADAL" clId="{EA9BD926-EFEF-4B99-B66A-8916432BB991}" dt="2025-05-17T10:29:22.626" v="669" actId="478"/>
          <ac:spMkLst>
            <pc:docMk/>
            <pc:sldMk cId="531483374" sldId="400"/>
            <ac:spMk id="5" creationId="{515E662D-393D-135C-3309-0A1B82CA16AB}"/>
          </ac:spMkLst>
        </pc:spChg>
        <pc:spChg chg="del">
          <ac:chgData name="Khaled M. Alshly" userId="4a7e16d7-ffb1-40f7-83a0-a1197d631c7e" providerId="ADAL" clId="{EA9BD926-EFEF-4B99-B66A-8916432BB991}" dt="2025-05-17T10:29:22.626" v="669" actId="478"/>
          <ac:spMkLst>
            <pc:docMk/>
            <pc:sldMk cId="531483374" sldId="400"/>
            <ac:spMk id="7" creationId="{33DDA2DD-3011-4B77-C09C-2245AB486922}"/>
          </ac:spMkLst>
        </pc:spChg>
        <pc:spChg chg="del">
          <ac:chgData name="Khaled M. Alshly" userId="4a7e16d7-ffb1-40f7-83a0-a1197d631c7e" providerId="ADAL" clId="{EA9BD926-EFEF-4B99-B66A-8916432BB991}" dt="2025-05-17T10:29:22.626" v="669" actId="478"/>
          <ac:spMkLst>
            <pc:docMk/>
            <pc:sldMk cId="531483374" sldId="400"/>
            <ac:spMk id="11" creationId="{9A65ADBD-7F3F-EC3A-70B2-FBC997BC1406}"/>
          </ac:spMkLst>
        </pc:spChg>
        <pc:spChg chg="del">
          <ac:chgData name="Khaled M. Alshly" userId="4a7e16d7-ffb1-40f7-83a0-a1197d631c7e" providerId="ADAL" clId="{EA9BD926-EFEF-4B99-B66A-8916432BB991}" dt="2025-05-17T10:29:22.626" v="669" actId="478"/>
          <ac:spMkLst>
            <pc:docMk/>
            <pc:sldMk cId="531483374" sldId="400"/>
            <ac:spMk id="12" creationId="{552B3E85-80E5-4963-EDFC-27136A27635B}"/>
          </ac:spMkLst>
        </pc:spChg>
        <pc:spChg chg="del">
          <ac:chgData name="Khaled M. Alshly" userId="4a7e16d7-ffb1-40f7-83a0-a1197d631c7e" providerId="ADAL" clId="{EA9BD926-EFEF-4B99-B66A-8916432BB991}" dt="2025-05-17T10:29:22.626" v="669" actId="478"/>
          <ac:spMkLst>
            <pc:docMk/>
            <pc:sldMk cId="531483374" sldId="400"/>
            <ac:spMk id="13" creationId="{54B44EA4-88D9-1946-5292-5DC23DB7C7E7}"/>
          </ac:spMkLst>
        </pc:spChg>
        <pc:spChg chg="del">
          <ac:chgData name="Khaled M. Alshly" userId="4a7e16d7-ffb1-40f7-83a0-a1197d631c7e" providerId="ADAL" clId="{EA9BD926-EFEF-4B99-B66A-8916432BB991}" dt="2025-05-17T10:29:22.626" v="669" actId="478"/>
          <ac:spMkLst>
            <pc:docMk/>
            <pc:sldMk cId="531483374" sldId="400"/>
            <ac:spMk id="14" creationId="{35F234A3-2292-A535-6EED-73F065904A43}"/>
          </ac:spMkLst>
        </pc:spChg>
        <pc:spChg chg="del">
          <ac:chgData name="Khaled M. Alshly" userId="4a7e16d7-ffb1-40f7-83a0-a1197d631c7e" providerId="ADAL" clId="{EA9BD926-EFEF-4B99-B66A-8916432BB991}" dt="2025-05-17T10:29:22.626" v="669" actId="478"/>
          <ac:spMkLst>
            <pc:docMk/>
            <pc:sldMk cId="531483374" sldId="400"/>
            <ac:spMk id="15" creationId="{320AA81D-6F68-00B1-6D63-62B9ABEA9805}"/>
          </ac:spMkLst>
        </pc:spChg>
        <pc:spChg chg="del">
          <ac:chgData name="Khaled M. Alshly" userId="4a7e16d7-ffb1-40f7-83a0-a1197d631c7e" providerId="ADAL" clId="{EA9BD926-EFEF-4B99-B66A-8916432BB991}" dt="2025-05-17T10:29:22.626" v="669" actId="478"/>
          <ac:spMkLst>
            <pc:docMk/>
            <pc:sldMk cId="531483374" sldId="400"/>
            <ac:spMk id="16" creationId="{FC1ABD9B-F298-033B-DB68-B1E6163F8CAF}"/>
          </ac:spMkLst>
        </pc:spChg>
        <pc:spChg chg="add mod">
          <ac:chgData name="Khaled M. Alshly" userId="4a7e16d7-ffb1-40f7-83a0-a1197d631c7e" providerId="ADAL" clId="{EA9BD926-EFEF-4B99-B66A-8916432BB991}" dt="2025-05-17T10:44:44.546" v="756" actId="20577"/>
          <ac:spMkLst>
            <pc:docMk/>
            <pc:sldMk cId="531483374" sldId="400"/>
            <ac:spMk id="17" creationId="{7786EC5C-1DF5-8D83-F590-62274C7C3B84}"/>
          </ac:spMkLst>
        </pc:spChg>
        <pc:spChg chg="add mod">
          <ac:chgData name="Khaled M. Alshly" userId="4a7e16d7-ffb1-40f7-83a0-a1197d631c7e" providerId="ADAL" clId="{EA9BD926-EFEF-4B99-B66A-8916432BB991}" dt="2025-05-17T10:30:25.148" v="675" actId="207"/>
          <ac:spMkLst>
            <pc:docMk/>
            <pc:sldMk cId="531483374" sldId="400"/>
            <ac:spMk id="18" creationId="{AF3664F2-DD47-B7AD-838F-C863FCAE86CF}"/>
          </ac:spMkLst>
        </pc:spChg>
        <pc:spChg chg="add mod">
          <ac:chgData name="Khaled M. Alshly" userId="4a7e16d7-ffb1-40f7-83a0-a1197d631c7e" providerId="ADAL" clId="{EA9BD926-EFEF-4B99-B66A-8916432BB991}" dt="2025-05-17T10:31:13.055" v="679" actId="12"/>
          <ac:spMkLst>
            <pc:docMk/>
            <pc:sldMk cId="531483374" sldId="400"/>
            <ac:spMk id="19" creationId="{FD3E53E8-13FD-88EE-ECC6-1B15F72F2550}"/>
          </ac:spMkLst>
        </pc:spChg>
        <pc:spChg chg="add mod">
          <ac:chgData name="Khaled M. Alshly" userId="4a7e16d7-ffb1-40f7-83a0-a1197d631c7e" providerId="ADAL" clId="{EA9BD926-EFEF-4B99-B66A-8916432BB991}" dt="2025-05-17T10:30:45.462" v="677" actId="12"/>
          <ac:spMkLst>
            <pc:docMk/>
            <pc:sldMk cId="531483374" sldId="400"/>
            <ac:spMk id="20" creationId="{4C7E3088-F665-8101-6706-AB84A70376A9}"/>
          </ac:spMkLst>
        </pc:spChg>
        <pc:spChg chg="add mod">
          <ac:chgData name="Khaled M. Alshly" userId="4a7e16d7-ffb1-40f7-83a0-a1197d631c7e" providerId="ADAL" clId="{EA9BD926-EFEF-4B99-B66A-8916432BB991}" dt="2025-05-17T10:31:36.553" v="681" actId="12"/>
          <ac:spMkLst>
            <pc:docMk/>
            <pc:sldMk cId="531483374" sldId="400"/>
            <ac:spMk id="21" creationId="{6EE56357-213D-9F74-B84A-EABFF63EF2DC}"/>
          </ac:spMkLst>
        </pc:spChg>
        <pc:picChg chg="add mod">
          <ac:chgData name="Khaled M. Alshly" userId="4a7e16d7-ffb1-40f7-83a0-a1197d631c7e" providerId="ADAL" clId="{EA9BD926-EFEF-4B99-B66A-8916432BB991}" dt="2025-05-17T10:32:12.991" v="682"/>
          <ac:picMkLst>
            <pc:docMk/>
            <pc:sldMk cId="531483374" sldId="400"/>
            <ac:picMk id="22" creationId="{21B9D7DB-4576-0A1C-209B-E7F060BC4332}"/>
          </ac:picMkLst>
        </pc:picChg>
      </pc:sldChg>
      <pc:sldChg chg="addSp delSp modSp add mod">
        <pc:chgData name="Khaled M. Alshly" userId="4a7e16d7-ffb1-40f7-83a0-a1197d631c7e" providerId="ADAL" clId="{EA9BD926-EFEF-4B99-B66A-8916432BB991}" dt="2025-05-17T10:38:56.770" v="728" actId="1076"/>
        <pc:sldMkLst>
          <pc:docMk/>
          <pc:sldMk cId="1535569760" sldId="401"/>
        </pc:sldMkLst>
        <pc:spChg chg="mod">
          <ac:chgData name="Khaled M. Alshly" userId="4a7e16d7-ffb1-40f7-83a0-a1197d631c7e" providerId="ADAL" clId="{EA9BD926-EFEF-4B99-B66A-8916432BB991}" dt="2025-05-17T10:38:56.770" v="728" actId="1076"/>
          <ac:spMkLst>
            <pc:docMk/>
            <pc:sldMk cId="1535569760" sldId="401"/>
            <ac:spMk id="2" creationId="{A2B5188E-6BE4-3F9C-48E1-E33F6E17B26F}"/>
          </ac:spMkLst>
        </pc:spChg>
        <pc:spChg chg="mod">
          <ac:chgData name="Khaled M. Alshly" userId="4a7e16d7-ffb1-40f7-83a0-a1197d631c7e" providerId="ADAL" clId="{EA9BD926-EFEF-4B99-B66A-8916432BB991}" dt="2025-05-17T10:34:52.590" v="696" actId="207"/>
          <ac:spMkLst>
            <pc:docMk/>
            <pc:sldMk cId="1535569760" sldId="401"/>
            <ac:spMk id="3" creationId="{313D9C3C-B675-DE13-D81E-C34BE35B8CED}"/>
          </ac:spMkLst>
        </pc:spChg>
        <pc:spChg chg="add mod">
          <ac:chgData name="Khaled M. Alshly" userId="4a7e16d7-ffb1-40f7-83a0-a1197d631c7e" providerId="ADAL" clId="{EA9BD926-EFEF-4B99-B66A-8916432BB991}" dt="2025-05-17T10:34:42.187" v="695" actId="207"/>
          <ac:spMkLst>
            <pc:docMk/>
            <pc:sldMk cId="1535569760" sldId="401"/>
            <ac:spMk id="4" creationId="{4389FAC5-CC42-F582-1A73-67C43CD3906E}"/>
          </ac:spMkLst>
        </pc:spChg>
        <pc:spChg chg="mod">
          <ac:chgData name="Khaled M. Alshly" userId="4a7e16d7-ffb1-40f7-83a0-a1197d631c7e" providerId="ADAL" clId="{EA9BD926-EFEF-4B99-B66A-8916432BB991}" dt="2025-05-17T10:34:21.445" v="692" actId="207"/>
          <ac:spMkLst>
            <pc:docMk/>
            <pc:sldMk cId="1535569760" sldId="401"/>
            <ac:spMk id="5" creationId="{0C5DFCC6-31F0-A9CE-745E-5EA1551DCAD4}"/>
          </ac:spMkLst>
        </pc:spChg>
        <pc:spChg chg="mod">
          <ac:chgData name="Khaled M. Alshly" userId="4a7e16d7-ffb1-40f7-83a0-a1197d631c7e" providerId="ADAL" clId="{EA9BD926-EFEF-4B99-B66A-8916432BB991}" dt="2025-05-17T10:34:03.422" v="688" actId="1076"/>
          <ac:spMkLst>
            <pc:docMk/>
            <pc:sldMk cId="1535569760" sldId="401"/>
            <ac:spMk id="6" creationId="{E9C48304-2915-638F-79B0-755CE1D64CC9}"/>
          </ac:spMkLst>
        </pc:spChg>
        <pc:spChg chg="add mod">
          <ac:chgData name="Khaled M. Alshly" userId="4a7e16d7-ffb1-40f7-83a0-a1197d631c7e" providerId="ADAL" clId="{EA9BD926-EFEF-4B99-B66A-8916432BB991}" dt="2025-05-17T10:35:04.283" v="699" actId="207"/>
          <ac:spMkLst>
            <pc:docMk/>
            <pc:sldMk cId="1535569760" sldId="401"/>
            <ac:spMk id="9" creationId="{EB253123-F019-EECE-A123-B319F6D62596}"/>
          </ac:spMkLst>
        </pc:spChg>
        <pc:spChg chg="mod">
          <ac:chgData name="Khaled M. Alshly" userId="4a7e16d7-ffb1-40f7-83a0-a1197d631c7e" providerId="ADAL" clId="{EA9BD926-EFEF-4B99-B66A-8916432BB991}" dt="2025-05-17T10:35:43.142" v="705" actId="207"/>
          <ac:spMkLst>
            <pc:docMk/>
            <pc:sldMk cId="1535569760" sldId="401"/>
            <ac:spMk id="11" creationId="{3B7F03D2-0AB0-028A-4317-99D08ABAE785}"/>
          </ac:spMkLst>
        </pc:spChg>
        <pc:spChg chg="add mod">
          <ac:chgData name="Khaled M. Alshly" userId="4a7e16d7-ffb1-40f7-83a0-a1197d631c7e" providerId="ADAL" clId="{EA9BD926-EFEF-4B99-B66A-8916432BB991}" dt="2025-05-17T10:37:46.449" v="708" actId="207"/>
          <ac:spMkLst>
            <pc:docMk/>
            <pc:sldMk cId="1535569760" sldId="401"/>
            <ac:spMk id="13" creationId="{5148B169-9FCB-05A2-C486-7016EB3066CB}"/>
          </ac:spMkLst>
        </pc:spChg>
        <pc:spChg chg="mod">
          <ac:chgData name="Khaled M. Alshly" userId="4a7e16d7-ffb1-40f7-83a0-a1197d631c7e" providerId="ADAL" clId="{EA9BD926-EFEF-4B99-B66A-8916432BB991}" dt="2025-05-17T10:38:07.265" v="711" actId="207"/>
          <ac:spMkLst>
            <pc:docMk/>
            <pc:sldMk cId="1535569760" sldId="401"/>
            <ac:spMk id="15" creationId="{D02BEBF4-FE99-DD3B-25FA-5DB6F56DD6E9}"/>
          </ac:spMkLst>
        </pc:spChg>
        <pc:spChg chg="del">
          <ac:chgData name="Khaled M. Alshly" userId="4a7e16d7-ffb1-40f7-83a0-a1197d631c7e" providerId="ADAL" clId="{EA9BD926-EFEF-4B99-B66A-8916432BB991}" dt="2025-05-17T10:33:40.015" v="685" actId="478"/>
          <ac:spMkLst>
            <pc:docMk/>
            <pc:sldMk cId="1535569760" sldId="401"/>
            <ac:spMk id="17" creationId="{511691D4-843D-379C-8B63-C1B325113085}"/>
          </ac:spMkLst>
        </pc:spChg>
        <pc:spChg chg="del">
          <ac:chgData name="Khaled M. Alshly" userId="4a7e16d7-ffb1-40f7-83a0-a1197d631c7e" providerId="ADAL" clId="{EA9BD926-EFEF-4B99-B66A-8916432BB991}" dt="2025-05-17T10:33:40.015" v="685" actId="478"/>
          <ac:spMkLst>
            <pc:docMk/>
            <pc:sldMk cId="1535569760" sldId="401"/>
            <ac:spMk id="18" creationId="{15107A19-ECE1-C507-E0D8-B6C192272E91}"/>
          </ac:spMkLst>
        </pc:spChg>
        <pc:spChg chg="del">
          <ac:chgData name="Khaled M. Alshly" userId="4a7e16d7-ffb1-40f7-83a0-a1197d631c7e" providerId="ADAL" clId="{EA9BD926-EFEF-4B99-B66A-8916432BB991}" dt="2025-05-17T10:33:40.015" v="685" actId="478"/>
          <ac:spMkLst>
            <pc:docMk/>
            <pc:sldMk cId="1535569760" sldId="401"/>
            <ac:spMk id="19" creationId="{CAF94902-2C00-BE21-542A-8B539AFDE233}"/>
          </ac:spMkLst>
        </pc:spChg>
        <pc:spChg chg="del">
          <ac:chgData name="Khaled M. Alshly" userId="4a7e16d7-ffb1-40f7-83a0-a1197d631c7e" providerId="ADAL" clId="{EA9BD926-EFEF-4B99-B66A-8916432BB991}" dt="2025-05-17T10:33:40.015" v="685" actId="478"/>
          <ac:spMkLst>
            <pc:docMk/>
            <pc:sldMk cId="1535569760" sldId="401"/>
            <ac:spMk id="20" creationId="{CC0CABF3-0311-8372-5BAC-5744B0349AF7}"/>
          </ac:spMkLst>
        </pc:spChg>
        <pc:spChg chg="del">
          <ac:chgData name="Khaled M. Alshly" userId="4a7e16d7-ffb1-40f7-83a0-a1197d631c7e" providerId="ADAL" clId="{EA9BD926-EFEF-4B99-B66A-8916432BB991}" dt="2025-05-17T10:33:40.015" v="685" actId="478"/>
          <ac:spMkLst>
            <pc:docMk/>
            <pc:sldMk cId="1535569760" sldId="401"/>
            <ac:spMk id="21" creationId="{609B5AEC-D6FB-A040-8F3B-0A2D4810EC3F}"/>
          </ac:spMkLst>
        </pc:spChg>
        <pc:spChg chg="add mod">
          <ac:chgData name="Khaled M. Alshly" userId="4a7e16d7-ffb1-40f7-83a0-a1197d631c7e" providerId="ADAL" clId="{EA9BD926-EFEF-4B99-B66A-8916432BB991}" dt="2025-05-17T10:35:09.489" v="700" actId="207"/>
          <ac:spMkLst>
            <pc:docMk/>
            <pc:sldMk cId="1535569760" sldId="401"/>
            <ac:spMk id="23" creationId="{EDA635A8-852D-9C1C-DB8A-86BA8C6C589B}"/>
          </ac:spMkLst>
        </pc:spChg>
        <pc:spChg chg="add mod">
          <ac:chgData name="Khaled M. Alshly" userId="4a7e16d7-ffb1-40f7-83a0-a1197d631c7e" providerId="ADAL" clId="{EA9BD926-EFEF-4B99-B66A-8916432BB991}" dt="2025-05-17T10:34:02.346" v="687" actId="1076"/>
          <ac:spMkLst>
            <pc:docMk/>
            <pc:sldMk cId="1535569760" sldId="401"/>
            <ac:spMk id="24" creationId="{82EFC8E3-66E2-E180-3437-C3E203D32ECC}"/>
          </ac:spMkLst>
        </pc:spChg>
        <pc:spChg chg="add mod">
          <ac:chgData name="Khaled M. Alshly" userId="4a7e16d7-ffb1-40f7-83a0-a1197d631c7e" providerId="ADAL" clId="{EA9BD926-EFEF-4B99-B66A-8916432BB991}" dt="2025-05-17T10:35:38.280" v="704" actId="207"/>
          <ac:spMkLst>
            <pc:docMk/>
            <pc:sldMk cId="1535569760" sldId="401"/>
            <ac:spMk id="25" creationId="{B0F4485A-252D-AE8A-B374-AC02728F0722}"/>
          </ac:spMkLst>
        </pc:spChg>
        <pc:spChg chg="mod">
          <ac:chgData name="Khaled M. Alshly" userId="4a7e16d7-ffb1-40f7-83a0-a1197d631c7e" providerId="ADAL" clId="{EA9BD926-EFEF-4B99-B66A-8916432BB991}" dt="2025-05-17T10:34:03.422" v="688" actId="1076"/>
          <ac:spMkLst>
            <pc:docMk/>
            <pc:sldMk cId="1535569760" sldId="401"/>
            <ac:spMk id="26" creationId="{76136159-B4FE-C98D-275C-93FE4678209B}"/>
          </ac:spMkLst>
        </pc:spChg>
        <pc:spChg chg="add mod">
          <ac:chgData name="Khaled M. Alshly" userId="4a7e16d7-ffb1-40f7-83a0-a1197d631c7e" providerId="ADAL" clId="{EA9BD926-EFEF-4B99-B66A-8916432BB991}" dt="2025-05-17T10:37:37.918" v="707" actId="207"/>
          <ac:spMkLst>
            <pc:docMk/>
            <pc:sldMk cId="1535569760" sldId="401"/>
            <ac:spMk id="27" creationId="{00D4E38D-F669-6A42-876E-8E71AE404B81}"/>
          </ac:spMkLst>
        </pc:spChg>
        <pc:spChg chg="mod">
          <ac:chgData name="Khaled M. Alshly" userId="4a7e16d7-ffb1-40f7-83a0-a1197d631c7e" providerId="ADAL" clId="{EA9BD926-EFEF-4B99-B66A-8916432BB991}" dt="2025-05-17T10:34:03.422" v="688" actId="1076"/>
          <ac:spMkLst>
            <pc:docMk/>
            <pc:sldMk cId="1535569760" sldId="401"/>
            <ac:spMk id="28" creationId="{0709CFFB-33DB-F23A-4CE1-CB7F990A4FCA}"/>
          </ac:spMkLst>
        </pc:spChg>
        <pc:spChg chg="mod">
          <ac:chgData name="Khaled M. Alshly" userId="4a7e16d7-ffb1-40f7-83a0-a1197d631c7e" providerId="ADAL" clId="{EA9BD926-EFEF-4B99-B66A-8916432BB991}" dt="2025-05-17T10:38:02.494" v="710" actId="207"/>
          <ac:spMkLst>
            <pc:docMk/>
            <pc:sldMk cId="1535569760" sldId="401"/>
            <ac:spMk id="29" creationId="{E80B7E80-134F-BAD1-F7C1-C9C573C1A898}"/>
          </ac:spMkLst>
        </pc:spChg>
        <pc:spChg chg="mod">
          <ac:chgData name="Khaled M. Alshly" userId="4a7e16d7-ffb1-40f7-83a0-a1197d631c7e" providerId="ADAL" clId="{EA9BD926-EFEF-4B99-B66A-8916432BB991}" dt="2025-05-17T10:34:30.282" v="693" actId="207"/>
          <ac:spMkLst>
            <pc:docMk/>
            <pc:sldMk cId="1535569760" sldId="401"/>
            <ac:spMk id="31" creationId="{6B3C9083-99AA-9C7C-5C70-50BFD2CD0B39}"/>
          </ac:spMkLst>
        </pc:spChg>
        <pc:spChg chg="mod">
          <ac:chgData name="Khaled M. Alshly" userId="4a7e16d7-ffb1-40f7-83a0-a1197d631c7e" providerId="ADAL" clId="{EA9BD926-EFEF-4B99-B66A-8916432BB991}" dt="2025-05-17T10:34:03.422" v="688" actId="1076"/>
          <ac:spMkLst>
            <pc:docMk/>
            <pc:sldMk cId="1535569760" sldId="401"/>
            <ac:spMk id="32" creationId="{71608F64-A6FF-BCD8-2451-9D287960B1E8}"/>
          </ac:spMkLst>
        </pc:spChg>
        <pc:spChg chg="mod">
          <ac:chgData name="Khaled M. Alshly" userId="4a7e16d7-ffb1-40f7-83a0-a1197d631c7e" providerId="ADAL" clId="{EA9BD926-EFEF-4B99-B66A-8916432BB991}" dt="2025-05-17T10:35:18.764" v="702" actId="207"/>
          <ac:spMkLst>
            <pc:docMk/>
            <pc:sldMk cId="1535569760" sldId="401"/>
            <ac:spMk id="33" creationId="{59680E37-1A17-F389-EC73-43573563C7AC}"/>
          </ac:spMkLst>
        </pc:spChg>
        <pc:spChg chg="mod">
          <ac:chgData name="Khaled M. Alshly" userId="4a7e16d7-ffb1-40f7-83a0-a1197d631c7e" providerId="ADAL" clId="{EA9BD926-EFEF-4B99-B66A-8916432BB991}" dt="2025-05-17T10:37:33.393" v="706" actId="207"/>
          <ac:spMkLst>
            <pc:docMk/>
            <pc:sldMk cId="1535569760" sldId="401"/>
            <ac:spMk id="35" creationId="{DB137EA0-420A-5D06-34C3-741F0F8F7ADB}"/>
          </ac:spMkLst>
        </pc:spChg>
        <pc:spChg chg="mod">
          <ac:chgData name="Khaled M. Alshly" userId="4a7e16d7-ffb1-40f7-83a0-a1197d631c7e" providerId="ADAL" clId="{EA9BD926-EFEF-4B99-B66A-8916432BB991}" dt="2025-05-17T10:37:51.219" v="709" actId="207"/>
          <ac:spMkLst>
            <pc:docMk/>
            <pc:sldMk cId="1535569760" sldId="401"/>
            <ac:spMk id="37" creationId="{C4626C39-B637-9F52-02C3-6B4166702400}"/>
          </ac:spMkLst>
        </pc:spChg>
        <pc:spChg chg="mod">
          <ac:chgData name="Khaled M. Alshly" userId="4a7e16d7-ffb1-40f7-83a0-a1197d631c7e" providerId="ADAL" clId="{EA9BD926-EFEF-4B99-B66A-8916432BB991}" dt="2025-05-17T10:38:23.808" v="715" actId="207"/>
          <ac:spMkLst>
            <pc:docMk/>
            <pc:sldMk cId="1535569760" sldId="401"/>
            <ac:spMk id="39" creationId="{098AEC0B-6AD8-57C3-2334-0D8E63A8CE15}"/>
          </ac:spMkLst>
        </pc:spChg>
        <pc:spChg chg="mod">
          <ac:chgData name="Khaled M. Alshly" userId="4a7e16d7-ffb1-40f7-83a0-a1197d631c7e" providerId="ADAL" clId="{EA9BD926-EFEF-4B99-B66A-8916432BB991}" dt="2025-05-17T10:38:26.251" v="716" actId="207"/>
          <ac:spMkLst>
            <pc:docMk/>
            <pc:sldMk cId="1535569760" sldId="401"/>
            <ac:spMk id="40" creationId="{7099646F-E29C-C632-B702-24B81B9FA841}"/>
          </ac:spMkLst>
        </pc:spChg>
        <pc:spChg chg="mod">
          <ac:chgData name="Khaled M. Alshly" userId="4a7e16d7-ffb1-40f7-83a0-a1197d631c7e" providerId="ADAL" clId="{EA9BD926-EFEF-4B99-B66A-8916432BB991}" dt="2025-05-17T10:38:30.050" v="717" actId="207"/>
          <ac:spMkLst>
            <pc:docMk/>
            <pc:sldMk cId="1535569760" sldId="401"/>
            <ac:spMk id="41" creationId="{50E0F85B-3532-AE66-7574-A66F353DEE0A}"/>
          </ac:spMkLst>
        </pc:spChg>
        <pc:spChg chg="mod">
          <ac:chgData name="Khaled M. Alshly" userId="4a7e16d7-ffb1-40f7-83a0-a1197d631c7e" providerId="ADAL" clId="{EA9BD926-EFEF-4B99-B66A-8916432BB991}" dt="2025-05-17T10:38:32.602" v="718" actId="207"/>
          <ac:spMkLst>
            <pc:docMk/>
            <pc:sldMk cId="1535569760" sldId="401"/>
            <ac:spMk id="42" creationId="{C0CCD6E1-0E74-33A6-52EB-5A7E2EB2C005}"/>
          </ac:spMkLst>
        </pc:spChg>
        <pc:spChg chg="mod">
          <ac:chgData name="Khaled M. Alshly" userId="4a7e16d7-ffb1-40f7-83a0-a1197d631c7e" providerId="ADAL" clId="{EA9BD926-EFEF-4B99-B66A-8916432BB991}" dt="2025-05-17T10:38:16.877" v="712" actId="207"/>
          <ac:spMkLst>
            <pc:docMk/>
            <pc:sldMk cId="1535569760" sldId="401"/>
            <ac:spMk id="43" creationId="{E9B50243-D56B-08A3-D98D-E8F7CC53DFBE}"/>
          </ac:spMkLst>
        </pc:spChg>
        <pc:spChg chg="mod">
          <ac:chgData name="Khaled M. Alshly" userId="4a7e16d7-ffb1-40f7-83a0-a1197d631c7e" providerId="ADAL" clId="{EA9BD926-EFEF-4B99-B66A-8916432BB991}" dt="2025-05-17T10:38:39.902" v="721" actId="207"/>
          <ac:spMkLst>
            <pc:docMk/>
            <pc:sldMk cId="1535569760" sldId="401"/>
            <ac:spMk id="44" creationId="{5BAFD1F7-0FE4-E02F-C2C4-4E260CE60EEB}"/>
          </ac:spMkLst>
        </pc:spChg>
        <pc:spChg chg="mod">
          <ac:chgData name="Khaled M. Alshly" userId="4a7e16d7-ffb1-40f7-83a0-a1197d631c7e" providerId="ADAL" clId="{EA9BD926-EFEF-4B99-B66A-8916432BB991}" dt="2025-05-17T10:38:46.828" v="725" actId="207"/>
          <ac:spMkLst>
            <pc:docMk/>
            <pc:sldMk cId="1535569760" sldId="401"/>
            <ac:spMk id="45" creationId="{A8AFD0A2-4100-6A37-9F0D-4A0C264E3297}"/>
          </ac:spMkLst>
        </pc:spChg>
        <pc:spChg chg="add mod">
          <ac:chgData name="Khaled M. Alshly" userId="4a7e16d7-ffb1-40f7-83a0-a1197d631c7e" providerId="ADAL" clId="{EA9BD926-EFEF-4B99-B66A-8916432BB991}" dt="2025-05-17T10:38:51.528" v="727" actId="207"/>
          <ac:spMkLst>
            <pc:docMk/>
            <pc:sldMk cId="1535569760" sldId="401"/>
            <ac:spMk id="46" creationId="{15A203BF-27A9-B54C-29DC-2A7BE79CFBA1}"/>
          </ac:spMkLst>
        </pc:spChg>
        <pc:spChg chg="add mod">
          <ac:chgData name="Khaled M. Alshly" userId="4a7e16d7-ffb1-40f7-83a0-a1197d631c7e" providerId="ADAL" clId="{EA9BD926-EFEF-4B99-B66A-8916432BB991}" dt="2025-05-17T10:38:19.576" v="713" actId="207"/>
          <ac:spMkLst>
            <pc:docMk/>
            <pc:sldMk cId="1535569760" sldId="401"/>
            <ac:spMk id="47" creationId="{E4BF255C-B169-9FD5-F835-2EB0484644B3}"/>
          </ac:spMkLst>
        </pc:spChg>
        <pc:spChg chg="mod">
          <ac:chgData name="Khaled M. Alshly" userId="4a7e16d7-ffb1-40f7-83a0-a1197d631c7e" providerId="ADAL" clId="{EA9BD926-EFEF-4B99-B66A-8916432BB991}" dt="2025-05-17T10:38:44.998" v="724" actId="207"/>
          <ac:spMkLst>
            <pc:docMk/>
            <pc:sldMk cId="1535569760" sldId="401"/>
            <ac:spMk id="48" creationId="{98765189-988F-96EA-FB10-228FCA2621D2}"/>
          </ac:spMkLst>
        </pc:spChg>
        <pc:spChg chg="mod">
          <ac:chgData name="Khaled M. Alshly" userId="4a7e16d7-ffb1-40f7-83a0-a1197d631c7e" providerId="ADAL" clId="{EA9BD926-EFEF-4B99-B66A-8916432BB991}" dt="2025-05-17T10:38:49.043" v="726" actId="207"/>
          <ac:spMkLst>
            <pc:docMk/>
            <pc:sldMk cId="1535569760" sldId="401"/>
            <ac:spMk id="49" creationId="{AD007794-A533-1596-DEED-C05C798C5FFF}"/>
          </ac:spMkLst>
        </pc:spChg>
        <pc:spChg chg="add mod">
          <ac:chgData name="Khaled M. Alshly" userId="4a7e16d7-ffb1-40f7-83a0-a1197d631c7e" providerId="ADAL" clId="{EA9BD926-EFEF-4B99-B66A-8916432BB991}" dt="2025-05-17T10:38:21.808" v="714" actId="207"/>
          <ac:spMkLst>
            <pc:docMk/>
            <pc:sldMk cId="1535569760" sldId="401"/>
            <ac:spMk id="50" creationId="{F1622CA2-236E-9E2D-BF2B-D004336B41AB}"/>
          </ac:spMkLst>
        </pc:spChg>
        <pc:spChg chg="mod">
          <ac:chgData name="Khaled M. Alshly" userId="4a7e16d7-ffb1-40f7-83a0-a1197d631c7e" providerId="ADAL" clId="{EA9BD926-EFEF-4B99-B66A-8916432BB991}" dt="2025-05-17T10:38:37.344" v="720" actId="207"/>
          <ac:spMkLst>
            <pc:docMk/>
            <pc:sldMk cId="1535569760" sldId="401"/>
            <ac:spMk id="51" creationId="{A31AB234-67EA-F3D2-10B2-4B2A7CFFA81F}"/>
          </ac:spMkLst>
        </pc:spChg>
        <pc:spChg chg="mod">
          <ac:chgData name="Khaled M. Alshly" userId="4a7e16d7-ffb1-40f7-83a0-a1197d631c7e" providerId="ADAL" clId="{EA9BD926-EFEF-4B99-B66A-8916432BB991}" dt="2025-05-17T10:38:34.935" v="719" actId="207"/>
          <ac:spMkLst>
            <pc:docMk/>
            <pc:sldMk cId="1535569760" sldId="401"/>
            <ac:spMk id="52" creationId="{C77B9DAE-C55D-9A45-98AB-406D960ED68A}"/>
          </ac:spMkLst>
        </pc:spChg>
        <pc:picChg chg="del">
          <ac:chgData name="Khaled M. Alshly" userId="4a7e16d7-ffb1-40f7-83a0-a1197d631c7e" providerId="ADAL" clId="{EA9BD926-EFEF-4B99-B66A-8916432BB991}" dt="2025-05-17T10:33:40.015" v="685" actId="478"/>
          <ac:picMkLst>
            <pc:docMk/>
            <pc:sldMk cId="1535569760" sldId="401"/>
            <ac:picMk id="22" creationId="{A6C6551D-18B0-D401-27E4-269E198434A9}"/>
          </ac:picMkLst>
        </pc:picChg>
      </pc:sldChg>
      <pc:sldChg chg="modSp add mod">
        <pc:chgData name="Khaled M. Alshly" userId="4a7e16d7-ffb1-40f7-83a0-a1197d631c7e" providerId="ADAL" clId="{EA9BD926-EFEF-4B99-B66A-8916432BB991}" dt="2025-05-17T10:45:20.447" v="766"/>
        <pc:sldMkLst>
          <pc:docMk/>
          <pc:sldMk cId="1756314205" sldId="402"/>
        </pc:sldMkLst>
        <pc:spChg chg="mod">
          <ac:chgData name="Khaled M. Alshly" userId="4a7e16d7-ffb1-40f7-83a0-a1197d631c7e" providerId="ADAL" clId="{EA9BD926-EFEF-4B99-B66A-8916432BB991}" dt="2025-05-17T10:45:20.447" v="766"/>
          <ac:spMkLst>
            <pc:docMk/>
            <pc:sldMk cId="1756314205" sldId="402"/>
            <ac:spMk id="3" creationId="{C4CC2FA1-6CD0-0CED-B9A3-B7C238AA92AF}"/>
          </ac:spMkLst>
        </pc:spChg>
      </pc:sldChg>
      <pc:sldChg chg="addSp delSp modSp add mod ord">
        <pc:chgData name="Khaled M. Alshly" userId="4a7e16d7-ffb1-40f7-83a0-a1197d631c7e" providerId="ADAL" clId="{EA9BD926-EFEF-4B99-B66A-8916432BB991}" dt="2025-05-17T10:54:33.047" v="950" actId="1076"/>
        <pc:sldMkLst>
          <pc:docMk/>
          <pc:sldMk cId="1561236180" sldId="403"/>
        </pc:sldMkLst>
        <pc:spChg chg="add del">
          <ac:chgData name="Khaled M. Alshly" userId="4a7e16d7-ffb1-40f7-83a0-a1197d631c7e" providerId="ADAL" clId="{EA9BD926-EFEF-4B99-B66A-8916432BB991}" dt="2025-05-17T10:45:58.096" v="773" actId="478"/>
          <ac:spMkLst>
            <pc:docMk/>
            <pc:sldMk cId="1561236180" sldId="403"/>
            <ac:spMk id="8" creationId="{97CAEFA0-8DEB-8E9A-63A8-BCB6481D55CC}"/>
          </ac:spMkLst>
        </pc:spChg>
        <pc:spChg chg="add del">
          <ac:chgData name="Khaled M. Alshly" userId="4a7e16d7-ffb1-40f7-83a0-a1197d631c7e" providerId="ADAL" clId="{EA9BD926-EFEF-4B99-B66A-8916432BB991}" dt="2025-05-17T10:45:58.096" v="773" actId="478"/>
          <ac:spMkLst>
            <pc:docMk/>
            <pc:sldMk cId="1561236180" sldId="403"/>
            <ac:spMk id="14" creationId="{51B2448B-4D6A-3668-3D8D-3FC745EFDFB8}"/>
          </ac:spMkLst>
        </pc:spChg>
        <pc:spChg chg="add del">
          <ac:chgData name="Khaled M. Alshly" userId="4a7e16d7-ffb1-40f7-83a0-a1197d631c7e" providerId="ADAL" clId="{EA9BD926-EFEF-4B99-B66A-8916432BB991}" dt="2025-05-17T10:45:58.096" v="773" actId="478"/>
          <ac:spMkLst>
            <pc:docMk/>
            <pc:sldMk cId="1561236180" sldId="403"/>
            <ac:spMk id="16" creationId="{91D0258C-20DA-2B7A-7251-84B24E2A2B25}"/>
          </ac:spMkLst>
        </pc:spChg>
        <pc:spChg chg="mod">
          <ac:chgData name="Khaled M. Alshly" userId="4a7e16d7-ffb1-40f7-83a0-a1197d631c7e" providerId="ADAL" clId="{EA9BD926-EFEF-4B99-B66A-8916432BB991}" dt="2025-05-17T10:49:25.377" v="844" actId="207"/>
          <ac:spMkLst>
            <pc:docMk/>
            <pc:sldMk cId="1561236180" sldId="403"/>
            <ac:spMk id="18" creationId="{B0515DB5-7650-8658-A601-6E966DF530B0}"/>
          </ac:spMkLst>
        </pc:spChg>
        <pc:spChg chg="mod">
          <ac:chgData name="Khaled M. Alshly" userId="4a7e16d7-ffb1-40f7-83a0-a1197d631c7e" providerId="ADAL" clId="{EA9BD926-EFEF-4B99-B66A-8916432BB991}" dt="2025-05-17T10:49:19.927" v="843" actId="207"/>
          <ac:spMkLst>
            <pc:docMk/>
            <pc:sldMk cId="1561236180" sldId="403"/>
            <ac:spMk id="21" creationId="{8388B0C5-3AB1-BD5B-8598-CE08D708F624}"/>
          </ac:spMkLst>
        </pc:spChg>
        <pc:spChg chg="add mod">
          <ac:chgData name="Khaled M. Alshly" userId="4a7e16d7-ffb1-40f7-83a0-a1197d631c7e" providerId="ADAL" clId="{EA9BD926-EFEF-4B99-B66A-8916432BB991}" dt="2025-05-17T10:46:36.257" v="779" actId="207"/>
          <ac:spMkLst>
            <pc:docMk/>
            <pc:sldMk cId="1561236180" sldId="403"/>
            <ac:spMk id="22" creationId="{88505504-5E78-EFE6-D45B-D85DD4C3E756}"/>
          </ac:spMkLst>
        </pc:spChg>
        <pc:spChg chg="add del">
          <ac:chgData name="Khaled M. Alshly" userId="4a7e16d7-ffb1-40f7-83a0-a1197d631c7e" providerId="ADAL" clId="{EA9BD926-EFEF-4B99-B66A-8916432BB991}" dt="2025-05-17T10:45:58.096" v="773" actId="478"/>
          <ac:spMkLst>
            <pc:docMk/>
            <pc:sldMk cId="1561236180" sldId="403"/>
            <ac:spMk id="27" creationId="{673541C7-B456-66F1-A0CF-6760DDFC6FC8}"/>
          </ac:spMkLst>
        </pc:spChg>
        <pc:spChg chg="add del">
          <ac:chgData name="Khaled M. Alshly" userId="4a7e16d7-ffb1-40f7-83a0-a1197d631c7e" providerId="ADAL" clId="{EA9BD926-EFEF-4B99-B66A-8916432BB991}" dt="2025-05-17T10:45:58.096" v="773" actId="478"/>
          <ac:spMkLst>
            <pc:docMk/>
            <pc:sldMk cId="1561236180" sldId="403"/>
            <ac:spMk id="32" creationId="{6E76C840-514D-61FE-36AD-4D7C4495E724}"/>
          </ac:spMkLst>
        </pc:spChg>
        <pc:spChg chg="add del">
          <ac:chgData name="Khaled M. Alshly" userId="4a7e16d7-ffb1-40f7-83a0-a1197d631c7e" providerId="ADAL" clId="{EA9BD926-EFEF-4B99-B66A-8916432BB991}" dt="2025-05-17T10:45:58.096" v="773" actId="478"/>
          <ac:spMkLst>
            <pc:docMk/>
            <pc:sldMk cId="1561236180" sldId="403"/>
            <ac:spMk id="37" creationId="{12CC660C-97CB-E26D-6A92-C24C95B813DB}"/>
          </ac:spMkLst>
        </pc:spChg>
        <pc:spChg chg="add del">
          <ac:chgData name="Khaled M. Alshly" userId="4a7e16d7-ffb1-40f7-83a0-a1197d631c7e" providerId="ADAL" clId="{EA9BD926-EFEF-4B99-B66A-8916432BB991}" dt="2025-05-17T10:45:58.096" v="773" actId="478"/>
          <ac:spMkLst>
            <pc:docMk/>
            <pc:sldMk cId="1561236180" sldId="403"/>
            <ac:spMk id="39" creationId="{E8F20AD2-FFC9-D312-7D50-677216999B4D}"/>
          </ac:spMkLst>
        </pc:spChg>
        <pc:spChg chg="add del">
          <ac:chgData name="Khaled M. Alshly" userId="4a7e16d7-ffb1-40f7-83a0-a1197d631c7e" providerId="ADAL" clId="{EA9BD926-EFEF-4B99-B66A-8916432BB991}" dt="2025-05-17T10:45:58.096" v="773" actId="478"/>
          <ac:spMkLst>
            <pc:docMk/>
            <pc:sldMk cId="1561236180" sldId="403"/>
            <ac:spMk id="40" creationId="{47CE6D21-B2D5-7E13-4113-EAEE3B47212F}"/>
          </ac:spMkLst>
        </pc:spChg>
        <pc:spChg chg="add del">
          <ac:chgData name="Khaled M. Alshly" userId="4a7e16d7-ffb1-40f7-83a0-a1197d631c7e" providerId="ADAL" clId="{EA9BD926-EFEF-4B99-B66A-8916432BB991}" dt="2025-05-17T10:45:58.096" v="773" actId="478"/>
          <ac:spMkLst>
            <pc:docMk/>
            <pc:sldMk cId="1561236180" sldId="403"/>
            <ac:spMk id="50" creationId="{F1C1C6B9-1239-F8D9-A8CB-F61EB5D19482}"/>
          </ac:spMkLst>
        </pc:spChg>
        <pc:spChg chg="add del">
          <ac:chgData name="Khaled M. Alshly" userId="4a7e16d7-ffb1-40f7-83a0-a1197d631c7e" providerId="ADAL" clId="{EA9BD926-EFEF-4B99-B66A-8916432BB991}" dt="2025-05-17T10:45:58.096" v="773" actId="478"/>
          <ac:spMkLst>
            <pc:docMk/>
            <pc:sldMk cId="1561236180" sldId="403"/>
            <ac:spMk id="51" creationId="{07AEB536-7AAF-0A73-106B-8E589BCE16F2}"/>
          </ac:spMkLst>
        </pc:spChg>
        <pc:spChg chg="add mod">
          <ac:chgData name="Khaled M. Alshly" userId="4a7e16d7-ffb1-40f7-83a0-a1197d631c7e" providerId="ADAL" clId="{EA9BD926-EFEF-4B99-B66A-8916432BB991}" dt="2025-05-17T10:46:15.170" v="774"/>
          <ac:spMkLst>
            <pc:docMk/>
            <pc:sldMk cId="1561236180" sldId="403"/>
            <ac:spMk id="53" creationId="{5C1A1C56-1B60-E5F6-3FB0-D8207CB53AC3}"/>
          </ac:spMkLst>
        </pc:spChg>
        <pc:spChg chg="mod topLvl">
          <ac:chgData name="Khaled M. Alshly" userId="4a7e16d7-ffb1-40f7-83a0-a1197d631c7e" providerId="ADAL" clId="{EA9BD926-EFEF-4B99-B66A-8916432BB991}" dt="2025-05-17T10:48:34.336" v="839" actId="1037"/>
          <ac:spMkLst>
            <pc:docMk/>
            <pc:sldMk cId="1561236180" sldId="403"/>
            <ac:spMk id="57" creationId="{207CE7BA-A82E-26F6-7820-0340961EF173}"/>
          </ac:spMkLst>
        </pc:spChg>
        <pc:spChg chg="mod topLvl">
          <ac:chgData name="Khaled M. Alshly" userId="4a7e16d7-ffb1-40f7-83a0-a1197d631c7e" providerId="ADAL" clId="{EA9BD926-EFEF-4B99-B66A-8916432BB991}" dt="2025-05-17T10:48:39.272" v="840" actId="207"/>
          <ac:spMkLst>
            <pc:docMk/>
            <pc:sldMk cId="1561236180" sldId="403"/>
            <ac:spMk id="59" creationId="{6C8981F1-0863-2099-D51D-08D9CE135512}"/>
          </ac:spMkLst>
        </pc:spChg>
        <pc:spChg chg="mod topLvl">
          <ac:chgData name="Khaled M. Alshly" userId="4a7e16d7-ffb1-40f7-83a0-a1197d631c7e" providerId="ADAL" clId="{EA9BD926-EFEF-4B99-B66A-8916432BB991}" dt="2025-05-17T10:47:54.556" v="791" actId="207"/>
          <ac:spMkLst>
            <pc:docMk/>
            <pc:sldMk cId="1561236180" sldId="403"/>
            <ac:spMk id="61" creationId="{67C5FEE8-F52F-E4D4-6119-E2F1E37B1B1E}"/>
          </ac:spMkLst>
        </pc:spChg>
        <pc:spChg chg="add mod">
          <ac:chgData name="Khaled M. Alshly" userId="4a7e16d7-ffb1-40f7-83a0-a1197d631c7e" providerId="ADAL" clId="{EA9BD926-EFEF-4B99-B66A-8916432BB991}" dt="2025-05-17T10:46:15.170" v="774"/>
          <ac:spMkLst>
            <pc:docMk/>
            <pc:sldMk cId="1561236180" sldId="403"/>
            <ac:spMk id="62" creationId="{13AB1CA9-1351-B73D-385C-C86E08E9BF00}"/>
          </ac:spMkLst>
        </pc:spChg>
        <pc:spChg chg="mod">
          <ac:chgData name="Khaled M. Alshly" userId="4a7e16d7-ffb1-40f7-83a0-a1197d631c7e" providerId="ADAL" clId="{EA9BD926-EFEF-4B99-B66A-8916432BB991}" dt="2025-05-17T10:54:33.047" v="950" actId="1076"/>
          <ac:spMkLst>
            <pc:docMk/>
            <pc:sldMk cId="1561236180" sldId="403"/>
            <ac:spMk id="64" creationId="{3B9ED639-27DB-422C-9201-A07F6B18A260}"/>
          </ac:spMkLst>
        </pc:spChg>
        <pc:spChg chg="add mod">
          <ac:chgData name="Khaled M. Alshly" userId="4a7e16d7-ffb1-40f7-83a0-a1197d631c7e" providerId="ADAL" clId="{EA9BD926-EFEF-4B99-B66A-8916432BB991}" dt="2025-05-17T10:46:15.170" v="774"/>
          <ac:spMkLst>
            <pc:docMk/>
            <pc:sldMk cId="1561236180" sldId="403"/>
            <ac:spMk id="65" creationId="{BBBD7074-ED70-EDC2-5EF7-55C3955081DD}"/>
          </ac:spMkLst>
        </pc:spChg>
        <pc:spChg chg="add mod">
          <ac:chgData name="Khaled M. Alshly" userId="4a7e16d7-ffb1-40f7-83a0-a1197d631c7e" providerId="ADAL" clId="{EA9BD926-EFEF-4B99-B66A-8916432BB991}" dt="2025-05-17T10:54:29.724" v="949" actId="1076"/>
          <ac:spMkLst>
            <pc:docMk/>
            <pc:sldMk cId="1561236180" sldId="403"/>
            <ac:spMk id="70" creationId="{4CB90414-88BE-F16E-04A2-1706FEED8CC3}"/>
          </ac:spMkLst>
        </pc:spChg>
        <pc:spChg chg="add mod">
          <ac:chgData name="Khaled M. Alshly" userId="4a7e16d7-ffb1-40f7-83a0-a1197d631c7e" providerId="ADAL" clId="{EA9BD926-EFEF-4B99-B66A-8916432BB991}" dt="2025-05-17T10:46:15.170" v="774"/>
          <ac:spMkLst>
            <pc:docMk/>
            <pc:sldMk cId="1561236180" sldId="403"/>
            <ac:spMk id="71" creationId="{EDB70422-2EC1-0691-DC9F-DA368EB562A6}"/>
          </ac:spMkLst>
        </pc:spChg>
        <pc:spChg chg="mod">
          <ac:chgData name="Khaled M. Alshly" userId="4a7e16d7-ffb1-40f7-83a0-a1197d631c7e" providerId="ADAL" clId="{EA9BD926-EFEF-4B99-B66A-8916432BB991}" dt="2025-05-17T10:50:22.413" v="853" actId="207"/>
          <ac:spMkLst>
            <pc:docMk/>
            <pc:sldMk cId="1561236180" sldId="403"/>
            <ac:spMk id="75" creationId="{F27E02B9-A60F-0AC3-8BFA-74ED59B1F4B6}"/>
          </ac:spMkLst>
        </pc:spChg>
        <pc:spChg chg="mod">
          <ac:chgData name="Khaled M. Alshly" userId="4a7e16d7-ffb1-40f7-83a0-a1197d631c7e" providerId="ADAL" clId="{EA9BD926-EFEF-4B99-B66A-8916432BB991}" dt="2025-05-17T10:52:50.466" v="882" actId="207"/>
          <ac:spMkLst>
            <pc:docMk/>
            <pc:sldMk cId="1561236180" sldId="403"/>
            <ac:spMk id="77" creationId="{4D7BBA0B-3043-3B2C-A5F4-A028D3797414}"/>
          </ac:spMkLst>
        </pc:spChg>
        <pc:spChg chg="mod">
          <ac:chgData name="Khaled M. Alshly" userId="4a7e16d7-ffb1-40f7-83a0-a1197d631c7e" providerId="ADAL" clId="{EA9BD926-EFEF-4B99-B66A-8916432BB991}" dt="2025-05-17T10:52:57.827" v="883" actId="207"/>
          <ac:spMkLst>
            <pc:docMk/>
            <pc:sldMk cId="1561236180" sldId="403"/>
            <ac:spMk id="80" creationId="{71EFCEE5-9658-0050-FF04-0FF72C5F41A5}"/>
          </ac:spMkLst>
        </pc:spChg>
        <pc:spChg chg="mod">
          <ac:chgData name="Khaled M. Alshly" userId="4a7e16d7-ffb1-40f7-83a0-a1197d631c7e" providerId="ADAL" clId="{EA9BD926-EFEF-4B99-B66A-8916432BB991}" dt="2025-05-17T10:50:49.795" v="856" actId="207"/>
          <ac:spMkLst>
            <pc:docMk/>
            <pc:sldMk cId="1561236180" sldId="403"/>
            <ac:spMk id="82" creationId="{731A89B0-77C0-4DC6-8062-D4EF9B07798E}"/>
          </ac:spMkLst>
        </pc:spChg>
        <pc:spChg chg="mod">
          <ac:chgData name="Khaled M. Alshly" userId="4a7e16d7-ffb1-40f7-83a0-a1197d631c7e" providerId="ADAL" clId="{EA9BD926-EFEF-4B99-B66A-8916432BB991}" dt="2025-05-17T10:47:03.956" v="781" actId="12"/>
          <ac:spMkLst>
            <pc:docMk/>
            <pc:sldMk cId="1561236180" sldId="403"/>
            <ac:spMk id="83" creationId="{0C4D81CD-2B14-A9C4-5044-D7C1713B85F2}"/>
          </ac:spMkLst>
        </pc:spChg>
        <pc:spChg chg="add mod">
          <ac:chgData name="Khaled M. Alshly" userId="4a7e16d7-ffb1-40f7-83a0-a1197d631c7e" providerId="ADAL" clId="{EA9BD926-EFEF-4B99-B66A-8916432BB991}" dt="2025-05-17T10:47:14.393" v="783" actId="12"/>
          <ac:spMkLst>
            <pc:docMk/>
            <pc:sldMk cId="1561236180" sldId="403"/>
            <ac:spMk id="84" creationId="{C04D7F0E-4E94-88B9-6057-5C7D4B5EF44C}"/>
          </ac:spMkLst>
        </pc:spChg>
        <pc:spChg chg="mod">
          <ac:chgData name="Khaled M. Alshly" userId="4a7e16d7-ffb1-40f7-83a0-a1197d631c7e" providerId="ADAL" clId="{EA9BD926-EFEF-4B99-B66A-8916432BB991}" dt="2025-05-17T10:47:29.331" v="785" actId="12"/>
          <ac:spMkLst>
            <pc:docMk/>
            <pc:sldMk cId="1561236180" sldId="403"/>
            <ac:spMk id="85" creationId="{E058808E-4E31-C906-1A1D-FEC6ECEA6727}"/>
          </ac:spMkLst>
        </pc:spChg>
        <pc:spChg chg="add del mod">
          <ac:chgData name="Khaled M. Alshly" userId="4a7e16d7-ffb1-40f7-83a0-a1197d631c7e" providerId="ADAL" clId="{EA9BD926-EFEF-4B99-B66A-8916432BB991}" dt="2025-05-17T10:54:07.046" v="938" actId="478"/>
          <ac:spMkLst>
            <pc:docMk/>
            <pc:sldMk cId="1561236180" sldId="403"/>
            <ac:spMk id="86" creationId="{F1BF3EC2-95B9-3D32-E654-4BB543FC731B}"/>
          </ac:spMkLst>
        </pc:spChg>
        <pc:spChg chg="add del mod">
          <ac:chgData name="Khaled M. Alshly" userId="4a7e16d7-ffb1-40f7-83a0-a1197d631c7e" providerId="ADAL" clId="{EA9BD926-EFEF-4B99-B66A-8916432BB991}" dt="2025-05-17T10:54:05.574" v="936" actId="478"/>
          <ac:spMkLst>
            <pc:docMk/>
            <pc:sldMk cId="1561236180" sldId="403"/>
            <ac:spMk id="88" creationId="{E705E53B-1BEB-00D7-436D-3E7B55E9D6DC}"/>
          </ac:spMkLst>
        </pc:spChg>
        <pc:spChg chg="mod">
          <ac:chgData name="Khaled M. Alshly" userId="4a7e16d7-ffb1-40f7-83a0-a1197d631c7e" providerId="ADAL" clId="{EA9BD926-EFEF-4B99-B66A-8916432BB991}" dt="2025-05-17T10:53:52.278" v="930"/>
          <ac:spMkLst>
            <pc:docMk/>
            <pc:sldMk cId="1561236180" sldId="403"/>
            <ac:spMk id="92" creationId="{7C7C0FD0-7A30-135D-2ECA-7AB2F60D7BDF}"/>
          </ac:spMkLst>
        </pc:spChg>
        <pc:spChg chg="mod">
          <ac:chgData name="Khaled M. Alshly" userId="4a7e16d7-ffb1-40f7-83a0-a1197d631c7e" providerId="ADAL" clId="{EA9BD926-EFEF-4B99-B66A-8916432BB991}" dt="2025-05-17T10:53:52.278" v="930"/>
          <ac:spMkLst>
            <pc:docMk/>
            <pc:sldMk cId="1561236180" sldId="403"/>
            <ac:spMk id="94" creationId="{71861557-6F16-4E51-994C-4829E0FE9048}"/>
          </ac:spMkLst>
        </pc:spChg>
        <pc:spChg chg="mod">
          <ac:chgData name="Khaled M. Alshly" userId="4a7e16d7-ffb1-40f7-83a0-a1197d631c7e" providerId="ADAL" clId="{EA9BD926-EFEF-4B99-B66A-8916432BB991}" dt="2025-05-17T10:53:52.278" v="930"/>
          <ac:spMkLst>
            <pc:docMk/>
            <pc:sldMk cId="1561236180" sldId="403"/>
            <ac:spMk id="97" creationId="{F3ECBE48-B049-61FB-4794-E4BF73CC2B70}"/>
          </ac:spMkLst>
        </pc:spChg>
        <pc:spChg chg="mod">
          <ac:chgData name="Khaled M. Alshly" userId="4a7e16d7-ffb1-40f7-83a0-a1197d631c7e" providerId="ADAL" clId="{EA9BD926-EFEF-4B99-B66A-8916432BB991}" dt="2025-05-17T10:53:52.278" v="930"/>
          <ac:spMkLst>
            <pc:docMk/>
            <pc:sldMk cId="1561236180" sldId="403"/>
            <ac:spMk id="98" creationId="{F4C68A1F-3995-2FB0-B00E-09005ED59B88}"/>
          </ac:spMkLst>
        </pc:spChg>
        <pc:grpChg chg="del mod">
          <ac:chgData name="Khaled M. Alshly" userId="4a7e16d7-ffb1-40f7-83a0-a1197d631c7e" providerId="ADAL" clId="{EA9BD926-EFEF-4B99-B66A-8916432BB991}" dt="2025-05-17T10:47:49.550" v="790" actId="165"/>
          <ac:grpSpMkLst>
            <pc:docMk/>
            <pc:sldMk cId="1561236180" sldId="403"/>
            <ac:grpSpMk id="54" creationId="{8E796E31-F2B5-6ECA-4D06-1330CD80E48F}"/>
          </ac:grpSpMkLst>
        </pc:grpChg>
        <pc:grpChg chg="mod">
          <ac:chgData name="Khaled M. Alshly" userId="4a7e16d7-ffb1-40f7-83a0-a1197d631c7e" providerId="ADAL" clId="{EA9BD926-EFEF-4B99-B66A-8916432BB991}" dt="2025-05-17T10:54:03.190" v="935" actId="1076"/>
          <ac:grpSpMkLst>
            <pc:docMk/>
            <pc:sldMk cId="1561236180" sldId="403"/>
            <ac:grpSpMk id="72" creationId="{5867DEE5-1BCC-71A2-29BF-1C62AE37D77E}"/>
          </ac:grpSpMkLst>
        </pc:grpChg>
        <pc:grpChg chg="add mod">
          <ac:chgData name="Khaled M. Alshly" userId="4a7e16d7-ffb1-40f7-83a0-a1197d631c7e" providerId="ADAL" clId="{EA9BD926-EFEF-4B99-B66A-8916432BB991}" dt="2025-05-17T10:54:00.452" v="934" actId="1076"/>
          <ac:grpSpMkLst>
            <pc:docMk/>
            <pc:sldMk cId="1561236180" sldId="403"/>
            <ac:grpSpMk id="89" creationId="{3706B28E-E1D3-7830-4C6D-EC8337102976}"/>
          </ac:grpSpMkLst>
        </pc:grpChg>
        <pc:picChg chg="mod topLvl">
          <ac:chgData name="Khaled M. Alshly" userId="4a7e16d7-ffb1-40f7-83a0-a1197d631c7e" providerId="ADAL" clId="{EA9BD926-EFEF-4B99-B66A-8916432BB991}" dt="2025-05-17T10:48:26.165" v="838" actId="1037"/>
          <ac:picMkLst>
            <pc:docMk/>
            <pc:sldMk cId="1561236180" sldId="403"/>
            <ac:picMk id="55" creationId="{C626FDF6-E3CB-0BD7-1D28-604EF068406D}"/>
          </ac:picMkLst>
        </pc:picChg>
        <pc:picChg chg="mod topLvl">
          <ac:chgData name="Khaled M. Alshly" userId="4a7e16d7-ffb1-40f7-83a0-a1197d631c7e" providerId="ADAL" clId="{EA9BD926-EFEF-4B99-B66A-8916432BB991}" dt="2025-05-17T10:49:14.383" v="842"/>
          <ac:picMkLst>
            <pc:docMk/>
            <pc:sldMk cId="1561236180" sldId="403"/>
            <ac:picMk id="56" creationId="{E97B2F94-6E75-3E78-0B17-B40BDDB5B7EE}"/>
          </ac:picMkLst>
        </pc:picChg>
        <pc:picChg chg="mod topLvl">
          <ac:chgData name="Khaled M. Alshly" userId="4a7e16d7-ffb1-40f7-83a0-a1197d631c7e" providerId="ADAL" clId="{EA9BD926-EFEF-4B99-B66A-8916432BB991}" dt="2025-05-17T10:48:12.378" v="794" actId="1076"/>
          <ac:picMkLst>
            <pc:docMk/>
            <pc:sldMk cId="1561236180" sldId="403"/>
            <ac:picMk id="58" creationId="{E636FF10-28D9-4F6A-E3AC-C031CF23A924}"/>
          </ac:picMkLst>
        </pc:picChg>
        <pc:picChg chg="mod topLvl">
          <ac:chgData name="Khaled M. Alshly" userId="4a7e16d7-ffb1-40f7-83a0-a1197d631c7e" providerId="ADAL" clId="{EA9BD926-EFEF-4B99-B66A-8916432BB991}" dt="2025-05-17T10:47:49.550" v="790" actId="165"/>
          <ac:picMkLst>
            <pc:docMk/>
            <pc:sldMk cId="1561236180" sldId="403"/>
            <ac:picMk id="60" creationId="{CE15CD8B-6299-50E9-EA37-A50B25082422}"/>
          </ac:picMkLst>
        </pc:picChg>
        <pc:picChg chg="del">
          <ac:chgData name="Khaled M. Alshly" userId="4a7e16d7-ffb1-40f7-83a0-a1197d631c7e" providerId="ADAL" clId="{EA9BD926-EFEF-4B99-B66A-8916432BB991}" dt="2025-05-17T10:54:19.945" v="945" actId="478"/>
          <ac:picMkLst>
            <pc:docMk/>
            <pc:sldMk cId="1561236180" sldId="403"/>
            <ac:picMk id="63" creationId="{81DC5374-BD41-374D-6B35-CDFA91141342}"/>
          </ac:picMkLst>
        </pc:picChg>
        <pc:picChg chg="del mod">
          <ac:chgData name="Khaled M. Alshly" userId="4a7e16d7-ffb1-40f7-83a0-a1197d631c7e" providerId="ADAL" clId="{EA9BD926-EFEF-4B99-B66A-8916432BB991}" dt="2025-05-17T10:54:09.172" v="941" actId="478"/>
          <ac:picMkLst>
            <pc:docMk/>
            <pc:sldMk cId="1561236180" sldId="403"/>
            <ac:picMk id="66" creationId="{6FBCE366-0BF5-B321-6B2C-2215F28F0203}"/>
          </ac:picMkLst>
        </pc:picChg>
        <pc:picChg chg="del mod">
          <ac:chgData name="Khaled M. Alshly" userId="4a7e16d7-ffb1-40f7-83a0-a1197d631c7e" providerId="ADAL" clId="{EA9BD926-EFEF-4B99-B66A-8916432BB991}" dt="2025-05-17T10:54:07.629" v="939" actId="478"/>
          <ac:picMkLst>
            <pc:docMk/>
            <pc:sldMk cId="1561236180" sldId="403"/>
            <ac:picMk id="67" creationId="{9B6EC59A-F982-3C77-9ABD-4A8E82DC2D82}"/>
          </ac:picMkLst>
        </pc:picChg>
        <pc:picChg chg="del mod">
          <ac:chgData name="Khaled M. Alshly" userId="4a7e16d7-ffb1-40f7-83a0-a1197d631c7e" providerId="ADAL" clId="{EA9BD926-EFEF-4B99-B66A-8916432BB991}" dt="2025-05-17T10:54:08.229" v="940" actId="478"/>
          <ac:picMkLst>
            <pc:docMk/>
            <pc:sldMk cId="1561236180" sldId="403"/>
            <ac:picMk id="68" creationId="{802182DD-4BAE-74EB-8389-D924150A2195}"/>
          </ac:picMkLst>
        </pc:picChg>
        <pc:picChg chg="del mod">
          <ac:chgData name="Khaled M. Alshly" userId="4a7e16d7-ffb1-40f7-83a0-a1197d631c7e" providerId="ADAL" clId="{EA9BD926-EFEF-4B99-B66A-8916432BB991}" dt="2025-05-17T10:54:25.131" v="948" actId="478"/>
          <ac:picMkLst>
            <pc:docMk/>
            <pc:sldMk cId="1561236180" sldId="403"/>
            <ac:picMk id="69" creationId="{05B0B050-E7E5-4AB1-AE3A-E4B0E12C0E83}"/>
          </ac:picMkLst>
        </pc:picChg>
        <pc:picChg chg="mod">
          <ac:chgData name="Khaled M. Alshly" userId="4a7e16d7-ffb1-40f7-83a0-a1197d631c7e" providerId="ADAL" clId="{EA9BD926-EFEF-4B99-B66A-8916432BB991}" dt="2025-05-17T10:50:22.413" v="853" actId="207"/>
          <ac:picMkLst>
            <pc:docMk/>
            <pc:sldMk cId="1561236180" sldId="403"/>
            <ac:picMk id="73" creationId="{8DCE2879-92CB-6605-3BD5-33E472EC58A8}"/>
          </ac:picMkLst>
        </pc:picChg>
        <pc:picChg chg="mod">
          <ac:chgData name="Khaled M. Alshly" userId="4a7e16d7-ffb1-40f7-83a0-a1197d631c7e" providerId="ADAL" clId="{EA9BD926-EFEF-4B99-B66A-8916432BB991}" dt="2025-05-17T10:50:22.413" v="853" actId="207"/>
          <ac:picMkLst>
            <pc:docMk/>
            <pc:sldMk cId="1561236180" sldId="403"/>
            <ac:picMk id="74" creationId="{AA58A77A-D7B0-8062-D5D3-E39C76DB7457}"/>
          </ac:picMkLst>
        </pc:picChg>
        <pc:picChg chg="mod">
          <ac:chgData name="Khaled M. Alshly" userId="4a7e16d7-ffb1-40f7-83a0-a1197d631c7e" providerId="ADAL" clId="{EA9BD926-EFEF-4B99-B66A-8916432BB991}" dt="2025-05-17T10:51:52.847" v="858" actId="1076"/>
          <ac:picMkLst>
            <pc:docMk/>
            <pc:sldMk cId="1561236180" sldId="403"/>
            <ac:picMk id="76" creationId="{4FAC5E99-FA5E-29A3-1EA4-7C143D2C7527}"/>
          </ac:picMkLst>
        </pc:picChg>
        <pc:picChg chg="mod">
          <ac:chgData name="Khaled M. Alshly" userId="4a7e16d7-ffb1-40f7-83a0-a1197d631c7e" providerId="ADAL" clId="{EA9BD926-EFEF-4B99-B66A-8916432BB991}" dt="2025-05-17T10:50:22.413" v="853" actId="207"/>
          <ac:picMkLst>
            <pc:docMk/>
            <pc:sldMk cId="1561236180" sldId="403"/>
            <ac:picMk id="78" creationId="{2F04F344-5E7D-EE84-655D-EE1E353607C5}"/>
          </ac:picMkLst>
        </pc:picChg>
        <pc:picChg chg="mod">
          <ac:chgData name="Khaled M. Alshly" userId="4a7e16d7-ffb1-40f7-83a0-a1197d631c7e" providerId="ADAL" clId="{EA9BD926-EFEF-4B99-B66A-8916432BB991}" dt="2025-05-17T10:52:08.719" v="864"/>
          <ac:picMkLst>
            <pc:docMk/>
            <pc:sldMk cId="1561236180" sldId="403"/>
            <ac:picMk id="79" creationId="{FB74E135-AE24-89F1-B8FB-CC11682DC494}"/>
          </ac:picMkLst>
        </pc:picChg>
        <pc:picChg chg="del mod">
          <ac:chgData name="Khaled M. Alshly" userId="4a7e16d7-ffb1-40f7-83a0-a1197d631c7e" providerId="ADAL" clId="{EA9BD926-EFEF-4B99-B66A-8916432BB991}" dt="2025-05-17T10:52:41.321" v="881" actId="478"/>
          <ac:picMkLst>
            <pc:docMk/>
            <pc:sldMk cId="1561236180" sldId="403"/>
            <ac:picMk id="81" creationId="{30CAD492-ED2D-86BF-9A0E-CF8E07E9E357}"/>
          </ac:picMkLst>
        </pc:picChg>
        <pc:picChg chg="add del mod">
          <ac:chgData name="Khaled M. Alshly" userId="4a7e16d7-ffb1-40f7-83a0-a1197d631c7e" providerId="ADAL" clId="{EA9BD926-EFEF-4B99-B66A-8916432BB991}" dt="2025-05-17T10:54:06.127" v="937" actId="478"/>
          <ac:picMkLst>
            <pc:docMk/>
            <pc:sldMk cId="1561236180" sldId="403"/>
            <ac:picMk id="87" creationId="{9ECA2FEC-0EFB-EFCF-A1DA-E0CCB20872B9}"/>
          </ac:picMkLst>
        </pc:picChg>
        <pc:picChg chg="mod">
          <ac:chgData name="Khaled M. Alshly" userId="4a7e16d7-ffb1-40f7-83a0-a1197d631c7e" providerId="ADAL" clId="{EA9BD926-EFEF-4B99-B66A-8916432BB991}" dt="2025-05-17T10:53:52.278" v="930"/>
          <ac:picMkLst>
            <pc:docMk/>
            <pc:sldMk cId="1561236180" sldId="403"/>
            <ac:picMk id="90" creationId="{584017F9-8386-A673-A7E9-B463B63818A1}"/>
          </ac:picMkLst>
        </pc:picChg>
        <pc:picChg chg="mod">
          <ac:chgData name="Khaled M. Alshly" userId="4a7e16d7-ffb1-40f7-83a0-a1197d631c7e" providerId="ADAL" clId="{EA9BD926-EFEF-4B99-B66A-8916432BB991}" dt="2025-05-17T10:53:52.278" v="930"/>
          <ac:picMkLst>
            <pc:docMk/>
            <pc:sldMk cId="1561236180" sldId="403"/>
            <ac:picMk id="91" creationId="{D8301BBE-888B-649E-D47F-C12276EC8E20}"/>
          </ac:picMkLst>
        </pc:picChg>
        <pc:picChg chg="mod">
          <ac:chgData name="Khaled M. Alshly" userId="4a7e16d7-ffb1-40f7-83a0-a1197d631c7e" providerId="ADAL" clId="{EA9BD926-EFEF-4B99-B66A-8916432BB991}" dt="2025-05-17T10:53:52.278" v="930"/>
          <ac:picMkLst>
            <pc:docMk/>
            <pc:sldMk cId="1561236180" sldId="403"/>
            <ac:picMk id="93" creationId="{E9BBB502-4ED4-6217-E8B8-52359C2AD40A}"/>
          </ac:picMkLst>
        </pc:picChg>
        <pc:picChg chg="mod">
          <ac:chgData name="Khaled M. Alshly" userId="4a7e16d7-ffb1-40f7-83a0-a1197d631c7e" providerId="ADAL" clId="{EA9BD926-EFEF-4B99-B66A-8916432BB991}" dt="2025-05-17T10:53:52.278" v="930"/>
          <ac:picMkLst>
            <pc:docMk/>
            <pc:sldMk cId="1561236180" sldId="403"/>
            <ac:picMk id="95" creationId="{0BD33B90-3482-7A20-F606-6C8C8F1476EA}"/>
          </ac:picMkLst>
        </pc:picChg>
        <pc:picChg chg="mod">
          <ac:chgData name="Khaled M. Alshly" userId="4a7e16d7-ffb1-40f7-83a0-a1197d631c7e" providerId="ADAL" clId="{EA9BD926-EFEF-4B99-B66A-8916432BB991}" dt="2025-05-17T10:53:52.278" v="930"/>
          <ac:picMkLst>
            <pc:docMk/>
            <pc:sldMk cId="1561236180" sldId="403"/>
            <ac:picMk id="96" creationId="{DAF5F79A-4442-43BE-68AE-76B53454DE21}"/>
          </ac:picMkLst>
        </pc:picChg>
      </pc:sldChg>
      <pc:sldMasterChg chg="setBg modSldLayout">
        <pc:chgData name="Khaled M. Alshly" userId="4a7e16d7-ffb1-40f7-83a0-a1197d631c7e" providerId="ADAL" clId="{EA9BD926-EFEF-4B99-B66A-8916432BB991}" dt="2025-05-17T10:06:16.052" v="464"/>
        <pc:sldMasterMkLst>
          <pc:docMk/>
          <pc:sldMasterMk cId="1724630859" sldId="2147483648"/>
        </pc:sldMasterMkLst>
        <pc:sldLayoutChg chg="setBg">
          <pc:chgData name="Khaled M. Alshly" userId="4a7e16d7-ffb1-40f7-83a0-a1197d631c7e" providerId="ADAL" clId="{EA9BD926-EFEF-4B99-B66A-8916432BB991}" dt="2025-05-17T10:06:16.052" v="464"/>
          <pc:sldLayoutMkLst>
            <pc:docMk/>
            <pc:sldMasterMk cId="1724630859" sldId="2147483648"/>
            <pc:sldLayoutMk cId="3843210601" sldId="2147483649"/>
          </pc:sldLayoutMkLst>
        </pc:sldLayoutChg>
        <pc:sldLayoutChg chg="setBg">
          <pc:chgData name="Khaled M. Alshly" userId="4a7e16d7-ffb1-40f7-83a0-a1197d631c7e" providerId="ADAL" clId="{EA9BD926-EFEF-4B99-B66A-8916432BB991}" dt="2025-05-17T10:06:16.052" v="464"/>
          <pc:sldLayoutMkLst>
            <pc:docMk/>
            <pc:sldMasterMk cId="1724630859" sldId="2147483648"/>
            <pc:sldLayoutMk cId="3072375024" sldId="2147483650"/>
          </pc:sldLayoutMkLst>
        </pc:sldLayoutChg>
        <pc:sldLayoutChg chg="setBg">
          <pc:chgData name="Khaled M. Alshly" userId="4a7e16d7-ffb1-40f7-83a0-a1197d631c7e" providerId="ADAL" clId="{EA9BD926-EFEF-4B99-B66A-8916432BB991}" dt="2025-05-17T10:06:16.052" v="464"/>
          <pc:sldLayoutMkLst>
            <pc:docMk/>
            <pc:sldMasterMk cId="1724630859" sldId="2147483648"/>
            <pc:sldLayoutMk cId="1184575146" sldId="2147483651"/>
          </pc:sldLayoutMkLst>
        </pc:sldLayoutChg>
        <pc:sldLayoutChg chg="setBg">
          <pc:chgData name="Khaled M. Alshly" userId="4a7e16d7-ffb1-40f7-83a0-a1197d631c7e" providerId="ADAL" clId="{EA9BD926-EFEF-4B99-B66A-8916432BB991}" dt="2025-05-17T10:06:16.052" v="464"/>
          <pc:sldLayoutMkLst>
            <pc:docMk/>
            <pc:sldMasterMk cId="1724630859" sldId="2147483648"/>
            <pc:sldLayoutMk cId="2436187268" sldId="2147483652"/>
          </pc:sldLayoutMkLst>
        </pc:sldLayoutChg>
        <pc:sldLayoutChg chg="setBg">
          <pc:chgData name="Khaled M. Alshly" userId="4a7e16d7-ffb1-40f7-83a0-a1197d631c7e" providerId="ADAL" clId="{EA9BD926-EFEF-4B99-B66A-8916432BB991}" dt="2025-05-17T10:06:16.052" v="464"/>
          <pc:sldLayoutMkLst>
            <pc:docMk/>
            <pc:sldMasterMk cId="1724630859" sldId="2147483648"/>
            <pc:sldLayoutMk cId="2864170887" sldId="2147483653"/>
          </pc:sldLayoutMkLst>
        </pc:sldLayoutChg>
        <pc:sldLayoutChg chg="setBg">
          <pc:chgData name="Khaled M. Alshly" userId="4a7e16d7-ffb1-40f7-83a0-a1197d631c7e" providerId="ADAL" clId="{EA9BD926-EFEF-4B99-B66A-8916432BB991}" dt="2025-05-17T10:06:16.052" v="464"/>
          <pc:sldLayoutMkLst>
            <pc:docMk/>
            <pc:sldMasterMk cId="1724630859" sldId="2147483648"/>
            <pc:sldLayoutMk cId="3369625460" sldId="2147483654"/>
          </pc:sldLayoutMkLst>
        </pc:sldLayoutChg>
        <pc:sldLayoutChg chg="setBg">
          <pc:chgData name="Khaled M. Alshly" userId="4a7e16d7-ffb1-40f7-83a0-a1197d631c7e" providerId="ADAL" clId="{EA9BD926-EFEF-4B99-B66A-8916432BB991}" dt="2025-05-17T10:06:16.052" v="464"/>
          <pc:sldLayoutMkLst>
            <pc:docMk/>
            <pc:sldMasterMk cId="1724630859" sldId="2147483648"/>
            <pc:sldLayoutMk cId="3790949535" sldId="2147483655"/>
          </pc:sldLayoutMkLst>
        </pc:sldLayoutChg>
        <pc:sldLayoutChg chg="setBg">
          <pc:chgData name="Khaled M. Alshly" userId="4a7e16d7-ffb1-40f7-83a0-a1197d631c7e" providerId="ADAL" clId="{EA9BD926-EFEF-4B99-B66A-8916432BB991}" dt="2025-05-17T10:06:16.052" v="464"/>
          <pc:sldLayoutMkLst>
            <pc:docMk/>
            <pc:sldMasterMk cId="1724630859" sldId="2147483648"/>
            <pc:sldLayoutMk cId="3653671705" sldId="2147483656"/>
          </pc:sldLayoutMkLst>
        </pc:sldLayoutChg>
        <pc:sldLayoutChg chg="setBg">
          <pc:chgData name="Khaled M. Alshly" userId="4a7e16d7-ffb1-40f7-83a0-a1197d631c7e" providerId="ADAL" clId="{EA9BD926-EFEF-4B99-B66A-8916432BB991}" dt="2025-05-17T10:06:16.052" v="464"/>
          <pc:sldLayoutMkLst>
            <pc:docMk/>
            <pc:sldMasterMk cId="1724630859" sldId="2147483648"/>
            <pc:sldLayoutMk cId="3988342199" sldId="2147483657"/>
          </pc:sldLayoutMkLst>
        </pc:sldLayoutChg>
        <pc:sldLayoutChg chg="setBg">
          <pc:chgData name="Khaled M. Alshly" userId="4a7e16d7-ffb1-40f7-83a0-a1197d631c7e" providerId="ADAL" clId="{EA9BD926-EFEF-4B99-B66A-8916432BB991}" dt="2025-05-17T10:06:16.052" v="464"/>
          <pc:sldLayoutMkLst>
            <pc:docMk/>
            <pc:sldMasterMk cId="1724630859" sldId="2147483648"/>
            <pc:sldLayoutMk cId="696118944" sldId="2147483658"/>
          </pc:sldLayoutMkLst>
        </pc:sldLayoutChg>
        <pc:sldLayoutChg chg="setBg">
          <pc:chgData name="Khaled M. Alshly" userId="4a7e16d7-ffb1-40f7-83a0-a1197d631c7e" providerId="ADAL" clId="{EA9BD926-EFEF-4B99-B66A-8916432BB991}" dt="2025-05-17T10:06:16.052" v="464"/>
          <pc:sldLayoutMkLst>
            <pc:docMk/>
            <pc:sldMasterMk cId="1724630859" sldId="2147483648"/>
            <pc:sldLayoutMk cId="1513978053" sldId="2147483659"/>
          </pc:sldLayoutMkLst>
        </pc:sldLayoutChg>
      </pc:sldMasterChg>
      <pc:sldMasterChg chg="setBg modSldLayout">
        <pc:chgData name="Khaled M. Alshly" userId="4a7e16d7-ffb1-40f7-83a0-a1197d631c7e" providerId="ADAL" clId="{EA9BD926-EFEF-4B99-B66A-8916432BB991}" dt="2025-05-17T10:06:16.052" v="464"/>
        <pc:sldMasterMkLst>
          <pc:docMk/>
          <pc:sldMasterMk cId="3196447035" sldId="2147483660"/>
        </pc:sldMasterMkLst>
        <pc:sldLayoutChg chg="setBg">
          <pc:chgData name="Khaled M. Alshly" userId="4a7e16d7-ffb1-40f7-83a0-a1197d631c7e" providerId="ADAL" clId="{EA9BD926-EFEF-4B99-B66A-8916432BB991}" dt="2025-05-17T10:06:16.052" v="464"/>
          <pc:sldLayoutMkLst>
            <pc:docMk/>
            <pc:sldMasterMk cId="3196447035" sldId="2147483660"/>
            <pc:sldLayoutMk cId="3282473331" sldId="2147483661"/>
          </pc:sldLayoutMkLst>
        </pc:sldLayoutChg>
        <pc:sldLayoutChg chg="setBg">
          <pc:chgData name="Khaled M. Alshly" userId="4a7e16d7-ffb1-40f7-83a0-a1197d631c7e" providerId="ADAL" clId="{EA9BD926-EFEF-4B99-B66A-8916432BB991}" dt="2025-05-17T10:06:16.052" v="464"/>
          <pc:sldLayoutMkLst>
            <pc:docMk/>
            <pc:sldMasterMk cId="3196447035" sldId="2147483660"/>
            <pc:sldLayoutMk cId="2981762647" sldId="2147483662"/>
          </pc:sldLayoutMkLst>
        </pc:sldLayoutChg>
        <pc:sldLayoutChg chg="setBg">
          <pc:chgData name="Khaled M. Alshly" userId="4a7e16d7-ffb1-40f7-83a0-a1197d631c7e" providerId="ADAL" clId="{EA9BD926-EFEF-4B99-B66A-8916432BB991}" dt="2025-05-17T10:06:16.052" v="464"/>
          <pc:sldLayoutMkLst>
            <pc:docMk/>
            <pc:sldMasterMk cId="3196447035" sldId="2147483660"/>
            <pc:sldLayoutMk cId="1270380633" sldId="2147483677"/>
          </pc:sldLayoutMkLst>
        </pc:sldLayoutChg>
        <pc:sldLayoutChg chg="setBg">
          <pc:chgData name="Khaled M. Alshly" userId="4a7e16d7-ffb1-40f7-83a0-a1197d631c7e" providerId="ADAL" clId="{EA9BD926-EFEF-4B99-B66A-8916432BB991}" dt="2025-05-17T10:06:16.052" v="464"/>
          <pc:sldLayoutMkLst>
            <pc:docMk/>
            <pc:sldMasterMk cId="3196447035" sldId="2147483660"/>
            <pc:sldLayoutMk cId="1774813262" sldId="2147483678"/>
          </pc:sldLayoutMkLst>
        </pc:sldLayoutChg>
        <pc:sldLayoutChg chg="setBg">
          <pc:chgData name="Khaled M. Alshly" userId="4a7e16d7-ffb1-40f7-83a0-a1197d631c7e" providerId="ADAL" clId="{EA9BD926-EFEF-4B99-B66A-8916432BB991}" dt="2025-05-17T10:06:16.052" v="464"/>
          <pc:sldLayoutMkLst>
            <pc:docMk/>
            <pc:sldMasterMk cId="3196447035" sldId="2147483660"/>
            <pc:sldLayoutMk cId="3474393961" sldId="2147483679"/>
          </pc:sldLayoutMkLst>
        </pc:sldLayoutChg>
        <pc:sldLayoutChg chg="setBg">
          <pc:chgData name="Khaled M. Alshly" userId="4a7e16d7-ffb1-40f7-83a0-a1197d631c7e" providerId="ADAL" clId="{EA9BD926-EFEF-4B99-B66A-8916432BB991}" dt="2025-05-17T10:06:16.052" v="464"/>
          <pc:sldLayoutMkLst>
            <pc:docMk/>
            <pc:sldMasterMk cId="3196447035" sldId="2147483660"/>
            <pc:sldLayoutMk cId="1459153313" sldId="2147483680"/>
          </pc:sldLayoutMkLst>
        </pc:sldLayoutChg>
        <pc:sldLayoutChg chg="setBg">
          <pc:chgData name="Khaled M. Alshly" userId="4a7e16d7-ffb1-40f7-83a0-a1197d631c7e" providerId="ADAL" clId="{EA9BD926-EFEF-4B99-B66A-8916432BB991}" dt="2025-05-17T10:06:16.052" v="464"/>
          <pc:sldLayoutMkLst>
            <pc:docMk/>
            <pc:sldMasterMk cId="3196447035" sldId="2147483660"/>
            <pc:sldLayoutMk cId="2535422851" sldId="2147483681"/>
          </pc:sldLayoutMkLst>
        </pc:sldLayoutChg>
        <pc:sldLayoutChg chg="setBg">
          <pc:chgData name="Khaled M. Alshly" userId="4a7e16d7-ffb1-40f7-83a0-a1197d631c7e" providerId="ADAL" clId="{EA9BD926-EFEF-4B99-B66A-8916432BB991}" dt="2025-05-17T10:06:16.052" v="464"/>
          <pc:sldLayoutMkLst>
            <pc:docMk/>
            <pc:sldMasterMk cId="3196447035" sldId="2147483660"/>
            <pc:sldLayoutMk cId="3999656802" sldId="2147483682"/>
          </pc:sldLayoutMkLst>
        </pc:sldLayoutChg>
        <pc:sldLayoutChg chg="setBg">
          <pc:chgData name="Khaled M. Alshly" userId="4a7e16d7-ffb1-40f7-83a0-a1197d631c7e" providerId="ADAL" clId="{EA9BD926-EFEF-4B99-B66A-8916432BB991}" dt="2025-05-17T10:06:16.052" v="464"/>
          <pc:sldLayoutMkLst>
            <pc:docMk/>
            <pc:sldMasterMk cId="3196447035" sldId="2147483660"/>
            <pc:sldLayoutMk cId="2187261975" sldId="2147483683"/>
          </pc:sldLayoutMkLst>
        </pc:sldLayoutChg>
        <pc:sldLayoutChg chg="setBg">
          <pc:chgData name="Khaled M. Alshly" userId="4a7e16d7-ffb1-40f7-83a0-a1197d631c7e" providerId="ADAL" clId="{EA9BD926-EFEF-4B99-B66A-8916432BB991}" dt="2025-05-17T10:06:16.052" v="464"/>
          <pc:sldLayoutMkLst>
            <pc:docMk/>
            <pc:sldMasterMk cId="3196447035" sldId="2147483660"/>
            <pc:sldLayoutMk cId="2285404791" sldId="2147483684"/>
          </pc:sldLayoutMkLst>
        </pc:sldLayoutChg>
        <pc:sldLayoutChg chg="setBg">
          <pc:chgData name="Khaled M. Alshly" userId="4a7e16d7-ffb1-40f7-83a0-a1197d631c7e" providerId="ADAL" clId="{EA9BD926-EFEF-4B99-B66A-8916432BB991}" dt="2025-05-17T10:06:16.052" v="464"/>
          <pc:sldLayoutMkLst>
            <pc:docMk/>
            <pc:sldMasterMk cId="3196447035" sldId="2147483660"/>
            <pc:sldLayoutMk cId="1917585566" sldId="2147483685"/>
          </pc:sldLayoutMkLst>
        </pc:sldLayoutChg>
        <pc:sldLayoutChg chg="setBg">
          <pc:chgData name="Khaled M. Alshly" userId="4a7e16d7-ffb1-40f7-83a0-a1197d631c7e" providerId="ADAL" clId="{EA9BD926-EFEF-4B99-B66A-8916432BB991}" dt="2025-05-17T10:06:16.052" v="464"/>
          <pc:sldLayoutMkLst>
            <pc:docMk/>
            <pc:sldMasterMk cId="3196447035" sldId="2147483660"/>
            <pc:sldLayoutMk cId="4059785727" sldId="2147483686"/>
          </pc:sldLayoutMkLst>
        </pc:sldLayoutChg>
        <pc:sldLayoutChg chg="setBg">
          <pc:chgData name="Khaled M. Alshly" userId="4a7e16d7-ffb1-40f7-83a0-a1197d631c7e" providerId="ADAL" clId="{EA9BD926-EFEF-4B99-B66A-8916432BB991}" dt="2025-05-17T10:06:16.052" v="464"/>
          <pc:sldLayoutMkLst>
            <pc:docMk/>
            <pc:sldMasterMk cId="3196447035" sldId="2147483660"/>
            <pc:sldLayoutMk cId="2893245423" sldId="2147483687"/>
          </pc:sldLayoutMkLst>
        </pc:sldLayoutChg>
        <pc:sldLayoutChg chg="setBg">
          <pc:chgData name="Khaled M. Alshly" userId="4a7e16d7-ffb1-40f7-83a0-a1197d631c7e" providerId="ADAL" clId="{EA9BD926-EFEF-4B99-B66A-8916432BB991}" dt="2025-05-17T10:06:16.052" v="464"/>
          <pc:sldLayoutMkLst>
            <pc:docMk/>
            <pc:sldMasterMk cId="3196447035" sldId="2147483660"/>
            <pc:sldLayoutMk cId="2387986896" sldId="2147483688"/>
          </pc:sldLayoutMkLst>
        </pc:sldLayoutChg>
        <pc:sldLayoutChg chg="setBg">
          <pc:chgData name="Khaled M. Alshly" userId="4a7e16d7-ffb1-40f7-83a0-a1197d631c7e" providerId="ADAL" clId="{EA9BD926-EFEF-4B99-B66A-8916432BB991}" dt="2025-05-17T10:06:16.052" v="464"/>
          <pc:sldLayoutMkLst>
            <pc:docMk/>
            <pc:sldMasterMk cId="3196447035" sldId="2147483660"/>
            <pc:sldLayoutMk cId="2920560110" sldId="2147483689"/>
          </pc:sldLayoutMkLst>
        </pc:sldLayoutChg>
        <pc:sldLayoutChg chg="setBg">
          <pc:chgData name="Khaled M. Alshly" userId="4a7e16d7-ffb1-40f7-83a0-a1197d631c7e" providerId="ADAL" clId="{EA9BD926-EFEF-4B99-B66A-8916432BB991}" dt="2025-05-17T10:06:16.052" v="464"/>
          <pc:sldLayoutMkLst>
            <pc:docMk/>
            <pc:sldMasterMk cId="3196447035" sldId="2147483660"/>
            <pc:sldLayoutMk cId="562165496" sldId="2147483690"/>
          </pc:sldLayoutMkLst>
        </pc:sldLayoutChg>
        <pc:sldLayoutChg chg="setBg">
          <pc:chgData name="Khaled M. Alshly" userId="4a7e16d7-ffb1-40f7-83a0-a1197d631c7e" providerId="ADAL" clId="{EA9BD926-EFEF-4B99-B66A-8916432BB991}" dt="2025-05-17T10:06:16.052" v="464"/>
          <pc:sldLayoutMkLst>
            <pc:docMk/>
            <pc:sldMasterMk cId="3196447035" sldId="2147483660"/>
            <pc:sldLayoutMk cId="3777122769" sldId="2147483691"/>
          </pc:sldLayoutMkLst>
        </pc:sldLayoutChg>
        <pc:sldLayoutChg chg="setBg">
          <pc:chgData name="Khaled M. Alshly" userId="4a7e16d7-ffb1-40f7-83a0-a1197d631c7e" providerId="ADAL" clId="{EA9BD926-EFEF-4B99-B66A-8916432BB991}" dt="2025-05-17T10:06:16.052" v="464"/>
          <pc:sldLayoutMkLst>
            <pc:docMk/>
            <pc:sldMasterMk cId="3196447035" sldId="2147483660"/>
            <pc:sldLayoutMk cId="1984547406" sldId="2147483692"/>
          </pc:sldLayoutMkLst>
        </pc:sldLayoutChg>
        <pc:sldLayoutChg chg="setBg">
          <pc:chgData name="Khaled M. Alshly" userId="4a7e16d7-ffb1-40f7-83a0-a1197d631c7e" providerId="ADAL" clId="{EA9BD926-EFEF-4B99-B66A-8916432BB991}" dt="2025-05-17T10:06:16.052" v="464"/>
          <pc:sldLayoutMkLst>
            <pc:docMk/>
            <pc:sldMasterMk cId="3196447035" sldId="2147483660"/>
            <pc:sldLayoutMk cId="859230932" sldId="2147483693"/>
          </pc:sldLayoutMkLst>
        </pc:sldLayoutChg>
        <pc:sldLayoutChg chg="setBg">
          <pc:chgData name="Khaled M. Alshly" userId="4a7e16d7-ffb1-40f7-83a0-a1197d631c7e" providerId="ADAL" clId="{EA9BD926-EFEF-4B99-B66A-8916432BB991}" dt="2025-05-17T10:06:16.052" v="464"/>
          <pc:sldLayoutMkLst>
            <pc:docMk/>
            <pc:sldMasterMk cId="3196447035" sldId="2147483660"/>
            <pc:sldLayoutMk cId="2752192730" sldId="2147483694"/>
          </pc:sldLayoutMkLst>
        </pc:sldLayoutChg>
        <pc:sldLayoutChg chg="setBg">
          <pc:chgData name="Khaled M. Alshly" userId="4a7e16d7-ffb1-40f7-83a0-a1197d631c7e" providerId="ADAL" clId="{EA9BD926-EFEF-4B99-B66A-8916432BB991}" dt="2025-05-17T10:06:16.052" v="464"/>
          <pc:sldLayoutMkLst>
            <pc:docMk/>
            <pc:sldMasterMk cId="3196447035" sldId="2147483660"/>
            <pc:sldLayoutMk cId="1272959380" sldId="2147483695"/>
          </pc:sldLayoutMkLst>
        </pc:sldLayoutChg>
        <pc:sldLayoutChg chg="setBg">
          <pc:chgData name="Khaled M. Alshly" userId="4a7e16d7-ffb1-40f7-83a0-a1197d631c7e" providerId="ADAL" clId="{EA9BD926-EFEF-4B99-B66A-8916432BB991}" dt="2025-05-17T10:06:16.052" v="464"/>
          <pc:sldLayoutMkLst>
            <pc:docMk/>
            <pc:sldMasterMk cId="3196447035" sldId="2147483660"/>
            <pc:sldLayoutMk cId="3103369026" sldId="2147483696"/>
          </pc:sldLayoutMkLst>
        </pc:sldLayoutChg>
        <pc:sldLayoutChg chg="setBg">
          <pc:chgData name="Khaled M. Alshly" userId="4a7e16d7-ffb1-40f7-83a0-a1197d631c7e" providerId="ADAL" clId="{EA9BD926-EFEF-4B99-B66A-8916432BB991}" dt="2025-05-17T10:06:16.052" v="464"/>
          <pc:sldLayoutMkLst>
            <pc:docMk/>
            <pc:sldMasterMk cId="3196447035" sldId="2147483660"/>
            <pc:sldLayoutMk cId="3915258174" sldId="2147483697"/>
          </pc:sldLayoutMkLst>
        </pc:sldLayoutChg>
        <pc:sldLayoutChg chg="setBg">
          <pc:chgData name="Khaled M. Alshly" userId="4a7e16d7-ffb1-40f7-83a0-a1197d631c7e" providerId="ADAL" clId="{EA9BD926-EFEF-4B99-B66A-8916432BB991}" dt="2025-05-17T10:06:16.052" v="464"/>
          <pc:sldLayoutMkLst>
            <pc:docMk/>
            <pc:sldMasterMk cId="3196447035" sldId="2147483660"/>
            <pc:sldLayoutMk cId="2153376647" sldId="2147483698"/>
          </pc:sldLayoutMkLst>
        </pc:sldLayoutChg>
        <pc:sldLayoutChg chg="setBg">
          <pc:chgData name="Khaled M. Alshly" userId="4a7e16d7-ffb1-40f7-83a0-a1197d631c7e" providerId="ADAL" clId="{EA9BD926-EFEF-4B99-B66A-8916432BB991}" dt="2025-05-17T10:06:16.052" v="464"/>
          <pc:sldLayoutMkLst>
            <pc:docMk/>
            <pc:sldMasterMk cId="3196447035" sldId="2147483660"/>
            <pc:sldLayoutMk cId="3435561895" sldId="2147483699"/>
          </pc:sldLayoutMkLst>
        </pc:sldLayoutChg>
        <pc:sldLayoutChg chg="setBg">
          <pc:chgData name="Khaled M. Alshly" userId="4a7e16d7-ffb1-40f7-83a0-a1197d631c7e" providerId="ADAL" clId="{EA9BD926-EFEF-4B99-B66A-8916432BB991}" dt="2025-05-17T10:06:16.052" v="464"/>
          <pc:sldLayoutMkLst>
            <pc:docMk/>
            <pc:sldMasterMk cId="3196447035" sldId="2147483660"/>
            <pc:sldLayoutMk cId="1675689716" sldId="2147483700"/>
          </pc:sldLayoutMkLst>
        </pc:sldLayoutChg>
        <pc:sldLayoutChg chg="setBg">
          <pc:chgData name="Khaled M. Alshly" userId="4a7e16d7-ffb1-40f7-83a0-a1197d631c7e" providerId="ADAL" clId="{EA9BD926-EFEF-4B99-B66A-8916432BB991}" dt="2025-05-17T10:06:16.052" v="464"/>
          <pc:sldLayoutMkLst>
            <pc:docMk/>
            <pc:sldMasterMk cId="3196447035" sldId="2147483660"/>
            <pc:sldLayoutMk cId="2680772438" sldId="2147483701"/>
          </pc:sldLayoutMkLst>
        </pc:sldLayoutChg>
        <pc:sldLayoutChg chg="setBg">
          <pc:chgData name="Khaled M. Alshly" userId="4a7e16d7-ffb1-40f7-83a0-a1197d631c7e" providerId="ADAL" clId="{EA9BD926-EFEF-4B99-B66A-8916432BB991}" dt="2025-05-17T10:06:16.052" v="464"/>
          <pc:sldLayoutMkLst>
            <pc:docMk/>
            <pc:sldMasterMk cId="3196447035" sldId="2147483660"/>
            <pc:sldLayoutMk cId="4215720942" sldId="2147483702"/>
          </pc:sldLayoutMkLst>
        </pc:sldLayoutChg>
        <pc:sldLayoutChg chg="setBg">
          <pc:chgData name="Khaled M. Alshly" userId="4a7e16d7-ffb1-40f7-83a0-a1197d631c7e" providerId="ADAL" clId="{EA9BD926-EFEF-4B99-B66A-8916432BB991}" dt="2025-05-17T10:06:16.052" v="464"/>
          <pc:sldLayoutMkLst>
            <pc:docMk/>
            <pc:sldMasterMk cId="3196447035" sldId="2147483660"/>
            <pc:sldLayoutMk cId="293478149" sldId="2147483703"/>
          </pc:sldLayoutMkLst>
        </pc:sldLayoutChg>
        <pc:sldLayoutChg chg="setBg">
          <pc:chgData name="Khaled M. Alshly" userId="4a7e16d7-ffb1-40f7-83a0-a1197d631c7e" providerId="ADAL" clId="{EA9BD926-EFEF-4B99-B66A-8916432BB991}" dt="2025-05-17T10:06:16.052" v="464"/>
          <pc:sldLayoutMkLst>
            <pc:docMk/>
            <pc:sldMasterMk cId="3196447035" sldId="2147483660"/>
            <pc:sldLayoutMk cId="162104983" sldId="2147483704"/>
          </pc:sldLayoutMkLst>
        </pc:sldLayoutChg>
        <pc:sldLayoutChg chg="setBg">
          <pc:chgData name="Khaled M. Alshly" userId="4a7e16d7-ffb1-40f7-83a0-a1197d631c7e" providerId="ADAL" clId="{EA9BD926-EFEF-4B99-B66A-8916432BB991}" dt="2025-05-17T10:06:16.052" v="464"/>
          <pc:sldLayoutMkLst>
            <pc:docMk/>
            <pc:sldMasterMk cId="3196447035" sldId="2147483660"/>
            <pc:sldLayoutMk cId="2053735867" sldId="2147483705"/>
          </pc:sldLayoutMkLst>
        </pc:sldLayoutChg>
        <pc:sldLayoutChg chg="setBg">
          <pc:chgData name="Khaled M. Alshly" userId="4a7e16d7-ffb1-40f7-83a0-a1197d631c7e" providerId="ADAL" clId="{EA9BD926-EFEF-4B99-B66A-8916432BB991}" dt="2025-05-17T10:06:16.052" v="464"/>
          <pc:sldLayoutMkLst>
            <pc:docMk/>
            <pc:sldMasterMk cId="3196447035" sldId="2147483660"/>
            <pc:sldLayoutMk cId="3182925318" sldId="2147483706"/>
          </pc:sldLayoutMkLst>
        </pc:sldLayoutChg>
        <pc:sldLayoutChg chg="setBg">
          <pc:chgData name="Khaled M. Alshly" userId="4a7e16d7-ffb1-40f7-83a0-a1197d631c7e" providerId="ADAL" clId="{EA9BD926-EFEF-4B99-B66A-8916432BB991}" dt="2025-05-17T10:06:16.052" v="464"/>
          <pc:sldLayoutMkLst>
            <pc:docMk/>
            <pc:sldMasterMk cId="3196447035" sldId="2147483660"/>
            <pc:sldLayoutMk cId="2428473380" sldId="2147483707"/>
          </pc:sldLayoutMkLst>
        </pc:sldLayoutChg>
        <pc:sldLayoutChg chg="setBg">
          <pc:chgData name="Khaled M. Alshly" userId="4a7e16d7-ffb1-40f7-83a0-a1197d631c7e" providerId="ADAL" clId="{EA9BD926-EFEF-4B99-B66A-8916432BB991}" dt="2025-05-17T10:06:16.052" v="464"/>
          <pc:sldLayoutMkLst>
            <pc:docMk/>
            <pc:sldMasterMk cId="3196447035" sldId="2147483660"/>
            <pc:sldLayoutMk cId="4166445593" sldId="2147483708"/>
          </pc:sldLayoutMkLst>
        </pc:sldLayoutChg>
        <pc:sldLayoutChg chg="setBg">
          <pc:chgData name="Khaled M. Alshly" userId="4a7e16d7-ffb1-40f7-83a0-a1197d631c7e" providerId="ADAL" clId="{EA9BD926-EFEF-4B99-B66A-8916432BB991}" dt="2025-05-17T10:06:16.052" v="464"/>
          <pc:sldLayoutMkLst>
            <pc:docMk/>
            <pc:sldMasterMk cId="3196447035" sldId="2147483660"/>
            <pc:sldLayoutMk cId="2432701290" sldId="2147483709"/>
          </pc:sldLayoutMkLst>
        </pc:sldLayoutChg>
        <pc:sldLayoutChg chg="setBg">
          <pc:chgData name="Khaled M. Alshly" userId="4a7e16d7-ffb1-40f7-83a0-a1197d631c7e" providerId="ADAL" clId="{EA9BD926-EFEF-4B99-B66A-8916432BB991}" dt="2025-05-17T10:06:16.052" v="464"/>
          <pc:sldLayoutMkLst>
            <pc:docMk/>
            <pc:sldMasterMk cId="3196447035" sldId="2147483660"/>
            <pc:sldLayoutMk cId="764311171" sldId="2147483710"/>
          </pc:sldLayoutMkLst>
        </pc:sldLayoutChg>
        <pc:sldLayoutChg chg="setBg">
          <pc:chgData name="Khaled M. Alshly" userId="4a7e16d7-ffb1-40f7-83a0-a1197d631c7e" providerId="ADAL" clId="{EA9BD926-EFEF-4B99-B66A-8916432BB991}" dt="2025-05-17T10:06:16.052" v="464"/>
          <pc:sldLayoutMkLst>
            <pc:docMk/>
            <pc:sldMasterMk cId="3196447035" sldId="2147483660"/>
            <pc:sldLayoutMk cId="656226768" sldId="2147483711"/>
          </pc:sldLayoutMkLst>
        </pc:sldLayoutChg>
        <pc:sldLayoutChg chg="setBg">
          <pc:chgData name="Khaled M. Alshly" userId="4a7e16d7-ffb1-40f7-83a0-a1197d631c7e" providerId="ADAL" clId="{EA9BD926-EFEF-4B99-B66A-8916432BB991}" dt="2025-05-17T10:06:16.052" v="464"/>
          <pc:sldLayoutMkLst>
            <pc:docMk/>
            <pc:sldMasterMk cId="3196447035" sldId="2147483660"/>
            <pc:sldLayoutMk cId="2162713217" sldId="2147483712"/>
          </pc:sldLayoutMkLst>
        </pc:sldLayoutChg>
        <pc:sldLayoutChg chg="setBg">
          <pc:chgData name="Khaled M. Alshly" userId="4a7e16d7-ffb1-40f7-83a0-a1197d631c7e" providerId="ADAL" clId="{EA9BD926-EFEF-4B99-B66A-8916432BB991}" dt="2025-05-17T10:06:16.052" v="464"/>
          <pc:sldLayoutMkLst>
            <pc:docMk/>
            <pc:sldMasterMk cId="3196447035" sldId="2147483660"/>
            <pc:sldLayoutMk cId="56088634" sldId="2147483713"/>
          </pc:sldLayoutMkLst>
        </pc:sldLayoutChg>
        <pc:sldLayoutChg chg="setBg">
          <pc:chgData name="Khaled M. Alshly" userId="4a7e16d7-ffb1-40f7-83a0-a1197d631c7e" providerId="ADAL" clId="{EA9BD926-EFEF-4B99-B66A-8916432BB991}" dt="2025-05-17T10:06:16.052" v="464"/>
          <pc:sldLayoutMkLst>
            <pc:docMk/>
            <pc:sldMasterMk cId="3196447035" sldId="2147483660"/>
            <pc:sldLayoutMk cId="3667574597" sldId="2147483714"/>
          </pc:sldLayoutMkLst>
        </pc:sldLayoutChg>
        <pc:sldLayoutChg chg="setBg">
          <pc:chgData name="Khaled M. Alshly" userId="4a7e16d7-ffb1-40f7-83a0-a1197d631c7e" providerId="ADAL" clId="{EA9BD926-EFEF-4B99-B66A-8916432BB991}" dt="2025-05-17T10:06:16.052" v="464"/>
          <pc:sldLayoutMkLst>
            <pc:docMk/>
            <pc:sldMasterMk cId="3196447035" sldId="2147483660"/>
            <pc:sldLayoutMk cId="930280236" sldId="2147483715"/>
          </pc:sldLayoutMkLst>
        </pc:sldLayoutChg>
        <pc:sldLayoutChg chg="setBg">
          <pc:chgData name="Khaled M. Alshly" userId="4a7e16d7-ffb1-40f7-83a0-a1197d631c7e" providerId="ADAL" clId="{EA9BD926-EFEF-4B99-B66A-8916432BB991}" dt="2025-05-17T10:06:16.052" v="464"/>
          <pc:sldLayoutMkLst>
            <pc:docMk/>
            <pc:sldMasterMk cId="3196447035" sldId="2147483660"/>
            <pc:sldLayoutMk cId="1561394258" sldId="2147483716"/>
          </pc:sldLayoutMkLst>
        </pc:sldLayoutChg>
      </pc:sldMasterChg>
      <pc:sldMasterChg chg="setBg modSldLayout">
        <pc:chgData name="Khaled M. Alshly" userId="4a7e16d7-ffb1-40f7-83a0-a1197d631c7e" providerId="ADAL" clId="{EA9BD926-EFEF-4B99-B66A-8916432BB991}" dt="2025-05-17T10:06:16.052" v="464"/>
        <pc:sldMasterMkLst>
          <pc:docMk/>
          <pc:sldMasterMk cId="3231282395" sldId="2147483717"/>
        </pc:sldMasterMkLst>
        <pc:sldLayoutChg chg="setBg">
          <pc:chgData name="Khaled M. Alshly" userId="4a7e16d7-ffb1-40f7-83a0-a1197d631c7e" providerId="ADAL" clId="{EA9BD926-EFEF-4B99-B66A-8916432BB991}" dt="2025-05-17T10:06:16.052" v="464"/>
          <pc:sldLayoutMkLst>
            <pc:docMk/>
            <pc:sldMasterMk cId="3231282395" sldId="2147483717"/>
            <pc:sldLayoutMk cId="3399821066" sldId="2147483663"/>
          </pc:sldLayoutMkLst>
        </pc:sldLayoutChg>
        <pc:sldLayoutChg chg="setBg">
          <pc:chgData name="Khaled M. Alshly" userId="4a7e16d7-ffb1-40f7-83a0-a1197d631c7e" providerId="ADAL" clId="{EA9BD926-EFEF-4B99-B66A-8916432BB991}" dt="2025-05-17T10:06:16.052" v="464"/>
          <pc:sldLayoutMkLst>
            <pc:docMk/>
            <pc:sldMasterMk cId="3231282395" sldId="2147483717"/>
            <pc:sldLayoutMk cId="750869598" sldId="2147483664"/>
          </pc:sldLayoutMkLst>
        </pc:sldLayoutChg>
        <pc:sldLayoutChg chg="setBg">
          <pc:chgData name="Khaled M. Alshly" userId="4a7e16d7-ffb1-40f7-83a0-a1197d631c7e" providerId="ADAL" clId="{EA9BD926-EFEF-4B99-B66A-8916432BB991}" dt="2025-05-17T10:06:16.052" v="464"/>
          <pc:sldLayoutMkLst>
            <pc:docMk/>
            <pc:sldMasterMk cId="3231282395" sldId="2147483717"/>
            <pc:sldLayoutMk cId="1937362081" sldId="2147483665"/>
          </pc:sldLayoutMkLst>
        </pc:sldLayoutChg>
        <pc:sldLayoutChg chg="setBg">
          <pc:chgData name="Khaled M. Alshly" userId="4a7e16d7-ffb1-40f7-83a0-a1197d631c7e" providerId="ADAL" clId="{EA9BD926-EFEF-4B99-B66A-8916432BB991}" dt="2025-05-17T10:06:16.052" v="464"/>
          <pc:sldLayoutMkLst>
            <pc:docMk/>
            <pc:sldMasterMk cId="3231282395" sldId="2147483717"/>
            <pc:sldLayoutMk cId="1936780197" sldId="2147483718"/>
          </pc:sldLayoutMkLst>
        </pc:sldLayoutChg>
        <pc:sldLayoutChg chg="setBg">
          <pc:chgData name="Khaled M. Alshly" userId="4a7e16d7-ffb1-40f7-83a0-a1197d631c7e" providerId="ADAL" clId="{EA9BD926-EFEF-4B99-B66A-8916432BB991}" dt="2025-05-17T10:06:16.052" v="464"/>
          <pc:sldLayoutMkLst>
            <pc:docMk/>
            <pc:sldMasterMk cId="3231282395" sldId="2147483717"/>
            <pc:sldLayoutMk cId="1886321805" sldId="2147483719"/>
          </pc:sldLayoutMkLst>
        </pc:sldLayoutChg>
      </pc:sldMasterChg>
      <pc:sldMasterChg chg="setBg modSldLayout">
        <pc:chgData name="Khaled M. Alshly" userId="4a7e16d7-ffb1-40f7-83a0-a1197d631c7e" providerId="ADAL" clId="{EA9BD926-EFEF-4B99-B66A-8916432BB991}" dt="2025-05-17T10:06:16.052" v="464"/>
        <pc:sldMasterMkLst>
          <pc:docMk/>
          <pc:sldMasterMk cId="2066933951" sldId="2147483720"/>
        </pc:sldMasterMkLst>
        <pc:sldLayoutChg chg="setBg">
          <pc:chgData name="Khaled M. Alshly" userId="4a7e16d7-ffb1-40f7-83a0-a1197d631c7e" providerId="ADAL" clId="{EA9BD926-EFEF-4B99-B66A-8916432BB991}" dt="2025-05-17T10:06:16.052" v="464"/>
          <pc:sldLayoutMkLst>
            <pc:docMk/>
            <pc:sldMasterMk cId="2066933951" sldId="2147483720"/>
            <pc:sldLayoutMk cId="4238627144" sldId="2147483721"/>
          </pc:sldLayoutMkLst>
        </pc:sldLayoutChg>
        <pc:sldLayoutChg chg="setBg">
          <pc:chgData name="Khaled M. Alshly" userId="4a7e16d7-ffb1-40f7-83a0-a1197d631c7e" providerId="ADAL" clId="{EA9BD926-EFEF-4B99-B66A-8916432BB991}" dt="2025-05-17T10:06:16.052" v="464"/>
          <pc:sldLayoutMkLst>
            <pc:docMk/>
            <pc:sldMasterMk cId="2066933951" sldId="2147483720"/>
            <pc:sldLayoutMk cId="1324503169" sldId="2147483722"/>
          </pc:sldLayoutMkLst>
        </pc:sldLayoutChg>
        <pc:sldLayoutChg chg="setBg">
          <pc:chgData name="Khaled M. Alshly" userId="4a7e16d7-ffb1-40f7-83a0-a1197d631c7e" providerId="ADAL" clId="{EA9BD926-EFEF-4B99-B66A-8916432BB991}" dt="2025-05-17T10:06:16.052" v="464"/>
          <pc:sldLayoutMkLst>
            <pc:docMk/>
            <pc:sldMasterMk cId="2066933951" sldId="2147483720"/>
            <pc:sldLayoutMk cId="1303494633" sldId="2147483723"/>
          </pc:sldLayoutMkLst>
        </pc:sldLayoutChg>
        <pc:sldLayoutChg chg="setBg">
          <pc:chgData name="Khaled M. Alshly" userId="4a7e16d7-ffb1-40f7-83a0-a1197d631c7e" providerId="ADAL" clId="{EA9BD926-EFEF-4B99-B66A-8916432BB991}" dt="2025-05-17T10:06:16.052" v="464"/>
          <pc:sldLayoutMkLst>
            <pc:docMk/>
            <pc:sldMasterMk cId="2066933951" sldId="2147483720"/>
            <pc:sldLayoutMk cId="1192194511" sldId="2147483724"/>
          </pc:sldLayoutMkLst>
        </pc:sldLayoutChg>
        <pc:sldLayoutChg chg="setBg">
          <pc:chgData name="Khaled M. Alshly" userId="4a7e16d7-ffb1-40f7-83a0-a1197d631c7e" providerId="ADAL" clId="{EA9BD926-EFEF-4B99-B66A-8916432BB991}" dt="2025-05-17T10:06:16.052" v="464"/>
          <pc:sldLayoutMkLst>
            <pc:docMk/>
            <pc:sldMasterMk cId="2066933951" sldId="2147483720"/>
            <pc:sldLayoutMk cId="2791318330" sldId="2147483725"/>
          </pc:sldLayoutMkLst>
        </pc:sldLayoutChg>
        <pc:sldLayoutChg chg="setBg">
          <pc:chgData name="Khaled M. Alshly" userId="4a7e16d7-ffb1-40f7-83a0-a1197d631c7e" providerId="ADAL" clId="{EA9BD926-EFEF-4B99-B66A-8916432BB991}" dt="2025-05-17T10:06:16.052" v="464"/>
          <pc:sldLayoutMkLst>
            <pc:docMk/>
            <pc:sldMasterMk cId="2066933951" sldId="2147483720"/>
            <pc:sldLayoutMk cId="1211284334" sldId="2147483726"/>
          </pc:sldLayoutMkLst>
        </pc:sldLayoutChg>
        <pc:sldLayoutChg chg="setBg">
          <pc:chgData name="Khaled M. Alshly" userId="4a7e16d7-ffb1-40f7-83a0-a1197d631c7e" providerId="ADAL" clId="{EA9BD926-EFEF-4B99-B66A-8916432BB991}" dt="2025-05-17T10:06:16.052" v="464"/>
          <pc:sldLayoutMkLst>
            <pc:docMk/>
            <pc:sldMasterMk cId="2066933951" sldId="2147483720"/>
            <pc:sldLayoutMk cId="2140676236" sldId="2147483727"/>
          </pc:sldLayoutMkLst>
        </pc:sldLayoutChg>
        <pc:sldLayoutChg chg="setBg">
          <pc:chgData name="Khaled M. Alshly" userId="4a7e16d7-ffb1-40f7-83a0-a1197d631c7e" providerId="ADAL" clId="{EA9BD926-EFEF-4B99-B66A-8916432BB991}" dt="2025-05-17T10:06:16.052" v="464"/>
          <pc:sldLayoutMkLst>
            <pc:docMk/>
            <pc:sldMasterMk cId="2066933951" sldId="2147483720"/>
            <pc:sldLayoutMk cId="595750312" sldId="2147483728"/>
          </pc:sldLayoutMkLst>
        </pc:sldLayoutChg>
        <pc:sldLayoutChg chg="setBg">
          <pc:chgData name="Khaled M. Alshly" userId="4a7e16d7-ffb1-40f7-83a0-a1197d631c7e" providerId="ADAL" clId="{EA9BD926-EFEF-4B99-B66A-8916432BB991}" dt="2025-05-17T10:06:16.052" v="464"/>
          <pc:sldLayoutMkLst>
            <pc:docMk/>
            <pc:sldMasterMk cId="2066933951" sldId="2147483720"/>
            <pc:sldLayoutMk cId="3783398205" sldId="2147483729"/>
          </pc:sldLayoutMkLst>
        </pc:sldLayoutChg>
        <pc:sldLayoutChg chg="setBg">
          <pc:chgData name="Khaled M. Alshly" userId="4a7e16d7-ffb1-40f7-83a0-a1197d631c7e" providerId="ADAL" clId="{EA9BD926-EFEF-4B99-B66A-8916432BB991}" dt="2025-05-17T10:06:16.052" v="464"/>
          <pc:sldLayoutMkLst>
            <pc:docMk/>
            <pc:sldMasterMk cId="2066933951" sldId="2147483720"/>
            <pc:sldLayoutMk cId="2338297363" sldId="2147483730"/>
          </pc:sldLayoutMkLst>
        </pc:sldLayoutChg>
        <pc:sldLayoutChg chg="setBg">
          <pc:chgData name="Khaled M. Alshly" userId="4a7e16d7-ffb1-40f7-83a0-a1197d631c7e" providerId="ADAL" clId="{EA9BD926-EFEF-4B99-B66A-8916432BB991}" dt="2025-05-17T10:06:16.052" v="464"/>
          <pc:sldLayoutMkLst>
            <pc:docMk/>
            <pc:sldMasterMk cId="2066933951" sldId="2147483720"/>
            <pc:sldLayoutMk cId="3643398286" sldId="2147483731"/>
          </pc:sldLayoutMkLst>
        </pc:sldLayoutChg>
        <pc:sldLayoutChg chg="setBg">
          <pc:chgData name="Khaled M. Alshly" userId="4a7e16d7-ffb1-40f7-83a0-a1197d631c7e" providerId="ADAL" clId="{EA9BD926-EFEF-4B99-B66A-8916432BB991}" dt="2025-05-17T10:06:16.052" v="464"/>
          <pc:sldLayoutMkLst>
            <pc:docMk/>
            <pc:sldMasterMk cId="2066933951" sldId="2147483720"/>
            <pc:sldLayoutMk cId="1182622044" sldId="2147483732"/>
          </pc:sldLayoutMkLst>
        </pc:sldLayoutChg>
      </pc:sldMasterChg>
    </pc:docChg>
  </pc:docChgLst>
  <pc:docChgLst>
    <pc:chgData name="Khaled M. Alshly" userId="4a7e16d7-ffb1-40f7-83a0-a1197d631c7e" providerId="ADAL" clId="{79D977AF-AD71-42F8-B8A3-6994DB66405F}"/>
    <pc:docChg chg="undo redo custSel addSld delSld modSld sldOrd addMainMaster modMainMaster">
      <pc:chgData name="Khaled M. Alshly" userId="4a7e16d7-ffb1-40f7-83a0-a1197d631c7e" providerId="ADAL" clId="{79D977AF-AD71-42F8-B8A3-6994DB66405F}" dt="2025-05-13T15:38:55.496" v="173" actId="12385"/>
      <pc:docMkLst>
        <pc:docMk/>
      </pc:docMkLst>
      <pc:sldChg chg="modSp add">
        <pc:chgData name="Khaled M. Alshly" userId="4a7e16d7-ffb1-40f7-83a0-a1197d631c7e" providerId="ADAL" clId="{79D977AF-AD71-42F8-B8A3-6994DB66405F}" dt="2025-05-13T15:05:29.023" v="137"/>
        <pc:sldMkLst>
          <pc:docMk/>
          <pc:sldMk cId="0" sldId="282"/>
        </pc:sldMkLst>
        <pc:spChg chg="mod">
          <ac:chgData name="Khaled M. Alshly" userId="4a7e16d7-ffb1-40f7-83a0-a1197d631c7e" providerId="ADAL" clId="{79D977AF-AD71-42F8-B8A3-6994DB66405F}" dt="2025-05-13T15:05:29.023" v="137"/>
          <ac:spMkLst>
            <pc:docMk/>
            <pc:sldMk cId="0" sldId="282"/>
            <ac:spMk id="11" creationId="{00000000-0000-0000-0000-000000000000}"/>
          </ac:spMkLst>
        </pc:spChg>
        <pc:spChg chg="mod">
          <ac:chgData name="Khaled M. Alshly" userId="4a7e16d7-ffb1-40f7-83a0-a1197d631c7e" providerId="ADAL" clId="{79D977AF-AD71-42F8-B8A3-6994DB66405F}" dt="2025-05-13T15:05:29.023" v="137"/>
          <ac:spMkLst>
            <pc:docMk/>
            <pc:sldMk cId="0" sldId="282"/>
            <ac:spMk id="12" creationId="{00000000-0000-0000-0000-000000000000}"/>
          </ac:spMkLst>
        </pc:spChg>
      </pc:sldChg>
      <pc:sldChg chg="modSp add">
        <pc:chgData name="Khaled M. Alshly" userId="4a7e16d7-ffb1-40f7-83a0-a1197d631c7e" providerId="ADAL" clId="{79D977AF-AD71-42F8-B8A3-6994DB66405F}" dt="2025-05-13T15:05:29.023" v="137"/>
        <pc:sldMkLst>
          <pc:docMk/>
          <pc:sldMk cId="0" sldId="283"/>
        </pc:sldMkLst>
        <pc:spChg chg="mod">
          <ac:chgData name="Khaled M. Alshly" userId="4a7e16d7-ffb1-40f7-83a0-a1197d631c7e" providerId="ADAL" clId="{79D977AF-AD71-42F8-B8A3-6994DB66405F}" dt="2025-05-13T15:05:29.023" v="137"/>
          <ac:spMkLst>
            <pc:docMk/>
            <pc:sldMk cId="0" sldId="283"/>
            <ac:spMk id="4" creationId="{00000000-0000-0000-0000-000000000000}"/>
          </ac:spMkLst>
        </pc:spChg>
        <pc:spChg chg="mod">
          <ac:chgData name="Khaled M. Alshly" userId="4a7e16d7-ffb1-40f7-83a0-a1197d631c7e" providerId="ADAL" clId="{79D977AF-AD71-42F8-B8A3-6994DB66405F}" dt="2025-05-13T15:05:29.023" v="137"/>
          <ac:spMkLst>
            <pc:docMk/>
            <pc:sldMk cId="0" sldId="283"/>
            <ac:spMk id="5" creationId="{00000000-0000-0000-0000-000000000000}"/>
          </ac:spMkLst>
        </pc:spChg>
      </pc:sldChg>
      <pc:sldChg chg="addSp delSp modSp add del mod">
        <pc:chgData name="Khaled M. Alshly" userId="4a7e16d7-ffb1-40f7-83a0-a1197d631c7e" providerId="ADAL" clId="{79D977AF-AD71-42F8-B8A3-6994DB66405F}" dt="2025-05-13T14:58:50.850" v="107" actId="47"/>
        <pc:sldMkLst>
          <pc:docMk/>
          <pc:sldMk cId="1931470074" sldId="285"/>
        </pc:sldMkLst>
      </pc:sldChg>
      <pc:sldChg chg="new del">
        <pc:chgData name="Khaled M. Alshly" userId="4a7e16d7-ffb1-40f7-83a0-a1197d631c7e" providerId="ADAL" clId="{79D977AF-AD71-42F8-B8A3-6994DB66405F}" dt="2025-05-13T14:59:49.700" v="111" actId="47"/>
        <pc:sldMkLst>
          <pc:docMk/>
          <pc:sldMk cId="4111486698" sldId="285"/>
        </pc:sldMkLst>
      </pc:sldChg>
      <pc:sldChg chg="modSp add">
        <pc:chgData name="Khaled M. Alshly" userId="4a7e16d7-ffb1-40f7-83a0-a1197d631c7e" providerId="ADAL" clId="{79D977AF-AD71-42F8-B8A3-6994DB66405F}" dt="2025-05-13T15:05:29.023" v="137"/>
        <pc:sldMkLst>
          <pc:docMk/>
          <pc:sldMk cId="0" sldId="286"/>
        </pc:sldMkLst>
        <pc:spChg chg="mod">
          <ac:chgData name="Khaled M. Alshly" userId="4a7e16d7-ffb1-40f7-83a0-a1197d631c7e" providerId="ADAL" clId="{79D977AF-AD71-42F8-B8A3-6994DB66405F}" dt="2025-05-13T15:05:29.023" v="137"/>
          <ac:spMkLst>
            <pc:docMk/>
            <pc:sldMk cId="0" sldId="286"/>
            <ac:spMk id="23" creationId="{00000000-0000-0000-0000-000000000000}"/>
          </ac:spMkLst>
        </pc:spChg>
        <pc:spChg chg="mod">
          <ac:chgData name="Khaled M. Alshly" userId="4a7e16d7-ffb1-40f7-83a0-a1197d631c7e" providerId="ADAL" clId="{79D977AF-AD71-42F8-B8A3-6994DB66405F}" dt="2025-05-13T15:05:29.023" v="137"/>
          <ac:spMkLst>
            <pc:docMk/>
            <pc:sldMk cId="0" sldId="286"/>
            <ac:spMk id="24" creationId="{00000000-0000-0000-0000-000000000000}"/>
          </ac:spMkLst>
        </pc:spChg>
      </pc:sldChg>
      <pc:sldChg chg="modSp new del mod">
        <pc:chgData name="Khaled M. Alshly" userId="4a7e16d7-ffb1-40f7-83a0-a1197d631c7e" providerId="ADAL" clId="{79D977AF-AD71-42F8-B8A3-6994DB66405F}" dt="2025-05-13T14:58:49.280" v="106" actId="47"/>
        <pc:sldMkLst>
          <pc:docMk/>
          <pc:sldMk cId="1601464409" sldId="286"/>
        </pc:sldMkLst>
      </pc:sldChg>
      <pc:sldChg chg="delSp add del setBg delDesignElem">
        <pc:chgData name="Khaled M. Alshly" userId="4a7e16d7-ffb1-40f7-83a0-a1197d631c7e" providerId="ADAL" clId="{79D977AF-AD71-42F8-B8A3-6994DB66405F}" dt="2025-05-13T15:00:02.350" v="119" actId="47"/>
        <pc:sldMkLst>
          <pc:docMk/>
          <pc:sldMk cId="4136999399" sldId="286"/>
        </pc:sldMkLst>
      </pc:sldChg>
      <pc:sldChg chg="addSp delSp add del setBg delDesignElem">
        <pc:chgData name="Khaled M. Alshly" userId="4a7e16d7-ffb1-40f7-83a0-a1197d631c7e" providerId="ADAL" clId="{79D977AF-AD71-42F8-B8A3-6994DB66405F}" dt="2025-05-13T14:59:54.634" v="114"/>
        <pc:sldMkLst>
          <pc:docMk/>
          <pc:sldMk cId="774283565" sldId="287"/>
        </pc:sldMkLst>
      </pc:sldChg>
      <pc:sldChg chg="modSp new del mod">
        <pc:chgData name="Khaled M. Alshly" userId="4a7e16d7-ffb1-40f7-83a0-a1197d631c7e" providerId="ADAL" clId="{79D977AF-AD71-42F8-B8A3-6994DB66405F}" dt="2025-05-13T14:58:49.280" v="106" actId="47"/>
        <pc:sldMkLst>
          <pc:docMk/>
          <pc:sldMk cId="2784185012" sldId="287"/>
        </pc:sldMkLst>
      </pc:sldChg>
      <pc:sldChg chg="addSp delSp modSp add mod ord setBg modAnim delDesignElem">
        <pc:chgData name="Khaled M. Alshly" userId="4a7e16d7-ffb1-40f7-83a0-a1197d631c7e" providerId="ADAL" clId="{79D977AF-AD71-42F8-B8A3-6994DB66405F}" dt="2025-05-13T15:01:10.454" v="126" actId="26606"/>
        <pc:sldMkLst>
          <pc:docMk/>
          <pc:sldMk cId="3598919470" sldId="287"/>
        </pc:sldMkLst>
      </pc:sldChg>
      <pc:sldChg chg="delSp add del setBg delDesignElem">
        <pc:chgData name="Khaled M. Alshly" userId="4a7e16d7-ffb1-40f7-83a0-a1197d631c7e" providerId="ADAL" clId="{79D977AF-AD71-42F8-B8A3-6994DB66405F}" dt="2025-05-13T15:00:24.080" v="124" actId="47"/>
        <pc:sldMkLst>
          <pc:docMk/>
          <pc:sldMk cId="776529759" sldId="288"/>
        </pc:sldMkLst>
      </pc:sldChg>
      <pc:sldChg chg="modSp new del mod">
        <pc:chgData name="Khaled M. Alshly" userId="4a7e16d7-ffb1-40f7-83a0-a1197d631c7e" providerId="ADAL" clId="{79D977AF-AD71-42F8-B8A3-6994DB66405F}" dt="2025-05-13T14:58:49.280" v="106" actId="47"/>
        <pc:sldMkLst>
          <pc:docMk/>
          <pc:sldMk cId="3325871511" sldId="288"/>
        </pc:sldMkLst>
      </pc:sldChg>
      <pc:sldChg chg="modSp new del mod">
        <pc:chgData name="Khaled M. Alshly" userId="4a7e16d7-ffb1-40f7-83a0-a1197d631c7e" providerId="ADAL" clId="{79D977AF-AD71-42F8-B8A3-6994DB66405F}" dt="2025-05-13T14:58:49.280" v="106" actId="47"/>
        <pc:sldMkLst>
          <pc:docMk/>
          <pc:sldMk cId="3903966698" sldId="289"/>
        </pc:sldMkLst>
      </pc:sldChg>
      <pc:sldChg chg="modSp new del mod">
        <pc:chgData name="Khaled M. Alshly" userId="4a7e16d7-ffb1-40f7-83a0-a1197d631c7e" providerId="ADAL" clId="{79D977AF-AD71-42F8-B8A3-6994DB66405F}" dt="2025-05-13T14:58:49.280" v="106" actId="47"/>
        <pc:sldMkLst>
          <pc:docMk/>
          <pc:sldMk cId="3825588461" sldId="290"/>
        </pc:sldMkLst>
      </pc:sldChg>
      <pc:sldChg chg="modSp add">
        <pc:chgData name="Khaled M. Alshly" userId="4a7e16d7-ffb1-40f7-83a0-a1197d631c7e" providerId="ADAL" clId="{79D977AF-AD71-42F8-B8A3-6994DB66405F}" dt="2025-05-13T15:05:29.023" v="137"/>
        <pc:sldMkLst>
          <pc:docMk/>
          <pc:sldMk cId="0" sldId="291"/>
        </pc:sldMkLst>
        <pc:spChg chg="mod">
          <ac:chgData name="Khaled M. Alshly" userId="4a7e16d7-ffb1-40f7-83a0-a1197d631c7e" providerId="ADAL" clId="{79D977AF-AD71-42F8-B8A3-6994DB66405F}" dt="2025-05-13T15:05:29.023" v="137"/>
          <ac:spMkLst>
            <pc:docMk/>
            <pc:sldMk cId="0" sldId="291"/>
            <ac:spMk id="49" creationId="{00000000-0000-0000-0000-000000000000}"/>
          </ac:spMkLst>
        </pc:spChg>
        <pc:spChg chg="mod">
          <ac:chgData name="Khaled M. Alshly" userId="4a7e16d7-ffb1-40f7-83a0-a1197d631c7e" providerId="ADAL" clId="{79D977AF-AD71-42F8-B8A3-6994DB66405F}" dt="2025-05-13T15:05:29.023" v="137"/>
          <ac:spMkLst>
            <pc:docMk/>
            <pc:sldMk cId="0" sldId="291"/>
            <ac:spMk id="50" creationId="{00000000-0000-0000-0000-000000000000}"/>
          </ac:spMkLst>
        </pc:spChg>
      </pc:sldChg>
      <pc:sldChg chg="modSp new del mod">
        <pc:chgData name="Khaled M. Alshly" userId="4a7e16d7-ffb1-40f7-83a0-a1197d631c7e" providerId="ADAL" clId="{79D977AF-AD71-42F8-B8A3-6994DB66405F}" dt="2025-05-13T14:58:49.280" v="106" actId="47"/>
        <pc:sldMkLst>
          <pc:docMk/>
          <pc:sldMk cId="3872836691" sldId="291"/>
        </pc:sldMkLst>
      </pc:sldChg>
      <pc:sldChg chg="modSp add">
        <pc:chgData name="Khaled M. Alshly" userId="4a7e16d7-ffb1-40f7-83a0-a1197d631c7e" providerId="ADAL" clId="{79D977AF-AD71-42F8-B8A3-6994DB66405F}" dt="2025-05-13T15:05:29.023" v="137"/>
        <pc:sldMkLst>
          <pc:docMk/>
          <pc:sldMk cId="0" sldId="295"/>
        </pc:sldMkLst>
        <pc:spChg chg="mod">
          <ac:chgData name="Khaled M. Alshly" userId="4a7e16d7-ffb1-40f7-83a0-a1197d631c7e" providerId="ADAL" clId="{79D977AF-AD71-42F8-B8A3-6994DB66405F}" dt="2025-05-13T15:05:29.023" v="137"/>
          <ac:spMkLst>
            <pc:docMk/>
            <pc:sldMk cId="0" sldId="295"/>
            <ac:spMk id="22" creationId="{00000000-0000-0000-0000-000000000000}"/>
          </ac:spMkLst>
        </pc:spChg>
        <pc:spChg chg="mod">
          <ac:chgData name="Khaled M. Alshly" userId="4a7e16d7-ffb1-40f7-83a0-a1197d631c7e" providerId="ADAL" clId="{79D977AF-AD71-42F8-B8A3-6994DB66405F}" dt="2025-05-13T15:05:29.023" v="137"/>
          <ac:spMkLst>
            <pc:docMk/>
            <pc:sldMk cId="0" sldId="295"/>
            <ac:spMk id="23" creationId="{00000000-0000-0000-0000-000000000000}"/>
          </ac:spMkLst>
        </pc:spChg>
      </pc:sldChg>
      <pc:sldChg chg="modSp add del">
        <pc:chgData name="Khaled M. Alshly" userId="4a7e16d7-ffb1-40f7-83a0-a1197d631c7e" providerId="ADAL" clId="{79D977AF-AD71-42F8-B8A3-6994DB66405F}" dt="2025-05-13T15:02:12.375" v="129"/>
        <pc:sldMkLst>
          <pc:docMk/>
          <pc:sldMk cId="0" sldId="300"/>
        </pc:sldMkLst>
      </pc:sldChg>
      <pc:sldChg chg="modSp add del">
        <pc:chgData name="Khaled M. Alshly" userId="4a7e16d7-ffb1-40f7-83a0-a1197d631c7e" providerId="ADAL" clId="{79D977AF-AD71-42F8-B8A3-6994DB66405F}" dt="2025-05-13T15:02:12.375" v="129"/>
        <pc:sldMkLst>
          <pc:docMk/>
          <pc:sldMk cId="0" sldId="302"/>
        </pc:sldMkLst>
        <pc:spChg chg="mod">
          <ac:chgData name="Khaled M. Alshly" userId="4a7e16d7-ffb1-40f7-83a0-a1197d631c7e" providerId="ADAL" clId="{79D977AF-AD71-42F8-B8A3-6994DB66405F}" dt="2025-05-13T15:02:04.235" v="127"/>
          <ac:spMkLst>
            <pc:docMk/>
            <pc:sldMk cId="0" sldId="302"/>
            <ac:spMk id="32" creationId="{00000000-0000-0000-0000-000000000000}"/>
          </ac:spMkLst>
        </pc:spChg>
        <pc:spChg chg="mod">
          <ac:chgData name="Khaled M. Alshly" userId="4a7e16d7-ffb1-40f7-83a0-a1197d631c7e" providerId="ADAL" clId="{79D977AF-AD71-42F8-B8A3-6994DB66405F}" dt="2025-05-13T15:02:04.235" v="127"/>
          <ac:spMkLst>
            <pc:docMk/>
            <pc:sldMk cId="0" sldId="302"/>
            <ac:spMk id="33" creationId="{00000000-0000-0000-0000-000000000000}"/>
          </ac:spMkLst>
        </pc:spChg>
      </pc:sldChg>
      <pc:sldChg chg="add del">
        <pc:chgData name="Khaled M. Alshly" userId="4a7e16d7-ffb1-40f7-83a0-a1197d631c7e" providerId="ADAL" clId="{79D977AF-AD71-42F8-B8A3-6994DB66405F}" dt="2025-05-13T15:02:12.375" v="129"/>
        <pc:sldMkLst>
          <pc:docMk/>
          <pc:sldMk cId="0" sldId="305"/>
        </pc:sldMkLst>
      </pc:sldChg>
      <pc:sldChg chg="add del">
        <pc:chgData name="Khaled M. Alshly" userId="4a7e16d7-ffb1-40f7-83a0-a1197d631c7e" providerId="ADAL" clId="{79D977AF-AD71-42F8-B8A3-6994DB66405F}" dt="2025-05-13T15:02:12.375" v="129"/>
        <pc:sldMkLst>
          <pc:docMk/>
          <pc:sldMk cId="0" sldId="306"/>
        </pc:sldMkLst>
      </pc:sldChg>
      <pc:sldChg chg="modSp add del">
        <pc:chgData name="Khaled M. Alshly" userId="4a7e16d7-ffb1-40f7-83a0-a1197d631c7e" providerId="ADAL" clId="{79D977AF-AD71-42F8-B8A3-6994DB66405F}" dt="2025-05-13T15:02:12.375" v="129"/>
        <pc:sldMkLst>
          <pc:docMk/>
          <pc:sldMk cId="0" sldId="320"/>
        </pc:sldMkLst>
        <pc:spChg chg="mod">
          <ac:chgData name="Khaled M. Alshly" userId="4a7e16d7-ffb1-40f7-83a0-a1197d631c7e" providerId="ADAL" clId="{79D977AF-AD71-42F8-B8A3-6994DB66405F}" dt="2025-05-13T15:02:04.235" v="127"/>
          <ac:spMkLst>
            <pc:docMk/>
            <pc:sldMk cId="0" sldId="320"/>
            <ac:spMk id="106" creationId="{00000000-0000-0000-0000-000000000000}"/>
          </ac:spMkLst>
        </pc:spChg>
        <pc:spChg chg="mod">
          <ac:chgData name="Khaled M. Alshly" userId="4a7e16d7-ffb1-40f7-83a0-a1197d631c7e" providerId="ADAL" clId="{79D977AF-AD71-42F8-B8A3-6994DB66405F}" dt="2025-05-13T15:02:04.235" v="127"/>
          <ac:spMkLst>
            <pc:docMk/>
            <pc:sldMk cId="0" sldId="320"/>
            <ac:spMk id="107" creationId="{00000000-0000-0000-0000-000000000000}"/>
          </ac:spMkLst>
        </pc:spChg>
      </pc:sldChg>
      <pc:sldChg chg="addSp delSp modSp add mod ord setBg delDesignElem">
        <pc:chgData name="Khaled M. Alshly" userId="4a7e16d7-ffb1-40f7-83a0-a1197d631c7e" providerId="ADAL" clId="{79D977AF-AD71-42F8-B8A3-6994DB66405F}" dt="2025-05-13T15:03:14.446" v="136" actId="26606"/>
        <pc:sldMkLst>
          <pc:docMk/>
          <pc:sldMk cId="3588420779" sldId="321"/>
        </pc:sldMkLst>
        <pc:spChg chg="mod">
          <ac:chgData name="Khaled M. Alshly" userId="4a7e16d7-ffb1-40f7-83a0-a1197d631c7e" providerId="ADAL" clId="{79D977AF-AD71-42F8-B8A3-6994DB66405F}" dt="2025-05-13T15:03:14.446" v="136" actId="26606"/>
          <ac:spMkLst>
            <pc:docMk/>
            <pc:sldMk cId="3588420779" sldId="321"/>
            <ac:spMk id="2" creationId="{43D77E4F-FAD8-E2AB-42E5-76263747BE48}"/>
          </ac:spMkLst>
        </pc:spChg>
        <pc:spChg chg="add">
          <ac:chgData name="Khaled M. Alshly" userId="4a7e16d7-ffb1-40f7-83a0-a1197d631c7e" providerId="ADAL" clId="{79D977AF-AD71-42F8-B8A3-6994DB66405F}" dt="2025-05-13T15:03:14.446" v="136" actId="26606"/>
          <ac:spMkLst>
            <pc:docMk/>
            <pc:sldMk cId="3588420779" sldId="321"/>
            <ac:spMk id="4" creationId="{A3363022-C969-41E9-8EB2-E4C94908C1FA}"/>
          </ac:spMkLst>
        </pc:spChg>
        <pc:spChg chg="add">
          <ac:chgData name="Khaled M. Alshly" userId="4a7e16d7-ffb1-40f7-83a0-a1197d631c7e" providerId="ADAL" clId="{79D977AF-AD71-42F8-B8A3-6994DB66405F}" dt="2025-05-13T15:03:14.446" v="136" actId="26606"/>
          <ac:spMkLst>
            <pc:docMk/>
            <pc:sldMk cId="3588420779" sldId="321"/>
            <ac:spMk id="5" creationId="{8D1AD6B3-BE88-4CEB-BA17-790657CC4729}"/>
          </ac:spMkLst>
        </pc:spChg>
        <pc:grpChg chg="add">
          <ac:chgData name="Khaled M. Alshly" userId="4a7e16d7-ffb1-40f7-83a0-a1197d631c7e" providerId="ADAL" clId="{79D977AF-AD71-42F8-B8A3-6994DB66405F}" dt="2025-05-13T15:03:14.446" v="136" actId="26606"/>
          <ac:grpSpMkLst>
            <pc:docMk/>
            <pc:sldMk cId="3588420779" sldId="321"/>
            <ac:grpSpMk id="8" creationId="{89D1390B-7E13-4B4F-9CB2-391063412E54}"/>
          </ac:grpSpMkLst>
        </pc:grpChg>
        <pc:picChg chg="add">
          <ac:chgData name="Khaled M. Alshly" userId="4a7e16d7-ffb1-40f7-83a0-a1197d631c7e" providerId="ADAL" clId="{79D977AF-AD71-42F8-B8A3-6994DB66405F}" dt="2025-05-13T15:03:14.446" v="136" actId="26606"/>
          <ac:picMkLst>
            <pc:docMk/>
            <pc:sldMk cId="3588420779" sldId="321"/>
            <ac:picMk id="7" creationId="{6D931461-0CFD-BB93-4006-366FB8544884}"/>
          </ac:picMkLst>
        </pc:picChg>
      </pc:sldChg>
      <pc:sldChg chg="modSp add">
        <pc:chgData name="Khaled M. Alshly" userId="4a7e16d7-ffb1-40f7-83a0-a1197d631c7e" providerId="ADAL" clId="{79D977AF-AD71-42F8-B8A3-6994DB66405F}" dt="2025-05-13T15:05:29.023" v="137"/>
        <pc:sldMkLst>
          <pc:docMk/>
          <pc:sldMk cId="0" sldId="394"/>
        </pc:sldMkLst>
        <pc:spChg chg="mod">
          <ac:chgData name="Khaled M. Alshly" userId="4a7e16d7-ffb1-40f7-83a0-a1197d631c7e" providerId="ADAL" clId="{79D977AF-AD71-42F8-B8A3-6994DB66405F}" dt="2025-05-13T15:05:29.023" v="137"/>
          <ac:spMkLst>
            <pc:docMk/>
            <pc:sldMk cId="0" sldId="394"/>
            <ac:spMk id="62" creationId="{00000000-0000-0000-0000-000000000000}"/>
          </ac:spMkLst>
        </pc:spChg>
        <pc:spChg chg="mod">
          <ac:chgData name="Khaled M. Alshly" userId="4a7e16d7-ffb1-40f7-83a0-a1197d631c7e" providerId="ADAL" clId="{79D977AF-AD71-42F8-B8A3-6994DB66405F}" dt="2025-05-13T15:05:29.023" v="137"/>
          <ac:spMkLst>
            <pc:docMk/>
            <pc:sldMk cId="0" sldId="394"/>
            <ac:spMk id="63" creationId="{00000000-0000-0000-0000-000000000000}"/>
          </ac:spMkLst>
        </pc:spChg>
      </pc:sldChg>
      <pc:sldChg chg="addSp delSp modSp add del mod setBg delDesignElem">
        <pc:chgData name="Khaled M. Alshly" userId="4a7e16d7-ffb1-40f7-83a0-a1197d631c7e" providerId="ADAL" clId="{79D977AF-AD71-42F8-B8A3-6994DB66405F}" dt="2025-05-13T15:38:55.496" v="173" actId="12385"/>
        <pc:sldMkLst>
          <pc:docMk/>
          <pc:sldMk cId="2944620960" sldId="395"/>
        </pc:sldMkLst>
        <pc:spChg chg="mod">
          <ac:chgData name="Khaled M. Alshly" userId="4a7e16d7-ffb1-40f7-83a0-a1197d631c7e" providerId="ADAL" clId="{79D977AF-AD71-42F8-B8A3-6994DB66405F}" dt="2025-05-13T15:38:38.310" v="172" actId="26606"/>
          <ac:spMkLst>
            <pc:docMk/>
            <pc:sldMk cId="2944620960" sldId="395"/>
            <ac:spMk id="2" creationId="{D1F90615-395E-DDCB-F2D7-792DFBC68A1D}"/>
          </ac:spMkLst>
        </pc:spChg>
        <pc:spChg chg="add">
          <ac:chgData name="Khaled M. Alshly" userId="4a7e16d7-ffb1-40f7-83a0-a1197d631c7e" providerId="ADAL" clId="{79D977AF-AD71-42F8-B8A3-6994DB66405F}" dt="2025-05-13T15:38:38.310" v="172" actId="26606"/>
          <ac:spMkLst>
            <pc:docMk/>
            <pc:sldMk cId="2944620960" sldId="395"/>
            <ac:spMk id="57" creationId="{02472DE8-E58B-4D56-BA61-C69C601DC760}"/>
          </ac:spMkLst>
        </pc:spChg>
        <pc:spChg chg="add">
          <ac:chgData name="Khaled M. Alshly" userId="4a7e16d7-ffb1-40f7-83a0-a1197d631c7e" providerId="ADAL" clId="{79D977AF-AD71-42F8-B8A3-6994DB66405F}" dt="2025-05-13T15:38:38.310" v="172" actId="26606"/>
          <ac:spMkLst>
            <pc:docMk/>
            <pc:sldMk cId="2944620960" sldId="395"/>
            <ac:spMk id="59" creationId="{0183ACFC-B25E-402F-BBD8-E42034CDD49A}"/>
          </ac:spMkLst>
        </pc:spChg>
        <pc:spChg chg="add">
          <ac:chgData name="Khaled M. Alshly" userId="4a7e16d7-ffb1-40f7-83a0-a1197d631c7e" providerId="ADAL" clId="{79D977AF-AD71-42F8-B8A3-6994DB66405F}" dt="2025-05-13T15:38:38.310" v="172" actId="26606"/>
          <ac:spMkLst>
            <pc:docMk/>
            <pc:sldMk cId="2944620960" sldId="395"/>
            <ac:spMk id="61" creationId="{3501A971-CEBD-4E4B-8529-3BB4F4100CD6}"/>
          </ac:spMkLst>
        </pc:spChg>
        <pc:graphicFrameChg chg="mod modGraphic">
          <ac:chgData name="Khaled M. Alshly" userId="4a7e16d7-ffb1-40f7-83a0-a1197d631c7e" providerId="ADAL" clId="{79D977AF-AD71-42F8-B8A3-6994DB66405F}" dt="2025-05-13T15:38:55.496" v="173" actId="12385"/>
          <ac:graphicFrameMkLst>
            <pc:docMk/>
            <pc:sldMk cId="2944620960" sldId="395"/>
            <ac:graphicFrameMk id="4" creationId="{994B1BFD-CB47-D8D8-BD27-6EDA32A71BDF}"/>
          </ac:graphicFrameMkLst>
        </pc:graphicFrameChg>
      </pc:sldChg>
      <pc:sldMasterChg chg="add addSldLayout">
        <pc:chgData name="Khaled M. Alshly" userId="4a7e16d7-ffb1-40f7-83a0-a1197d631c7e" providerId="ADAL" clId="{79D977AF-AD71-42F8-B8A3-6994DB66405F}" dt="2025-05-13T14:58:15.560" v="0"/>
        <pc:sldMasterMkLst>
          <pc:docMk/>
          <pc:sldMasterMk cId="3196447035" sldId="2147483660"/>
        </pc:sldMasterMkLst>
        <pc:sldLayoutChg chg="add">
          <pc:chgData name="Khaled M. Alshly" userId="4a7e16d7-ffb1-40f7-83a0-a1197d631c7e" providerId="ADAL" clId="{79D977AF-AD71-42F8-B8A3-6994DB66405F}" dt="2025-05-13T14:58:15.560" v="0"/>
          <pc:sldLayoutMkLst>
            <pc:docMk/>
            <pc:sldMasterMk cId="3196447035" sldId="2147483660"/>
            <pc:sldLayoutMk cId="3282473331" sldId="2147483661"/>
          </pc:sldLayoutMkLst>
        </pc:sldLayoutChg>
        <pc:sldLayoutChg chg="add">
          <pc:chgData name="Khaled M. Alshly" userId="4a7e16d7-ffb1-40f7-83a0-a1197d631c7e" providerId="ADAL" clId="{79D977AF-AD71-42F8-B8A3-6994DB66405F}" dt="2025-05-13T14:58:15.560" v="0"/>
          <pc:sldLayoutMkLst>
            <pc:docMk/>
            <pc:sldMasterMk cId="3196447035" sldId="2147483660"/>
            <pc:sldLayoutMk cId="2981762647" sldId="2147483662"/>
          </pc:sldLayoutMkLst>
        </pc:sldLayoutChg>
        <pc:sldLayoutChg chg="add">
          <pc:chgData name="Khaled M. Alshly" userId="4a7e16d7-ffb1-40f7-83a0-a1197d631c7e" providerId="ADAL" clId="{79D977AF-AD71-42F8-B8A3-6994DB66405F}" dt="2025-05-13T14:58:15.560" v="0"/>
          <pc:sldLayoutMkLst>
            <pc:docMk/>
            <pc:sldMasterMk cId="3196447035" sldId="2147483660"/>
            <pc:sldLayoutMk cId="1270380633" sldId="2147483677"/>
          </pc:sldLayoutMkLst>
        </pc:sldLayoutChg>
        <pc:sldLayoutChg chg="add">
          <pc:chgData name="Khaled M. Alshly" userId="4a7e16d7-ffb1-40f7-83a0-a1197d631c7e" providerId="ADAL" clId="{79D977AF-AD71-42F8-B8A3-6994DB66405F}" dt="2025-05-13T14:58:15.560" v="0"/>
          <pc:sldLayoutMkLst>
            <pc:docMk/>
            <pc:sldMasterMk cId="3196447035" sldId="2147483660"/>
            <pc:sldLayoutMk cId="1774813262" sldId="2147483678"/>
          </pc:sldLayoutMkLst>
        </pc:sldLayoutChg>
        <pc:sldLayoutChg chg="add">
          <pc:chgData name="Khaled M. Alshly" userId="4a7e16d7-ffb1-40f7-83a0-a1197d631c7e" providerId="ADAL" clId="{79D977AF-AD71-42F8-B8A3-6994DB66405F}" dt="2025-05-13T14:58:15.560" v="0"/>
          <pc:sldLayoutMkLst>
            <pc:docMk/>
            <pc:sldMasterMk cId="3196447035" sldId="2147483660"/>
            <pc:sldLayoutMk cId="3474393961" sldId="2147483679"/>
          </pc:sldLayoutMkLst>
        </pc:sldLayoutChg>
        <pc:sldLayoutChg chg="add">
          <pc:chgData name="Khaled M. Alshly" userId="4a7e16d7-ffb1-40f7-83a0-a1197d631c7e" providerId="ADAL" clId="{79D977AF-AD71-42F8-B8A3-6994DB66405F}" dt="2025-05-13T14:58:15.560" v="0"/>
          <pc:sldLayoutMkLst>
            <pc:docMk/>
            <pc:sldMasterMk cId="3196447035" sldId="2147483660"/>
            <pc:sldLayoutMk cId="1459153313" sldId="2147483680"/>
          </pc:sldLayoutMkLst>
        </pc:sldLayoutChg>
        <pc:sldLayoutChg chg="add">
          <pc:chgData name="Khaled M. Alshly" userId="4a7e16d7-ffb1-40f7-83a0-a1197d631c7e" providerId="ADAL" clId="{79D977AF-AD71-42F8-B8A3-6994DB66405F}" dt="2025-05-13T14:58:15.560" v="0"/>
          <pc:sldLayoutMkLst>
            <pc:docMk/>
            <pc:sldMasterMk cId="3196447035" sldId="2147483660"/>
            <pc:sldLayoutMk cId="2535422851" sldId="2147483681"/>
          </pc:sldLayoutMkLst>
        </pc:sldLayoutChg>
        <pc:sldLayoutChg chg="add">
          <pc:chgData name="Khaled M. Alshly" userId="4a7e16d7-ffb1-40f7-83a0-a1197d631c7e" providerId="ADAL" clId="{79D977AF-AD71-42F8-B8A3-6994DB66405F}" dt="2025-05-13T14:58:15.560" v="0"/>
          <pc:sldLayoutMkLst>
            <pc:docMk/>
            <pc:sldMasterMk cId="3196447035" sldId="2147483660"/>
            <pc:sldLayoutMk cId="3999656802" sldId="2147483682"/>
          </pc:sldLayoutMkLst>
        </pc:sldLayoutChg>
        <pc:sldLayoutChg chg="add">
          <pc:chgData name="Khaled M. Alshly" userId="4a7e16d7-ffb1-40f7-83a0-a1197d631c7e" providerId="ADAL" clId="{79D977AF-AD71-42F8-B8A3-6994DB66405F}" dt="2025-05-13T14:58:15.560" v="0"/>
          <pc:sldLayoutMkLst>
            <pc:docMk/>
            <pc:sldMasterMk cId="3196447035" sldId="2147483660"/>
            <pc:sldLayoutMk cId="2187261975" sldId="2147483683"/>
          </pc:sldLayoutMkLst>
        </pc:sldLayoutChg>
        <pc:sldLayoutChg chg="add">
          <pc:chgData name="Khaled M. Alshly" userId="4a7e16d7-ffb1-40f7-83a0-a1197d631c7e" providerId="ADAL" clId="{79D977AF-AD71-42F8-B8A3-6994DB66405F}" dt="2025-05-13T14:58:15.560" v="0"/>
          <pc:sldLayoutMkLst>
            <pc:docMk/>
            <pc:sldMasterMk cId="3196447035" sldId="2147483660"/>
            <pc:sldLayoutMk cId="2285404791" sldId="2147483684"/>
          </pc:sldLayoutMkLst>
        </pc:sldLayoutChg>
        <pc:sldLayoutChg chg="add">
          <pc:chgData name="Khaled M. Alshly" userId="4a7e16d7-ffb1-40f7-83a0-a1197d631c7e" providerId="ADAL" clId="{79D977AF-AD71-42F8-B8A3-6994DB66405F}" dt="2025-05-13T14:58:15.560" v="0"/>
          <pc:sldLayoutMkLst>
            <pc:docMk/>
            <pc:sldMasterMk cId="3196447035" sldId="2147483660"/>
            <pc:sldLayoutMk cId="1917585566" sldId="2147483685"/>
          </pc:sldLayoutMkLst>
        </pc:sldLayoutChg>
        <pc:sldLayoutChg chg="add">
          <pc:chgData name="Khaled M. Alshly" userId="4a7e16d7-ffb1-40f7-83a0-a1197d631c7e" providerId="ADAL" clId="{79D977AF-AD71-42F8-B8A3-6994DB66405F}" dt="2025-05-13T14:58:15.560" v="0"/>
          <pc:sldLayoutMkLst>
            <pc:docMk/>
            <pc:sldMasterMk cId="3196447035" sldId="2147483660"/>
            <pc:sldLayoutMk cId="4059785727" sldId="2147483686"/>
          </pc:sldLayoutMkLst>
        </pc:sldLayoutChg>
        <pc:sldLayoutChg chg="add">
          <pc:chgData name="Khaled M. Alshly" userId="4a7e16d7-ffb1-40f7-83a0-a1197d631c7e" providerId="ADAL" clId="{79D977AF-AD71-42F8-B8A3-6994DB66405F}" dt="2025-05-13T14:58:15.560" v="0"/>
          <pc:sldLayoutMkLst>
            <pc:docMk/>
            <pc:sldMasterMk cId="3196447035" sldId="2147483660"/>
            <pc:sldLayoutMk cId="2893245423" sldId="2147483687"/>
          </pc:sldLayoutMkLst>
        </pc:sldLayoutChg>
        <pc:sldLayoutChg chg="add">
          <pc:chgData name="Khaled M. Alshly" userId="4a7e16d7-ffb1-40f7-83a0-a1197d631c7e" providerId="ADAL" clId="{79D977AF-AD71-42F8-B8A3-6994DB66405F}" dt="2025-05-13T14:58:15.560" v="0"/>
          <pc:sldLayoutMkLst>
            <pc:docMk/>
            <pc:sldMasterMk cId="3196447035" sldId="2147483660"/>
            <pc:sldLayoutMk cId="2387986896" sldId="2147483688"/>
          </pc:sldLayoutMkLst>
        </pc:sldLayoutChg>
        <pc:sldLayoutChg chg="add">
          <pc:chgData name="Khaled M. Alshly" userId="4a7e16d7-ffb1-40f7-83a0-a1197d631c7e" providerId="ADAL" clId="{79D977AF-AD71-42F8-B8A3-6994DB66405F}" dt="2025-05-13T14:58:15.560" v="0"/>
          <pc:sldLayoutMkLst>
            <pc:docMk/>
            <pc:sldMasterMk cId="3196447035" sldId="2147483660"/>
            <pc:sldLayoutMk cId="2920560110" sldId="2147483689"/>
          </pc:sldLayoutMkLst>
        </pc:sldLayoutChg>
        <pc:sldLayoutChg chg="add">
          <pc:chgData name="Khaled M. Alshly" userId="4a7e16d7-ffb1-40f7-83a0-a1197d631c7e" providerId="ADAL" clId="{79D977AF-AD71-42F8-B8A3-6994DB66405F}" dt="2025-05-13T14:58:15.560" v="0"/>
          <pc:sldLayoutMkLst>
            <pc:docMk/>
            <pc:sldMasterMk cId="3196447035" sldId="2147483660"/>
            <pc:sldLayoutMk cId="562165496" sldId="2147483690"/>
          </pc:sldLayoutMkLst>
        </pc:sldLayoutChg>
        <pc:sldLayoutChg chg="add">
          <pc:chgData name="Khaled M. Alshly" userId="4a7e16d7-ffb1-40f7-83a0-a1197d631c7e" providerId="ADAL" clId="{79D977AF-AD71-42F8-B8A3-6994DB66405F}" dt="2025-05-13T14:58:15.560" v="0"/>
          <pc:sldLayoutMkLst>
            <pc:docMk/>
            <pc:sldMasterMk cId="3196447035" sldId="2147483660"/>
            <pc:sldLayoutMk cId="3777122769" sldId="2147483691"/>
          </pc:sldLayoutMkLst>
        </pc:sldLayoutChg>
        <pc:sldLayoutChg chg="add">
          <pc:chgData name="Khaled M. Alshly" userId="4a7e16d7-ffb1-40f7-83a0-a1197d631c7e" providerId="ADAL" clId="{79D977AF-AD71-42F8-B8A3-6994DB66405F}" dt="2025-05-13T14:58:15.560" v="0"/>
          <pc:sldLayoutMkLst>
            <pc:docMk/>
            <pc:sldMasterMk cId="3196447035" sldId="2147483660"/>
            <pc:sldLayoutMk cId="1984547406" sldId="2147483692"/>
          </pc:sldLayoutMkLst>
        </pc:sldLayoutChg>
        <pc:sldLayoutChg chg="add">
          <pc:chgData name="Khaled M. Alshly" userId="4a7e16d7-ffb1-40f7-83a0-a1197d631c7e" providerId="ADAL" clId="{79D977AF-AD71-42F8-B8A3-6994DB66405F}" dt="2025-05-13T14:58:15.560" v="0"/>
          <pc:sldLayoutMkLst>
            <pc:docMk/>
            <pc:sldMasterMk cId="3196447035" sldId="2147483660"/>
            <pc:sldLayoutMk cId="859230932" sldId="2147483693"/>
          </pc:sldLayoutMkLst>
        </pc:sldLayoutChg>
        <pc:sldLayoutChg chg="add">
          <pc:chgData name="Khaled M. Alshly" userId="4a7e16d7-ffb1-40f7-83a0-a1197d631c7e" providerId="ADAL" clId="{79D977AF-AD71-42F8-B8A3-6994DB66405F}" dt="2025-05-13T14:58:15.560" v="0"/>
          <pc:sldLayoutMkLst>
            <pc:docMk/>
            <pc:sldMasterMk cId="3196447035" sldId="2147483660"/>
            <pc:sldLayoutMk cId="2752192730" sldId="2147483694"/>
          </pc:sldLayoutMkLst>
        </pc:sldLayoutChg>
        <pc:sldLayoutChg chg="add">
          <pc:chgData name="Khaled M. Alshly" userId="4a7e16d7-ffb1-40f7-83a0-a1197d631c7e" providerId="ADAL" clId="{79D977AF-AD71-42F8-B8A3-6994DB66405F}" dt="2025-05-13T14:58:15.560" v="0"/>
          <pc:sldLayoutMkLst>
            <pc:docMk/>
            <pc:sldMasterMk cId="3196447035" sldId="2147483660"/>
            <pc:sldLayoutMk cId="1272959380" sldId="2147483695"/>
          </pc:sldLayoutMkLst>
        </pc:sldLayoutChg>
        <pc:sldLayoutChg chg="add">
          <pc:chgData name="Khaled M. Alshly" userId="4a7e16d7-ffb1-40f7-83a0-a1197d631c7e" providerId="ADAL" clId="{79D977AF-AD71-42F8-B8A3-6994DB66405F}" dt="2025-05-13T14:58:15.560" v="0"/>
          <pc:sldLayoutMkLst>
            <pc:docMk/>
            <pc:sldMasterMk cId="3196447035" sldId="2147483660"/>
            <pc:sldLayoutMk cId="3103369026" sldId="2147483696"/>
          </pc:sldLayoutMkLst>
        </pc:sldLayoutChg>
        <pc:sldLayoutChg chg="add">
          <pc:chgData name="Khaled M. Alshly" userId="4a7e16d7-ffb1-40f7-83a0-a1197d631c7e" providerId="ADAL" clId="{79D977AF-AD71-42F8-B8A3-6994DB66405F}" dt="2025-05-13T14:58:15.560" v="0"/>
          <pc:sldLayoutMkLst>
            <pc:docMk/>
            <pc:sldMasterMk cId="3196447035" sldId="2147483660"/>
            <pc:sldLayoutMk cId="3915258174" sldId="2147483697"/>
          </pc:sldLayoutMkLst>
        </pc:sldLayoutChg>
        <pc:sldLayoutChg chg="add">
          <pc:chgData name="Khaled M. Alshly" userId="4a7e16d7-ffb1-40f7-83a0-a1197d631c7e" providerId="ADAL" clId="{79D977AF-AD71-42F8-B8A3-6994DB66405F}" dt="2025-05-13T14:58:15.560" v="0"/>
          <pc:sldLayoutMkLst>
            <pc:docMk/>
            <pc:sldMasterMk cId="3196447035" sldId="2147483660"/>
            <pc:sldLayoutMk cId="2153376647" sldId="2147483698"/>
          </pc:sldLayoutMkLst>
        </pc:sldLayoutChg>
        <pc:sldLayoutChg chg="add">
          <pc:chgData name="Khaled M. Alshly" userId="4a7e16d7-ffb1-40f7-83a0-a1197d631c7e" providerId="ADAL" clId="{79D977AF-AD71-42F8-B8A3-6994DB66405F}" dt="2025-05-13T14:58:15.560" v="0"/>
          <pc:sldLayoutMkLst>
            <pc:docMk/>
            <pc:sldMasterMk cId="3196447035" sldId="2147483660"/>
            <pc:sldLayoutMk cId="3435561895" sldId="2147483699"/>
          </pc:sldLayoutMkLst>
        </pc:sldLayoutChg>
        <pc:sldLayoutChg chg="add">
          <pc:chgData name="Khaled M. Alshly" userId="4a7e16d7-ffb1-40f7-83a0-a1197d631c7e" providerId="ADAL" clId="{79D977AF-AD71-42F8-B8A3-6994DB66405F}" dt="2025-05-13T14:58:15.560" v="0"/>
          <pc:sldLayoutMkLst>
            <pc:docMk/>
            <pc:sldMasterMk cId="3196447035" sldId="2147483660"/>
            <pc:sldLayoutMk cId="1675689716" sldId="2147483700"/>
          </pc:sldLayoutMkLst>
        </pc:sldLayoutChg>
        <pc:sldLayoutChg chg="add">
          <pc:chgData name="Khaled M. Alshly" userId="4a7e16d7-ffb1-40f7-83a0-a1197d631c7e" providerId="ADAL" clId="{79D977AF-AD71-42F8-B8A3-6994DB66405F}" dt="2025-05-13T14:58:15.560" v="0"/>
          <pc:sldLayoutMkLst>
            <pc:docMk/>
            <pc:sldMasterMk cId="3196447035" sldId="2147483660"/>
            <pc:sldLayoutMk cId="2680772438" sldId="2147483701"/>
          </pc:sldLayoutMkLst>
        </pc:sldLayoutChg>
        <pc:sldLayoutChg chg="add">
          <pc:chgData name="Khaled M. Alshly" userId="4a7e16d7-ffb1-40f7-83a0-a1197d631c7e" providerId="ADAL" clId="{79D977AF-AD71-42F8-B8A3-6994DB66405F}" dt="2025-05-13T14:58:15.560" v="0"/>
          <pc:sldLayoutMkLst>
            <pc:docMk/>
            <pc:sldMasterMk cId="3196447035" sldId="2147483660"/>
            <pc:sldLayoutMk cId="4215720942" sldId="2147483702"/>
          </pc:sldLayoutMkLst>
        </pc:sldLayoutChg>
        <pc:sldLayoutChg chg="add">
          <pc:chgData name="Khaled M. Alshly" userId="4a7e16d7-ffb1-40f7-83a0-a1197d631c7e" providerId="ADAL" clId="{79D977AF-AD71-42F8-B8A3-6994DB66405F}" dt="2025-05-13T14:58:15.560" v="0"/>
          <pc:sldLayoutMkLst>
            <pc:docMk/>
            <pc:sldMasterMk cId="3196447035" sldId="2147483660"/>
            <pc:sldLayoutMk cId="293478149" sldId="2147483703"/>
          </pc:sldLayoutMkLst>
        </pc:sldLayoutChg>
        <pc:sldLayoutChg chg="add">
          <pc:chgData name="Khaled M. Alshly" userId="4a7e16d7-ffb1-40f7-83a0-a1197d631c7e" providerId="ADAL" clId="{79D977AF-AD71-42F8-B8A3-6994DB66405F}" dt="2025-05-13T14:58:15.560" v="0"/>
          <pc:sldLayoutMkLst>
            <pc:docMk/>
            <pc:sldMasterMk cId="3196447035" sldId="2147483660"/>
            <pc:sldLayoutMk cId="162104983" sldId="2147483704"/>
          </pc:sldLayoutMkLst>
        </pc:sldLayoutChg>
        <pc:sldLayoutChg chg="add">
          <pc:chgData name="Khaled M. Alshly" userId="4a7e16d7-ffb1-40f7-83a0-a1197d631c7e" providerId="ADAL" clId="{79D977AF-AD71-42F8-B8A3-6994DB66405F}" dt="2025-05-13T14:58:15.560" v="0"/>
          <pc:sldLayoutMkLst>
            <pc:docMk/>
            <pc:sldMasterMk cId="3196447035" sldId="2147483660"/>
            <pc:sldLayoutMk cId="2053735867" sldId="2147483705"/>
          </pc:sldLayoutMkLst>
        </pc:sldLayoutChg>
        <pc:sldLayoutChg chg="add">
          <pc:chgData name="Khaled M. Alshly" userId="4a7e16d7-ffb1-40f7-83a0-a1197d631c7e" providerId="ADAL" clId="{79D977AF-AD71-42F8-B8A3-6994DB66405F}" dt="2025-05-13T14:58:15.560" v="0"/>
          <pc:sldLayoutMkLst>
            <pc:docMk/>
            <pc:sldMasterMk cId="3196447035" sldId="2147483660"/>
            <pc:sldLayoutMk cId="3182925318" sldId="2147483706"/>
          </pc:sldLayoutMkLst>
        </pc:sldLayoutChg>
        <pc:sldLayoutChg chg="add">
          <pc:chgData name="Khaled M. Alshly" userId="4a7e16d7-ffb1-40f7-83a0-a1197d631c7e" providerId="ADAL" clId="{79D977AF-AD71-42F8-B8A3-6994DB66405F}" dt="2025-05-13T14:58:15.560" v="0"/>
          <pc:sldLayoutMkLst>
            <pc:docMk/>
            <pc:sldMasterMk cId="3196447035" sldId="2147483660"/>
            <pc:sldLayoutMk cId="2428473380" sldId="2147483707"/>
          </pc:sldLayoutMkLst>
        </pc:sldLayoutChg>
        <pc:sldLayoutChg chg="add">
          <pc:chgData name="Khaled M. Alshly" userId="4a7e16d7-ffb1-40f7-83a0-a1197d631c7e" providerId="ADAL" clId="{79D977AF-AD71-42F8-B8A3-6994DB66405F}" dt="2025-05-13T14:58:15.560" v="0"/>
          <pc:sldLayoutMkLst>
            <pc:docMk/>
            <pc:sldMasterMk cId="3196447035" sldId="2147483660"/>
            <pc:sldLayoutMk cId="4166445593" sldId="2147483708"/>
          </pc:sldLayoutMkLst>
        </pc:sldLayoutChg>
        <pc:sldLayoutChg chg="add">
          <pc:chgData name="Khaled M. Alshly" userId="4a7e16d7-ffb1-40f7-83a0-a1197d631c7e" providerId="ADAL" clId="{79D977AF-AD71-42F8-B8A3-6994DB66405F}" dt="2025-05-13T14:58:15.560" v="0"/>
          <pc:sldLayoutMkLst>
            <pc:docMk/>
            <pc:sldMasterMk cId="3196447035" sldId="2147483660"/>
            <pc:sldLayoutMk cId="2432701290" sldId="2147483709"/>
          </pc:sldLayoutMkLst>
        </pc:sldLayoutChg>
        <pc:sldLayoutChg chg="add">
          <pc:chgData name="Khaled M. Alshly" userId="4a7e16d7-ffb1-40f7-83a0-a1197d631c7e" providerId="ADAL" clId="{79D977AF-AD71-42F8-B8A3-6994DB66405F}" dt="2025-05-13T14:58:15.560" v="0"/>
          <pc:sldLayoutMkLst>
            <pc:docMk/>
            <pc:sldMasterMk cId="3196447035" sldId="2147483660"/>
            <pc:sldLayoutMk cId="764311171" sldId="2147483710"/>
          </pc:sldLayoutMkLst>
        </pc:sldLayoutChg>
        <pc:sldLayoutChg chg="add">
          <pc:chgData name="Khaled M. Alshly" userId="4a7e16d7-ffb1-40f7-83a0-a1197d631c7e" providerId="ADAL" clId="{79D977AF-AD71-42F8-B8A3-6994DB66405F}" dt="2025-05-13T14:58:15.560" v="0"/>
          <pc:sldLayoutMkLst>
            <pc:docMk/>
            <pc:sldMasterMk cId="3196447035" sldId="2147483660"/>
            <pc:sldLayoutMk cId="656226768" sldId="2147483711"/>
          </pc:sldLayoutMkLst>
        </pc:sldLayoutChg>
        <pc:sldLayoutChg chg="add">
          <pc:chgData name="Khaled M. Alshly" userId="4a7e16d7-ffb1-40f7-83a0-a1197d631c7e" providerId="ADAL" clId="{79D977AF-AD71-42F8-B8A3-6994DB66405F}" dt="2025-05-13T14:58:15.560" v="0"/>
          <pc:sldLayoutMkLst>
            <pc:docMk/>
            <pc:sldMasterMk cId="3196447035" sldId="2147483660"/>
            <pc:sldLayoutMk cId="2162713217" sldId="2147483712"/>
          </pc:sldLayoutMkLst>
        </pc:sldLayoutChg>
        <pc:sldLayoutChg chg="add">
          <pc:chgData name="Khaled M. Alshly" userId="4a7e16d7-ffb1-40f7-83a0-a1197d631c7e" providerId="ADAL" clId="{79D977AF-AD71-42F8-B8A3-6994DB66405F}" dt="2025-05-13T14:58:15.560" v="0"/>
          <pc:sldLayoutMkLst>
            <pc:docMk/>
            <pc:sldMasterMk cId="3196447035" sldId="2147483660"/>
            <pc:sldLayoutMk cId="56088634" sldId="2147483713"/>
          </pc:sldLayoutMkLst>
        </pc:sldLayoutChg>
        <pc:sldLayoutChg chg="add">
          <pc:chgData name="Khaled M. Alshly" userId="4a7e16d7-ffb1-40f7-83a0-a1197d631c7e" providerId="ADAL" clId="{79D977AF-AD71-42F8-B8A3-6994DB66405F}" dt="2025-05-13T14:58:15.560" v="0"/>
          <pc:sldLayoutMkLst>
            <pc:docMk/>
            <pc:sldMasterMk cId="3196447035" sldId="2147483660"/>
            <pc:sldLayoutMk cId="3667574597" sldId="2147483714"/>
          </pc:sldLayoutMkLst>
        </pc:sldLayoutChg>
        <pc:sldLayoutChg chg="add">
          <pc:chgData name="Khaled M. Alshly" userId="4a7e16d7-ffb1-40f7-83a0-a1197d631c7e" providerId="ADAL" clId="{79D977AF-AD71-42F8-B8A3-6994DB66405F}" dt="2025-05-13T14:58:15.560" v="0"/>
          <pc:sldLayoutMkLst>
            <pc:docMk/>
            <pc:sldMasterMk cId="3196447035" sldId="2147483660"/>
            <pc:sldLayoutMk cId="930280236" sldId="2147483715"/>
          </pc:sldLayoutMkLst>
        </pc:sldLayoutChg>
        <pc:sldLayoutChg chg="add">
          <pc:chgData name="Khaled M. Alshly" userId="4a7e16d7-ffb1-40f7-83a0-a1197d631c7e" providerId="ADAL" clId="{79D977AF-AD71-42F8-B8A3-6994DB66405F}" dt="2025-05-13T14:58:15.560" v="0"/>
          <pc:sldLayoutMkLst>
            <pc:docMk/>
            <pc:sldMasterMk cId="3196447035" sldId="2147483660"/>
            <pc:sldLayoutMk cId="1561394258" sldId="2147483716"/>
          </pc:sldLayoutMkLst>
        </pc:sldLayoutChg>
      </pc:sldMasterChg>
      <pc:sldMasterChg chg="replId delSldLayout modSldLayout">
        <pc:chgData name="Khaled M. Alshly" userId="4a7e16d7-ffb1-40f7-83a0-a1197d631c7e" providerId="ADAL" clId="{79D977AF-AD71-42F8-B8A3-6994DB66405F}" dt="2025-05-13T15:00:02.350" v="119" actId="47"/>
        <pc:sldMasterMkLst>
          <pc:docMk/>
          <pc:sldMasterMk cId="3231282395" sldId="2147483717"/>
        </pc:sldMasterMkLst>
        <pc:sldLayoutChg chg="replId">
          <pc:chgData name="Khaled M. Alshly" userId="4a7e16d7-ffb1-40f7-83a0-a1197d631c7e" providerId="ADAL" clId="{79D977AF-AD71-42F8-B8A3-6994DB66405F}" dt="2025-05-13T14:58:15.560" v="0"/>
          <pc:sldLayoutMkLst>
            <pc:docMk/>
            <pc:sldMasterMk cId="3231282395" sldId="2147483717"/>
            <pc:sldLayoutMk cId="1936780197" sldId="2147483718"/>
          </pc:sldLayoutMkLst>
        </pc:sldLayoutChg>
        <pc:sldLayoutChg chg="replId">
          <pc:chgData name="Khaled M. Alshly" userId="4a7e16d7-ffb1-40f7-83a0-a1197d631c7e" providerId="ADAL" clId="{79D977AF-AD71-42F8-B8A3-6994DB66405F}" dt="2025-05-13T14:58:15.560" v="0"/>
          <pc:sldLayoutMkLst>
            <pc:docMk/>
            <pc:sldMasterMk cId="3231282395" sldId="2147483717"/>
            <pc:sldLayoutMk cId="1886321805" sldId="2147483719"/>
          </pc:sldLayoutMkLst>
        </pc:sldLayoutChg>
        <pc:sldLayoutChg chg="del">
          <pc:chgData name="Khaled M. Alshly" userId="4a7e16d7-ffb1-40f7-83a0-a1197d631c7e" providerId="ADAL" clId="{79D977AF-AD71-42F8-B8A3-6994DB66405F}" dt="2025-05-13T15:00:02.350" v="119" actId="47"/>
          <pc:sldLayoutMkLst>
            <pc:docMk/>
            <pc:sldMasterMk cId="3231282395" sldId="2147483717"/>
            <pc:sldLayoutMk cId="668555315" sldId="2147483720"/>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عنصر نائب للرأس 1"/>
          <p:cNvSpPr>
            <a:spLocks noGrp="1"/>
          </p:cNvSpPr>
          <p:nvPr>
            <p:ph type="hdr" sz="quarter"/>
          </p:nvPr>
        </p:nvSpPr>
        <p:spPr>
          <a:xfrm>
            <a:off x="3886200" y="0"/>
            <a:ext cx="2971800" cy="458788"/>
          </a:xfrm>
          <a:prstGeom prst="rect">
            <a:avLst/>
          </a:prstGeom>
        </p:spPr>
        <p:txBody>
          <a:bodyPr vert="horz" lIns="91440" tIns="45720" rIns="91440" bIns="45720" rtlCol="1"/>
          <a:lstStyle>
            <a:lvl1pPr algn="l">
              <a:defRPr sz="1200"/>
            </a:lvl1pPr>
          </a:lstStyle>
          <a:p>
            <a:endParaRPr lang="en-US"/>
          </a:p>
        </p:txBody>
      </p:sp>
      <p:sp>
        <p:nvSpPr>
          <p:cNvPr id="3" name="عنصر نائب للتاريخ 2"/>
          <p:cNvSpPr>
            <a:spLocks noGrp="1"/>
          </p:cNvSpPr>
          <p:nvPr>
            <p:ph type="dt" idx="1"/>
          </p:nvPr>
        </p:nvSpPr>
        <p:spPr>
          <a:xfrm>
            <a:off x="1588" y="0"/>
            <a:ext cx="2971800" cy="458788"/>
          </a:xfrm>
          <a:prstGeom prst="rect">
            <a:avLst/>
          </a:prstGeom>
        </p:spPr>
        <p:txBody>
          <a:bodyPr vert="horz" lIns="91440" tIns="45720" rIns="91440" bIns="45720" rtlCol="1"/>
          <a:lstStyle>
            <a:lvl1pPr algn="r">
              <a:defRPr sz="1200"/>
            </a:lvl1pPr>
          </a:lstStyle>
          <a:p>
            <a:fld id="{3E074C14-FE74-4F33-9032-4E24EC5DC71F}" type="datetimeFigureOut">
              <a:rPr lang="en-US" smtClean="0"/>
              <a:t>5/17/2025</a:t>
            </a:fld>
            <a:endParaRPr lang="en-US"/>
          </a:p>
        </p:txBody>
      </p:sp>
      <p:sp>
        <p:nvSpPr>
          <p:cNvPr id="4" name="عنصر نائب لصورة الشريحة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1" anchor="ctr"/>
          <a:lstStyle/>
          <a:p>
            <a:endParaRPr lang="en-US"/>
          </a:p>
        </p:txBody>
      </p:sp>
      <p:sp>
        <p:nvSpPr>
          <p:cNvPr id="5" name="عنصر نائب للملاحظات 4"/>
          <p:cNvSpPr>
            <a:spLocks noGrp="1"/>
          </p:cNvSpPr>
          <p:nvPr>
            <p:ph type="body" sz="quarter" idx="3"/>
          </p:nvPr>
        </p:nvSpPr>
        <p:spPr>
          <a:xfrm>
            <a:off x="685800" y="4400550"/>
            <a:ext cx="5486400" cy="3600450"/>
          </a:xfrm>
          <a:prstGeom prst="rect">
            <a:avLst/>
          </a:prstGeom>
        </p:spPr>
        <p:txBody>
          <a:bodyPr vert="horz" lIns="91440" tIns="45720" rIns="91440" bIns="45720" rtlCol="1"/>
          <a:lstStyle/>
          <a:p>
            <a:pPr lvl="0"/>
            <a:r>
              <a:rPr lang="ar-SA"/>
              <a:t>انقر لتحرير أنماط نص الشكل الرئيسي</a:t>
            </a:r>
          </a:p>
          <a:p>
            <a:pPr lvl="1"/>
            <a:r>
              <a:rPr lang="ar-SA"/>
              <a:t>المستوى الثاني</a:t>
            </a:r>
          </a:p>
          <a:p>
            <a:pPr lvl="2"/>
            <a:r>
              <a:rPr lang="ar-SA"/>
              <a:t>المستوى الثالث</a:t>
            </a:r>
          </a:p>
          <a:p>
            <a:pPr lvl="3"/>
            <a:r>
              <a:rPr lang="ar-SA"/>
              <a:t>المستوى الرابع</a:t>
            </a:r>
          </a:p>
          <a:p>
            <a:pPr lvl="4"/>
            <a:r>
              <a:rPr lang="ar-SA"/>
              <a:t>المستوى الخامس</a:t>
            </a:r>
            <a:endParaRPr lang="en-US"/>
          </a:p>
        </p:txBody>
      </p:sp>
      <p:sp>
        <p:nvSpPr>
          <p:cNvPr id="6" name="عنصر نائب للتذييل 5"/>
          <p:cNvSpPr>
            <a:spLocks noGrp="1"/>
          </p:cNvSpPr>
          <p:nvPr>
            <p:ph type="ftr" sz="quarter" idx="4"/>
          </p:nvPr>
        </p:nvSpPr>
        <p:spPr>
          <a:xfrm>
            <a:off x="3886200" y="8685213"/>
            <a:ext cx="2971800" cy="458787"/>
          </a:xfrm>
          <a:prstGeom prst="rect">
            <a:avLst/>
          </a:prstGeom>
        </p:spPr>
        <p:txBody>
          <a:bodyPr vert="horz" lIns="91440" tIns="45720" rIns="91440" bIns="45720" rtlCol="1" anchor="b"/>
          <a:lstStyle>
            <a:lvl1pPr algn="l">
              <a:defRPr sz="1200"/>
            </a:lvl1pPr>
          </a:lstStyle>
          <a:p>
            <a:endParaRPr lang="en-US"/>
          </a:p>
        </p:txBody>
      </p:sp>
      <p:sp>
        <p:nvSpPr>
          <p:cNvPr id="7" name="عنصر نائب لرقم الشريحة 6"/>
          <p:cNvSpPr>
            <a:spLocks noGrp="1"/>
          </p:cNvSpPr>
          <p:nvPr>
            <p:ph type="sldNum" sz="quarter" idx="5"/>
          </p:nvPr>
        </p:nvSpPr>
        <p:spPr>
          <a:xfrm>
            <a:off x="1588" y="8685213"/>
            <a:ext cx="2971800" cy="458787"/>
          </a:xfrm>
          <a:prstGeom prst="rect">
            <a:avLst/>
          </a:prstGeom>
        </p:spPr>
        <p:txBody>
          <a:bodyPr vert="horz" lIns="91440" tIns="45720" rIns="91440" bIns="45720" rtlCol="1" anchor="b"/>
          <a:lstStyle>
            <a:lvl1pPr algn="r">
              <a:defRPr sz="1200"/>
            </a:lvl1pPr>
          </a:lstStyle>
          <a:p>
            <a:fld id="{8F190877-BB41-4A18-8BB0-AAD04EC0A889}" type="slidenum">
              <a:rPr lang="en-US" smtClean="0"/>
              <a:t>‹#›</a:t>
            </a:fld>
            <a:endParaRPr lang="en-US"/>
          </a:p>
        </p:txBody>
      </p:sp>
    </p:spTree>
    <p:extLst>
      <p:ext uri="{BB962C8B-B14F-4D97-AF65-F5344CB8AC3E}">
        <p14:creationId xmlns:p14="http://schemas.microsoft.com/office/powerpoint/2010/main" val="4219723535"/>
      </p:ext>
    </p:extLst>
  </p:cSld>
  <p:clrMap bg1="lt1" tx1="dk1" bg2="lt2" tx2="dk2" accent1="accent1" accent2="accent2" accent3="accent3" accent4="accent4" accent5="accent5" accent6="accent6" hlink="hlink" folHlink="folHlink"/>
  <p:notesStyle>
    <a:lvl1pPr marL="0" algn="r" defTabSz="914400" rtl="1" eaLnBrk="1" latinLnBrk="0" hangingPunct="1">
      <a:defRPr sz="1200" kern="1200">
        <a:solidFill>
          <a:schemeClr val="tx1"/>
        </a:solidFill>
        <a:latin typeface="+mn-lt"/>
        <a:ea typeface="+mn-ea"/>
        <a:cs typeface="+mn-cs"/>
      </a:defRPr>
    </a:lvl1pPr>
    <a:lvl2pPr marL="457200" algn="r" defTabSz="914400" rtl="1" eaLnBrk="1" latinLnBrk="0" hangingPunct="1">
      <a:defRPr sz="1200" kern="1200">
        <a:solidFill>
          <a:schemeClr val="tx1"/>
        </a:solidFill>
        <a:latin typeface="+mn-lt"/>
        <a:ea typeface="+mn-ea"/>
        <a:cs typeface="+mn-cs"/>
      </a:defRPr>
    </a:lvl2pPr>
    <a:lvl3pPr marL="914400" algn="r" defTabSz="914400" rtl="1" eaLnBrk="1" latinLnBrk="0" hangingPunct="1">
      <a:defRPr sz="1200" kern="1200">
        <a:solidFill>
          <a:schemeClr val="tx1"/>
        </a:solidFill>
        <a:latin typeface="+mn-lt"/>
        <a:ea typeface="+mn-ea"/>
        <a:cs typeface="+mn-cs"/>
      </a:defRPr>
    </a:lvl3pPr>
    <a:lvl4pPr marL="1371600" algn="r" defTabSz="914400" rtl="1" eaLnBrk="1" latinLnBrk="0" hangingPunct="1">
      <a:defRPr sz="1200" kern="1200">
        <a:solidFill>
          <a:schemeClr val="tx1"/>
        </a:solidFill>
        <a:latin typeface="+mn-lt"/>
        <a:ea typeface="+mn-ea"/>
        <a:cs typeface="+mn-cs"/>
      </a:defRPr>
    </a:lvl4pPr>
    <a:lvl5pPr marL="1828800" algn="r" defTabSz="914400" rtl="1" eaLnBrk="1" latinLnBrk="0" hangingPunct="1">
      <a:defRPr sz="1200" kern="1200">
        <a:solidFill>
          <a:schemeClr val="tx1"/>
        </a:solidFill>
        <a:latin typeface="+mn-lt"/>
        <a:ea typeface="+mn-ea"/>
        <a:cs typeface="+mn-cs"/>
      </a:defRPr>
    </a:lvl5pPr>
    <a:lvl6pPr marL="2286000" algn="r" defTabSz="914400" rtl="1" eaLnBrk="1" latinLnBrk="0" hangingPunct="1">
      <a:defRPr sz="1200" kern="1200">
        <a:solidFill>
          <a:schemeClr val="tx1"/>
        </a:solidFill>
        <a:latin typeface="+mn-lt"/>
        <a:ea typeface="+mn-ea"/>
        <a:cs typeface="+mn-cs"/>
      </a:defRPr>
    </a:lvl6pPr>
    <a:lvl7pPr marL="2743200" algn="r" defTabSz="914400" rtl="1" eaLnBrk="1" latinLnBrk="0" hangingPunct="1">
      <a:defRPr sz="1200" kern="1200">
        <a:solidFill>
          <a:schemeClr val="tx1"/>
        </a:solidFill>
        <a:latin typeface="+mn-lt"/>
        <a:ea typeface="+mn-ea"/>
        <a:cs typeface="+mn-cs"/>
      </a:defRPr>
    </a:lvl7pPr>
    <a:lvl8pPr marL="3200400" algn="r" defTabSz="914400" rtl="1" eaLnBrk="1" latinLnBrk="0" hangingPunct="1">
      <a:defRPr sz="1200" kern="1200">
        <a:solidFill>
          <a:schemeClr val="tx1"/>
        </a:solidFill>
        <a:latin typeface="+mn-lt"/>
        <a:ea typeface="+mn-ea"/>
        <a:cs typeface="+mn-cs"/>
      </a:defRPr>
    </a:lvl8pPr>
    <a:lvl9pPr marL="3657600" algn="r" defTabSz="914400" rtl="1"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1F4204-AF29-3F49-16BA-15D8FDE20CF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486001-5BD2-F571-5EDB-91D70BE647A4}"/>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10E51923-C589-84E3-65C5-4E08E9FBAD20}"/>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086021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D365A0-662D-B101-3A0A-E360F9AFFDA2}"/>
            </a:ext>
          </a:extLst>
        </p:cNvPr>
        <p:cNvGrpSpPr/>
        <p:nvPr/>
      </p:nvGrpSpPr>
      <p:grpSpPr>
        <a:xfrm>
          <a:off x="0" y="0"/>
          <a:ext cx="0" cy="0"/>
          <a:chOff x="0" y="0"/>
          <a:chExt cx="0" cy="0"/>
        </a:xfrm>
      </p:grpSpPr>
      <p:sp>
        <p:nvSpPr>
          <p:cNvPr id="2" name="عنصر نائب لصورة الشريحة 1">
            <a:extLst>
              <a:ext uri="{FF2B5EF4-FFF2-40B4-BE49-F238E27FC236}">
                <a16:creationId xmlns:a16="http://schemas.microsoft.com/office/drawing/2014/main" id="{393E7E8B-A183-D519-6F4B-2F41B8106BC1}"/>
              </a:ext>
            </a:extLst>
          </p:cNvPr>
          <p:cNvSpPr>
            <a:spLocks noGrp="1" noRot="1" noChangeAspect="1"/>
          </p:cNvSpPr>
          <p:nvPr>
            <p:ph type="sldImg"/>
          </p:nvPr>
        </p:nvSpPr>
        <p:spPr/>
      </p:sp>
      <p:sp>
        <p:nvSpPr>
          <p:cNvPr id="3" name="عنصر نائب للملاحظات 2">
            <a:extLst>
              <a:ext uri="{FF2B5EF4-FFF2-40B4-BE49-F238E27FC236}">
                <a16:creationId xmlns:a16="http://schemas.microsoft.com/office/drawing/2014/main" id="{8F6B4A44-4078-310F-D4A6-DCC5009713E2}"/>
              </a:ext>
            </a:extLst>
          </p:cNvPr>
          <p:cNvSpPr>
            <a:spLocks noGrp="1"/>
          </p:cNvSpPr>
          <p:nvPr>
            <p:ph type="body" idx="1"/>
          </p:nvPr>
        </p:nvSpPr>
        <p:spPr/>
        <p:txBody>
          <a:bodyPr/>
          <a:lstStyle/>
          <a:p>
            <a:endParaRPr lang="en-US" dirty="0"/>
          </a:p>
        </p:txBody>
      </p:sp>
      <p:sp>
        <p:nvSpPr>
          <p:cNvPr id="4" name="عنصر نائب لرقم الشريحة 3">
            <a:extLst>
              <a:ext uri="{FF2B5EF4-FFF2-40B4-BE49-F238E27FC236}">
                <a16:creationId xmlns:a16="http://schemas.microsoft.com/office/drawing/2014/main" id="{11D267B1-A11D-200F-6CFE-69B219ED7557}"/>
              </a:ext>
            </a:extLst>
          </p:cNvPr>
          <p:cNvSpPr>
            <a:spLocks noGrp="1"/>
          </p:cNvSpPr>
          <p:nvPr>
            <p:ph type="sldNum" sz="quarter" idx="5"/>
          </p:nvPr>
        </p:nvSpPr>
        <p:spPr/>
        <p:txBody>
          <a:bodyPr/>
          <a:lstStyle/>
          <a:p>
            <a:fld id="{8F190877-BB41-4A18-8BB0-AAD04EC0A889}" type="slidenum">
              <a:rPr lang="en-US" smtClean="0"/>
              <a:t>18</a:t>
            </a:fld>
            <a:endParaRPr lang="en-US"/>
          </a:p>
        </p:txBody>
      </p:sp>
    </p:spTree>
    <p:extLst>
      <p:ext uri="{BB962C8B-B14F-4D97-AF65-F5344CB8AC3E}">
        <p14:creationId xmlns:p14="http://schemas.microsoft.com/office/powerpoint/2010/main" val="40858863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722492-7501-6845-FF04-F9929E349EEB}"/>
            </a:ext>
          </a:extLst>
        </p:cNvPr>
        <p:cNvGrpSpPr/>
        <p:nvPr/>
      </p:nvGrpSpPr>
      <p:grpSpPr>
        <a:xfrm>
          <a:off x="0" y="0"/>
          <a:ext cx="0" cy="0"/>
          <a:chOff x="0" y="0"/>
          <a:chExt cx="0" cy="0"/>
        </a:xfrm>
      </p:grpSpPr>
      <p:sp>
        <p:nvSpPr>
          <p:cNvPr id="2" name="عنصر نائب لصورة الشريحة 1">
            <a:extLst>
              <a:ext uri="{FF2B5EF4-FFF2-40B4-BE49-F238E27FC236}">
                <a16:creationId xmlns:a16="http://schemas.microsoft.com/office/drawing/2014/main" id="{F7BED106-16F4-0FF8-4D68-C6139D82BCED}"/>
              </a:ext>
            </a:extLst>
          </p:cNvPr>
          <p:cNvSpPr>
            <a:spLocks noGrp="1" noRot="1" noChangeAspect="1"/>
          </p:cNvSpPr>
          <p:nvPr>
            <p:ph type="sldImg"/>
          </p:nvPr>
        </p:nvSpPr>
        <p:spPr/>
      </p:sp>
      <p:sp>
        <p:nvSpPr>
          <p:cNvPr id="3" name="عنصر نائب للملاحظات 2">
            <a:extLst>
              <a:ext uri="{FF2B5EF4-FFF2-40B4-BE49-F238E27FC236}">
                <a16:creationId xmlns:a16="http://schemas.microsoft.com/office/drawing/2014/main" id="{59A7D1DA-FA68-A5F9-5A38-0D2507BCF724}"/>
              </a:ext>
            </a:extLst>
          </p:cNvPr>
          <p:cNvSpPr>
            <a:spLocks noGrp="1"/>
          </p:cNvSpPr>
          <p:nvPr>
            <p:ph type="body" idx="1"/>
          </p:nvPr>
        </p:nvSpPr>
        <p:spPr/>
        <p:txBody>
          <a:bodyPr/>
          <a:lstStyle/>
          <a:p>
            <a:endParaRPr lang="en-US" dirty="0"/>
          </a:p>
        </p:txBody>
      </p:sp>
      <p:sp>
        <p:nvSpPr>
          <p:cNvPr id="4" name="عنصر نائب لرقم الشريحة 3">
            <a:extLst>
              <a:ext uri="{FF2B5EF4-FFF2-40B4-BE49-F238E27FC236}">
                <a16:creationId xmlns:a16="http://schemas.microsoft.com/office/drawing/2014/main" id="{A6460ABA-3B3F-579F-BFF4-01670521E0D6}"/>
              </a:ext>
            </a:extLst>
          </p:cNvPr>
          <p:cNvSpPr>
            <a:spLocks noGrp="1"/>
          </p:cNvSpPr>
          <p:nvPr>
            <p:ph type="sldNum" sz="quarter" idx="5"/>
          </p:nvPr>
        </p:nvSpPr>
        <p:spPr/>
        <p:txBody>
          <a:bodyPr/>
          <a:lstStyle/>
          <a:p>
            <a:fld id="{8F190877-BB41-4A18-8BB0-AAD04EC0A889}" type="slidenum">
              <a:rPr lang="en-US" smtClean="0"/>
              <a:t>19</a:t>
            </a:fld>
            <a:endParaRPr lang="en-US"/>
          </a:p>
        </p:txBody>
      </p:sp>
    </p:spTree>
    <p:extLst>
      <p:ext uri="{BB962C8B-B14F-4D97-AF65-F5344CB8AC3E}">
        <p14:creationId xmlns:p14="http://schemas.microsoft.com/office/powerpoint/2010/main" val="9865774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0FD080-F954-5177-0B38-EFB3B20BF87F}"/>
            </a:ext>
          </a:extLst>
        </p:cNvPr>
        <p:cNvGrpSpPr/>
        <p:nvPr/>
      </p:nvGrpSpPr>
      <p:grpSpPr>
        <a:xfrm>
          <a:off x="0" y="0"/>
          <a:ext cx="0" cy="0"/>
          <a:chOff x="0" y="0"/>
          <a:chExt cx="0" cy="0"/>
        </a:xfrm>
      </p:grpSpPr>
      <p:sp>
        <p:nvSpPr>
          <p:cNvPr id="2" name="عنصر نائب لصورة الشريحة 1">
            <a:extLst>
              <a:ext uri="{FF2B5EF4-FFF2-40B4-BE49-F238E27FC236}">
                <a16:creationId xmlns:a16="http://schemas.microsoft.com/office/drawing/2014/main" id="{0C11459C-AECA-E84B-54C2-154552A94906}"/>
              </a:ext>
            </a:extLst>
          </p:cNvPr>
          <p:cNvSpPr>
            <a:spLocks noGrp="1" noRot="1" noChangeAspect="1"/>
          </p:cNvSpPr>
          <p:nvPr>
            <p:ph type="sldImg"/>
          </p:nvPr>
        </p:nvSpPr>
        <p:spPr/>
      </p:sp>
      <p:sp>
        <p:nvSpPr>
          <p:cNvPr id="3" name="عنصر نائب للملاحظات 2">
            <a:extLst>
              <a:ext uri="{FF2B5EF4-FFF2-40B4-BE49-F238E27FC236}">
                <a16:creationId xmlns:a16="http://schemas.microsoft.com/office/drawing/2014/main" id="{CBD9DEC9-2129-1BA3-816A-1BAE81F1DA32}"/>
              </a:ext>
            </a:extLst>
          </p:cNvPr>
          <p:cNvSpPr>
            <a:spLocks noGrp="1"/>
          </p:cNvSpPr>
          <p:nvPr>
            <p:ph type="body" idx="1"/>
          </p:nvPr>
        </p:nvSpPr>
        <p:spPr/>
        <p:txBody>
          <a:bodyPr/>
          <a:lstStyle/>
          <a:p>
            <a:endParaRPr lang="en-US" dirty="0"/>
          </a:p>
        </p:txBody>
      </p:sp>
      <p:sp>
        <p:nvSpPr>
          <p:cNvPr id="4" name="عنصر نائب لرقم الشريحة 3">
            <a:extLst>
              <a:ext uri="{FF2B5EF4-FFF2-40B4-BE49-F238E27FC236}">
                <a16:creationId xmlns:a16="http://schemas.microsoft.com/office/drawing/2014/main" id="{9732E68E-4CE1-AE02-D6E4-88AF5002CF56}"/>
              </a:ext>
            </a:extLst>
          </p:cNvPr>
          <p:cNvSpPr>
            <a:spLocks noGrp="1"/>
          </p:cNvSpPr>
          <p:nvPr>
            <p:ph type="sldNum" sz="quarter" idx="5"/>
          </p:nvPr>
        </p:nvSpPr>
        <p:spPr/>
        <p:txBody>
          <a:bodyPr/>
          <a:lstStyle/>
          <a:p>
            <a:fld id="{8F190877-BB41-4A18-8BB0-AAD04EC0A889}" type="slidenum">
              <a:rPr lang="en-US" smtClean="0"/>
              <a:t>20</a:t>
            </a:fld>
            <a:endParaRPr lang="en-US"/>
          </a:p>
        </p:txBody>
      </p:sp>
    </p:spTree>
    <p:extLst>
      <p:ext uri="{BB962C8B-B14F-4D97-AF65-F5344CB8AC3E}">
        <p14:creationId xmlns:p14="http://schemas.microsoft.com/office/powerpoint/2010/main" val="34535692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6B1763-075A-3E34-8ADF-6A0CCCA83A25}"/>
            </a:ext>
          </a:extLst>
        </p:cNvPr>
        <p:cNvGrpSpPr/>
        <p:nvPr/>
      </p:nvGrpSpPr>
      <p:grpSpPr>
        <a:xfrm>
          <a:off x="0" y="0"/>
          <a:ext cx="0" cy="0"/>
          <a:chOff x="0" y="0"/>
          <a:chExt cx="0" cy="0"/>
        </a:xfrm>
      </p:grpSpPr>
      <p:sp>
        <p:nvSpPr>
          <p:cNvPr id="2" name="عنصر نائب لصورة الشريحة 1">
            <a:extLst>
              <a:ext uri="{FF2B5EF4-FFF2-40B4-BE49-F238E27FC236}">
                <a16:creationId xmlns:a16="http://schemas.microsoft.com/office/drawing/2014/main" id="{75C3CB67-7ADA-BA28-E986-7730A1A94920}"/>
              </a:ext>
            </a:extLst>
          </p:cNvPr>
          <p:cNvSpPr>
            <a:spLocks noGrp="1" noRot="1" noChangeAspect="1"/>
          </p:cNvSpPr>
          <p:nvPr>
            <p:ph type="sldImg"/>
          </p:nvPr>
        </p:nvSpPr>
        <p:spPr/>
      </p:sp>
      <p:sp>
        <p:nvSpPr>
          <p:cNvPr id="3" name="عنصر نائب للملاحظات 2">
            <a:extLst>
              <a:ext uri="{FF2B5EF4-FFF2-40B4-BE49-F238E27FC236}">
                <a16:creationId xmlns:a16="http://schemas.microsoft.com/office/drawing/2014/main" id="{3D5D7945-A208-0E8D-8A78-CD933EE2E3FF}"/>
              </a:ext>
            </a:extLst>
          </p:cNvPr>
          <p:cNvSpPr>
            <a:spLocks noGrp="1"/>
          </p:cNvSpPr>
          <p:nvPr>
            <p:ph type="body" idx="1"/>
          </p:nvPr>
        </p:nvSpPr>
        <p:spPr/>
        <p:txBody>
          <a:bodyPr/>
          <a:lstStyle/>
          <a:p>
            <a:endParaRPr lang="en-US" dirty="0"/>
          </a:p>
        </p:txBody>
      </p:sp>
      <p:sp>
        <p:nvSpPr>
          <p:cNvPr id="4" name="عنصر نائب لرقم الشريحة 3">
            <a:extLst>
              <a:ext uri="{FF2B5EF4-FFF2-40B4-BE49-F238E27FC236}">
                <a16:creationId xmlns:a16="http://schemas.microsoft.com/office/drawing/2014/main" id="{2FFCBDD8-1826-FE24-D915-9B650A141A9B}"/>
              </a:ext>
            </a:extLst>
          </p:cNvPr>
          <p:cNvSpPr>
            <a:spLocks noGrp="1"/>
          </p:cNvSpPr>
          <p:nvPr>
            <p:ph type="sldNum" sz="quarter" idx="5"/>
          </p:nvPr>
        </p:nvSpPr>
        <p:spPr/>
        <p:txBody>
          <a:bodyPr/>
          <a:lstStyle/>
          <a:p>
            <a:fld id="{8F190877-BB41-4A18-8BB0-AAD04EC0A889}" type="slidenum">
              <a:rPr lang="en-US" smtClean="0"/>
              <a:t>21</a:t>
            </a:fld>
            <a:endParaRPr lang="en-US"/>
          </a:p>
        </p:txBody>
      </p:sp>
    </p:spTree>
    <p:extLst>
      <p:ext uri="{BB962C8B-B14F-4D97-AF65-F5344CB8AC3E}">
        <p14:creationId xmlns:p14="http://schemas.microsoft.com/office/powerpoint/2010/main" val="37295923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E10355-7631-F4A0-C5FE-492390A6657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745132-895D-2D66-6156-33314A71AE70}"/>
              </a:ext>
            </a:extLst>
          </p:cNvPr>
          <p:cNvSpPr>
            <a:spLocks noGrp="1" noRot="1" noChangeAspect="1"/>
          </p:cNvSpPr>
          <p:nvPr>
            <p:ph type="sldImg"/>
          </p:nvPr>
        </p:nvSpPr>
        <p:spPr>
          <a:xfrm>
            <a:off x="382588" y="685800"/>
            <a:ext cx="6092825" cy="3429000"/>
          </a:xfrm>
        </p:spPr>
      </p:sp>
      <p:sp>
        <p:nvSpPr>
          <p:cNvPr id="3" name="Notes Placeholder 2">
            <a:extLst>
              <a:ext uri="{FF2B5EF4-FFF2-40B4-BE49-F238E27FC236}">
                <a16:creationId xmlns:a16="http://schemas.microsoft.com/office/drawing/2014/main" id="{D8F138E0-875A-3518-A6E3-BA230FCD08FD}"/>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3961440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568737-FD0A-358A-B09A-69954D8154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36BE2EB-80EC-AFBA-0A87-D3AD0EBE4832}"/>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2B2A3944-1B5F-1FEF-4263-DD37E2139CE0}"/>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7168642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5"/>
          </p:nvPr>
        </p:nvSpPr>
        <p:spPr/>
        <p:txBody>
          <a:bodyPr/>
          <a:lstStyle/>
          <a:p>
            <a:fld id="{8F190877-BB41-4A18-8BB0-AAD04EC0A889}" type="slidenum">
              <a:rPr lang="en-US" smtClean="0"/>
              <a:t>11</a:t>
            </a:fld>
            <a:endParaRPr lang="en-US"/>
          </a:p>
        </p:txBody>
      </p:sp>
    </p:spTree>
    <p:extLst>
      <p:ext uri="{BB962C8B-B14F-4D97-AF65-F5344CB8AC3E}">
        <p14:creationId xmlns:p14="http://schemas.microsoft.com/office/powerpoint/2010/main" val="18888584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0D9619-BAD9-64AC-128F-87F386A878D5}"/>
            </a:ext>
          </a:extLst>
        </p:cNvPr>
        <p:cNvGrpSpPr/>
        <p:nvPr/>
      </p:nvGrpSpPr>
      <p:grpSpPr>
        <a:xfrm>
          <a:off x="0" y="0"/>
          <a:ext cx="0" cy="0"/>
          <a:chOff x="0" y="0"/>
          <a:chExt cx="0" cy="0"/>
        </a:xfrm>
      </p:grpSpPr>
      <p:sp>
        <p:nvSpPr>
          <p:cNvPr id="2" name="عنصر نائب لصورة الشريحة 1">
            <a:extLst>
              <a:ext uri="{FF2B5EF4-FFF2-40B4-BE49-F238E27FC236}">
                <a16:creationId xmlns:a16="http://schemas.microsoft.com/office/drawing/2014/main" id="{82B8CD99-DE50-AF93-03B0-5928EFFE6954}"/>
              </a:ext>
            </a:extLst>
          </p:cNvPr>
          <p:cNvSpPr>
            <a:spLocks noGrp="1" noRot="1" noChangeAspect="1"/>
          </p:cNvSpPr>
          <p:nvPr>
            <p:ph type="sldImg"/>
          </p:nvPr>
        </p:nvSpPr>
        <p:spPr/>
      </p:sp>
      <p:sp>
        <p:nvSpPr>
          <p:cNvPr id="3" name="عنصر نائب للملاحظات 2">
            <a:extLst>
              <a:ext uri="{FF2B5EF4-FFF2-40B4-BE49-F238E27FC236}">
                <a16:creationId xmlns:a16="http://schemas.microsoft.com/office/drawing/2014/main" id="{EA8E1E74-B115-5AD8-10B1-50DB43B4F644}"/>
              </a:ext>
            </a:extLst>
          </p:cNvPr>
          <p:cNvSpPr>
            <a:spLocks noGrp="1"/>
          </p:cNvSpPr>
          <p:nvPr>
            <p:ph type="body" idx="1"/>
          </p:nvPr>
        </p:nvSpPr>
        <p:spPr/>
        <p:txBody>
          <a:bodyPr/>
          <a:lstStyle/>
          <a:p>
            <a:endParaRPr lang="en-US" dirty="0"/>
          </a:p>
        </p:txBody>
      </p:sp>
      <p:sp>
        <p:nvSpPr>
          <p:cNvPr id="4" name="عنصر نائب لرقم الشريحة 3">
            <a:extLst>
              <a:ext uri="{FF2B5EF4-FFF2-40B4-BE49-F238E27FC236}">
                <a16:creationId xmlns:a16="http://schemas.microsoft.com/office/drawing/2014/main" id="{342F36D8-33B8-7A3A-8364-5449941041AF}"/>
              </a:ext>
            </a:extLst>
          </p:cNvPr>
          <p:cNvSpPr>
            <a:spLocks noGrp="1"/>
          </p:cNvSpPr>
          <p:nvPr>
            <p:ph type="sldNum" sz="quarter" idx="5"/>
          </p:nvPr>
        </p:nvSpPr>
        <p:spPr/>
        <p:txBody>
          <a:bodyPr/>
          <a:lstStyle/>
          <a:p>
            <a:fld id="{8F190877-BB41-4A18-8BB0-AAD04EC0A889}" type="slidenum">
              <a:rPr lang="en-US" smtClean="0"/>
              <a:t>12</a:t>
            </a:fld>
            <a:endParaRPr lang="en-US"/>
          </a:p>
        </p:txBody>
      </p:sp>
    </p:spTree>
    <p:extLst>
      <p:ext uri="{BB962C8B-B14F-4D97-AF65-F5344CB8AC3E}">
        <p14:creationId xmlns:p14="http://schemas.microsoft.com/office/powerpoint/2010/main" val="376141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4D006E-5C61-E4A3-2233-6BB933E840CD}"/>
            </a:ext>
          </a:extLst>
        </p:cNvPr>
        <p:cNvGrpSpPr/>
        <p:nvPr/>
      </p:nvGrpSpPr>
      <p:grpSpPr>
        <a:xfrm>
          <a:off x="0" y="0"/>
          <a:ext cx="0" cy="0"/>
          <a:chOff x="0" y="0"/>
          <a:chExt cx="0" cy="0"/>
        </a:xfrm>
      </p:grpSpPr>
      <p:sp>
        <p:nvSpPr>
          <p:cNvPr id="2" name="عنصر نائب لصورة الشريحة 1">
            <a:extLst>
              <a:ext uri="{FF2B5EF4-FFF2-40B4-BE49-F238E27FC236}">
                <a16:creationId xmlns:a16="http://schemas.microsoft.com/office/drawing/2014/main" id="{98EB31D7-83AA-E88D-5BB0-69191136EC2D}"/>
              </a:ext>
            </a:extLst>
          </p:cNvPr>
          <p:cNvSpPr>
            <a:spLocks noGrp="1" noRot="1" noChangeAspect="1"/>
          </p:cNvSpPr>
          <p:nvPr>
            <p:ph type="sldImg"/>
          </p:nvPr>
        </p:nvSpPr>
        <p:spPr/>
      </p:sp>
      <p:sp>
        <p:nvSpPr>
          <p:cNvPr id="3" name="عنصر نائب للملاحظات 2">
            <a:extLst>
              <a:ext uri="{FF2B5EF4-FFF2-40B4-BE49-F238E27FC236}">
                <a16:creationId xmlns:a16="http://schemas.microsoft.com/office/drawing/2014/main" id="{2EF2A6A0-0B86-5EE2-2F51-D8FEF4008BAA}"/>
              </a:ext>
            </a:extLst>
          </p:cNvPr>
          <p:cNvSpPr>
            <a:spLocks noGrp="1"/>
          </p:cNvSpPr>
          <p:nvPr>
            <p:ph type="body" idx="1"/>
          </p:nvPr>
        </p:nvSpPr>
        <p:spPr/>
        <p:txBody>
          <a:bodyPr/>
          <a:lstStyle/>
          <a:p>
            <a:endParaRPr lang="en-US" dirty="0"/>
          </a:p>
        </p:txBody>
      </p:sp>
      <p:sp>
        <p:nvSpPr>
          <p:cNvPr id="4" name="عنصر نائب لرقم الشريحة 3">
            <a:extLst>
              <a:ext uri="{FF2B5EF4-FFF2-40B4-BE49-F238E27FC236}">
                <a16:creationId xmlns:a16="http://schemas.microsoft.com/office/drawing/2014/main" id="{7FEFB89A-54AD-B4E9-E49D-DAC134715F6E}"/>
              </a:ext>
            </a:extLst>
          </p:cNvPr>
          <p:cNvSpPr>
            <a:spLocks noGrp="1"/>
          </p:cNvSpPr>
          <p:nvPr>
            <p:ph type="sldNum" sz="quarter" idx="5"/>
          </p:nvPr>
        </p:nvSpPr>
        <p:spPr/>
        <p:txBody>
          <a:bodyPr/>
          <a:lstStyle/>
          <a:p>
            <a:fld id="{8F190877-BB41-4A18-8BB0-AAD04EC0A889}" type="slidenum">
              <a:rPr lang="en-US" smtClean="0"/>
              <a:t>13</a:t>
            </a:fld>
            <a:endParaRPr lang="en-US"/>
          </a:p>
        </p:txBody>
      </p:sp>
    </p:spTree>
    <p:extLst>
      <p:ext uri="{BB962C8B-B14F-4D97-AF65-F5344CB8AC3E}">
        <p14:creationId xmlns:p14="http://schemas.microsoft.com/office/powerpoint/2010/main" val="33672923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10D732-B5AE-909F-A0C2-1C99D34784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EE0582-68AA-2367-1A25-1EB2333AF5B8}"/>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7DE51A8E-C13C-D9F0-658B-7A783F126528}"/>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7494145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B2168B-FD2B-83E8-0C37-F09975529659}"/>
            </a:ext>
          </a:extLst>
        </p:cNvPr>
        <p:cNvGrpSpPr/>
        <p:nvPr/>
      </p:nvGrpSpPr>
      <p:grpSpPr>
        <a:xfrm>
          <a:off x="0" y="0"/>
          <a:ext cx="0" cy="0"/>
          <a:chOff x="0" y="0"/>
          <a:chExt cx="0" cy="0"/>
        </a:xfrm>
      </p:grpSpPr>
      <p:sp>
        <p:nvSpPr>
          <p:cNvPr id="2" name="عنصر نائب لصورة الشريحة 1">
            <a:extLst>
              <a:ext uri="{FF2B5EF4-FFF2-40B4-BE49-F238E27FC236}">
                <a16:creationId xmlns:a16="http://schemas.microsoft.com/office/drawing/2014/main" id="{55144BF8-3415-083B-A700-843A52736A23}"/>
              </a:ext>
            </a:extLst>
          </p:cNvPr>
          <p:cNvSpPr>
            <a:spLocks noGrp="1" noRot="1" noChangeAspect="1"/>
          </p:cNvSpPr>
          <p:nvPr>
            <p:ph type="sldImg"/>
          </p:nvPr>
        </p:nvSpPr>
        <p:spPr/>
      </p:sp>
      <p:sp>
        <p:nvSpPr>
          <p:cNvPr id="3" name="عنصر نائب للملاحظات 2">
            <a:extLst>
              <a:ext uri="{FF2B5EF4-FFF2-40B4-BE49-F238E27FC236}">
                <a16:creationId xmlns:a16="http://schemas.microsoft.com/office/drawing/2014/main" id="{E1C0440A-B798-EE0A-BEE4-4894BBA9D42C}"/>
              </a:ext>
            </a:extLst>
          </p:cNvPr>
          <p:cNvSpPr>
            <a:spLocks noGrp="1"/>
          </p:cNvSpPr>
          <p:nvPr>
            <p:ph type="body" idx="1"/>
          </p:nvPr>
        </p:nvSpPr>
        <p:spPr/>
        <p:txBody>
          <a:bodyPr/>
          <a:lstStyle/>
          <a:p>
            <a:endParaRPr lang="en-US" dirty="0"/>
          </a:p>
        </p:txBody>
      </p:sp>
      <p:sp>
        <p:nvSpPr>
          <p:cNvPr id="4" name="عنصر نائب لرقم الشريحة 3">
            <a:extLst>
              <a:ext uri="{FF2B5EF4-FFF2-40B4-BE49-F238E27FC236}">
                <a16:creationId xmlns:a16="http://schemas.microsoft.com/office/drawing/2014/main" id="{EFD19CAC-AF8F-20FD-643C-14F7A30BF350}"/>
              </a:ext>
            </a:extLst>
          </p:cNvPr>
          <p:cNvSpPr>
            <a:spLocks noGrp="1"/>
          </p:cNvSpPr>
          <p:nvPr>
            <p:ph type="sldNum" sz="quarter" idx="5"/>
          </p:nvPr>
        </p:nvSpPr>
        <p:spPr/>
        <p:txBody>
          <a:bodyPr/>
          <a:lstStyle/>
          <a:p>
            <a:fld id="{8F190877-BB41-4A18-8BB0-AAD04EC0A889}" type="slidenum">
              <a:rPr lang="en-US" smtClean="0"/>
              <a:t>15</a:t>
            </a:fld>
            <a:endParaRPr lang="en-US"/>
          </a:p>
        </p:txBody>
      </p:sp>
    </p:spTree>
    <p:extLst>
      <p:ext uri="{BB962C8B-B14F-4D97-AF65-F5344CB8AC3E}">
        <p14:creationId xmlns:p14="http://schemas.microsoft.com/office/powerpoint/2010/main" val="26117144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42A30A-1987-868B-5CAF-08A1697FD099}"/>
            </a:ext>
          </a:extLst>
        </p:cNvPr>
        <p:cNvGrpSpPr/>
        <p:nvPr/>
      </p:nvGrpSpPr>
      <p:grpSpPr>
        <a:xfrm>
          <a:off x="0" y="0"/>
          <a:ext cx="0" cy="0"/>
          <a:chOff x="0" y="0"/>
          <a:chExt cx="0" cy="0"/>
        </a:xfrm>
      </p:grpSpPr>
      <p:sp>
        <p:nvSpPr>
          <p:cNvPr id="2" name="عنصر نائب لصورة الشريحة 1">
            <a:extLst>
              <a:ext uri="{FF2B5EF4-FFF2-40B4-BE49-F238E27FC236}">
                <a16:creationId xmlns:a16="http://schemas.microsoft.com/office/drawing/2014/main" id="{9D070CC0-3F74-16A8-8F67-A0CCF1EBDEA7}"/>
              </a:ext>
            </a:extLst>
          </p:cNvPr>
          <p:cNvSpPr>
            <a:spLocks noGrp="1" noRot="1" noChangeAspect="1"/>
          </p:cNvSpPr>
          <p:nvPr>
            <p:ph type="sldImg"/>
          </p:nvPr>
        </p:nvSpPr>
        <p:spPr/>
      </p:sp>
      <p:sp>
        <p:nvSpPr>
          <p:cNvPr id="3" name="عنصر نائب للملاحظات 2">
            <a:extLst>
              <a:ext uri="{FF2B5EF4-FFF2-40B4-BE49-F238E27FC236}">
                <a16:creationId xmlns:a16="http://schemas.microsoft.com/office/drawing/2014/main" id="{BF3EFF1B-5C6F-3132-0FCE-37EC5527532C}"/>
              </a:ext>
            </a:extLst>
          </p:cNvPr>
          <p:cNvSpPr>
            <a:spLocks noGrp="1"/>
          </p:cNvSpPr>
          <p:nvPr>
            <p:ph type="body" idx="1"/>
          </p:nvPr>
        </p:nvSpPr>
        <p:spPr/>
        <p:txBody>
          <a:bodyPr/>
          <a:lstStyle/>
          <a:p>
            <a:endParaRPr lang="en-US" dirty="0"/>
          </a:p>
        </p:txBody>
      </p:sp>
      <p:sp>
        <p:nvSpPr>
          <p:cNvPr id="4" name="عنصر نائب لرقم الشريحة 3">
            <a:extLst>
              <a:ext uri="{FF2B5EF4-FFF2-40B4-BE49-F238E27FC236}">
                <a16:creationId xmlns:a16="http://schemas.microsoft.com/office/drawing/2014/main" id="{374E9950-7F11-B126-8B5C-B52712D94A9A}"/>
              </a:ext>
            </a:extLst>
          </p:cNvPr>
          <p:cNvSpPr>
            <a:spLocks noGrp="1"/>
          </p:cNvSpPr>
          <p:nvPr>
            <p:ph type="sldNum" sz="quarter" idx="5"/>
          </p:nvPr>
        </p:nvSpPr>
        <p:spPr/>
        <p:txBody>
          <a:bodyPr/>
          <a:lstStyle/>
          <a:p>
            <a:fld id="{8F190877-BB41-4A18-8BB0-AAD04EC0A889}" type="slidenum">
              <a:rPr lang="en-US" smtClean="0"/>
              <a:t>16</a:t>
            </a:fld>
            <a:endParaRPr lang="en-US"/>
          </a:p>
        </p:txBody>
      </p:sp>
    </p:spTree>
    <p:extLst>
      <p:ext uri="{BB962C8B-B14F-4D97-AF65-F5344CB8AC3E}">
        <p14:creationId xmlns:p14="http://schemas.microsoft.com/office/powerpoint/2010/main" val="15863646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20895D-9777-43CB-1365-4410FC6D3E0B}"/>
            </a:ext>
          </a:extLst>
        </p:cNvPr>
        <p:cNvGrpSpPr/>
        <p:nvPr/>
      </p:nvGrpSpPr>
      <p:grpSpPr>
        <a:xfrm>
          <a:off x="0" y="0"/>
          <a:ext cx="0" cy="0"/>
          <a:chOff x="0" y="0"/>
          <a:chExt cx="0" cy="0"/>
        </a:xfrm>
      </p:grpSpPr>
      <p:sp>
        <p:nvSpPr>
          <p:cNvPr id="2" name="عنصر نائب لصورة الشريحة 1">
            <a:extLst>
              <a:ext uri="{FF2B5EF4-FFF2-40B4-BE49-F238E27FC236}">
                <a16:creationId xmlns:a16="http://schemas.microsoft.com/office/drawing/2014/main" id="{5AFE55DA-E165-D6C3-496D-0253D775091E}"/>
              </a:ext>
            </a:extLst>
          </p:cNvPr>
          <p:cNvSpPr>
            <a:spLocks noGrp="1" noRot="1" noChangeAspect="1"/>
          </p:cNvSpPr>
          <p:nvPr>
            <p:ph type="sldImg"/>
          </p:nvPr>
        </p:nvSpPr>
        <p:spPr/>
      </p:sp>
      <p:sp>
        <p:nvSpPr>
          <p:cNvPr id="3" name="عنصر نائب للملاحظات 2">
            <a:extLst>
              <a:ext uri="{FF2B5EF4-FFF2-40B4-BE49-F238E27FC236}">
                <a16:creationId xmlns:a16="http://schemas.microsoft.com/office/drawing/2014/main" id="{2A01381E-B48B-4FC0-C16A-F16AB9FC6C57}"/>
              </a:ext>
            </a:extLst>
          </p:cNvPr>
          <p:cNvSpPr>
            <a:spLocks noGrp="1"/>
          </p:cNvSpPr>
          <p:nvPr>
            <p:ph type="body" idx="1"/>
          </p:nvPr>
        </p:nvSpPr>
        <p:spPr/>
        <p:txBody>
          <a:bodyPr/>
          <a:lstStyle/>
          <a:p>
            <a:endParaRPr lang="en-US" dirty="0"/>
          </a:p>
        </p:txBody>
      </p:sp>
      <p:sp>
        <p:nvSpPr>
          <p:cNvPr id="4" name="عنصر نائب لرقم الشريحة 3">
            <a:extLst>
              <a:ext uri="{FF2B5EF4-FFF2-40B4-BE49-F238E27FC236}">
                <a16:creationId xmlns:a16="http://schemas.microsoft.com/office/drawing/2014/main" id="{8594E077-848D-9743-140F-1BCC69A70F6A}"/>
              </a:ext>
            </a:extLst>
          </p:cNvPr>
          <p:cNvSpPr>
            <a:spLocks noGrp="1"/>
          </p:cNvSpPr>
          <p:nvPr>
            <p:ph type="sldNum" sz="quarter" idx="5"/>
          </p:nvPr>
        </p:nvSpPr>
        <p:spPr/>
        <p:txBody>
          <a:bodyPr/>
          <a:lstStyle/>
          <a:p>
            <a:fld id="{8F190877-BB41-4A18-8BB0-AAD04EC0A889}" type="slidenum">
              <a:rPr lang="en-US" smtClean="0"/>
              <a:t>17</a:t>
            </a:fld>
            <a:endParaRPr lang="en-US"/>
          </a:p>
        </p:txBody>
      </p:sp>
    </p:spTree>
    <p:extLst>
      <p:ext uri="{BB962C8B-B14F-4D97-AF65-F5344CB8AC3E}">
        <p14:creationId xmlns:p14="http://schemas.microsoft.com/office/powerpoint/2010/main" val="5532633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2.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2.x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image" Target="../media/image2.emf"/></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oleObject" Target="../embeddings/oleObject3.bin"/><Relationship Id="rId7"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3.xml"/><Relationship Id="rId6" Type="http://schemas.microsoft.com/office/2007/relationships/hdphoto" Target="../media/hdphoto1.wdp"/><Relationship Id="rId5" Type="http://schemas.openxmlformats.org/officeDocument/2006/relationships/image" Target="../media/image8.png"/><Relationship Id="rId4" Type="http://schemas.openxmlformats.org/officeDocument/2006/relationships/image" Target="../media/image2.emf"/><Relationship Id="rId9" Type="http://schemas.openxmlformats.org/officeDocument/2006/relationships/image" Target="../media/image1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01V1">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A8251DF6-5AD2-ACA8-5899-43F743C66417}"/>
              </a:ext>
            </a:extLst>
          </p:cNvPr>
          <p:cNvSpPr/>
          <p:nvPr userDrawn="1"/>
        </p:nvSpPr>
        <p:spPr>
          <a:xfrm>
            <a:off x="0" y="-1"/>
            <a:ext cx="12192000" cy="3086019"/>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Picture Placeholder 11">
            <a:extLst>
              <a:ext uri="{FF2B5EF4-FFF2-40B4-BE49-F238E27FC236}">
                <a16:creationId xmlns:a16="http://schemas.microsoft.com/office/drawing/2014/main" id="{1C3C0C18-3CFA-482C-8E5E-2A541D4A1BFF}"/>
              </a:ext>
            </a:extLst>
          </p:cNvPr>
          <p:cNvSpPr>
            <a:spLocks noGrp="1"/>
          </p:cNvSpPr>
          <p:nvPr>
            <p:ph type="pic" sz="quarter" idx="10"/>
          </p:nvPr>
        </p:nvSpPr>
        <p:spPr>
          <a:xfrm>
            <a:off x="0" y="0"/>
            <a:ext cx="12192000" cy="2968542"/>
          </a:xfrm>
          <a:prstGeom prst="rect">
            <a:avLst/>
          </a:prstGeom>
          <a:solidFill>
            <a:schemeClr val="accent2">
              <a:lumMod val="20000"/>
              <a:lumOff val="80000"/>
            </a:schemeClr>
          </a:solidFill>
        </p:spPr>
        <p:txBody>
          <a:bodyPr anchor="ctr">
            <a:normAutofit/>
          </a:bodyPr>
          <a:lstStyle>
            <a:lvl1pPr marL="0" indent="0" algn="ctr">
              <a:buNone/>
              <a:defRPr sz="1333"/>
            </a:lvl1pPr>
          </a:lstStyle>
          <a:p>
            <a:endParaRPr lang="en-ID"/>
          </a:p>
        </p:txBody>
      </p:sp>
      <p:sp>
        <p:nvSpPr>
          <p:cNvPr id="30" name="Text Placeholder 29">
            <a:extLst>
              <a:ext uri="{FF2B5EF4-FFF2-40B4-BE49-F238E27FC236}">
                <a16:creationId xmlns:a16="http://schemas.microsoft.com/office/drawing/2014/main" id="{B67530F7-C043-4F2D-AA58-B8F8D1238C27}"/>
              </a:ext>
            </a:extLst>
          </p:cNvPr>
          <p:cNvSpPr>
            <a:spLocks noGrp="1"/>
          </p:cNvSpPr>
          <p:nvPr>
            <p:ph type="body" sz="quarter" idx="14"/>
          </p:nvPr>
        </p:nvSpPr>
        <p:spPr>
          <a:xfrm>
            <a:off x="731446" y="5359155"/>
            <a:ext cx="5074268" cy="707816"/>
          </a:xfrm>
          <a:prstGeom prst="rect">
            <a:avLst/>
          </a:prstGeom>
        </p:spPr>
        <p:txBody>
          <a:bodyPr>
            <a:noAutofit/>
          </a:bodyPr>
          <a:lstStyle>
            <a:lvl1pPr marL="0" indent="0">
              <a:buNone/>
              <a:defRPr sz="18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4" name="Title 2">
            <a:extLst>
              <a:ext uri="{FF2B5EF4-FFF2-40B4-BE49-F238E27FC236}">
                <a16:creationId xmlns:a16="http://schemas.microsoft.com/office/drawing/2014/main" id="{6A0E0A3C-AF5E-BB75-6F0A-2D22B84E67BC}"/>
              </a:ext>
            </a:extLst>
          </p:cNvPr>
          <p:cNvSpPr>
            <a:spLocks noGrp="1"/>
          </p:cNvSpPr>
          <p:nvPr>
            <p:ph type="ctrTitle"/>
          </p:nvPr>
        </p:nvSpPr>
        <p:spPr>
          <a:xfrm>
            <a:off x="731446" y="3429001"/>
            <a:ext cx="10873179" cy="1753090"/>
          </a:xfrm>
        </p:spPr>
        <p:txBody>
          <a:bodyPr anchor="b">
            <a:noAutofit/>
          </a:bodyPr>
          <a:lstStyle>
            <a:lvl1pPr>
              <a:defRPr sz="5400">
                <a:solidFill>
                  <a:schemeClr val="tx1"/>
                </a:solidFill>
              </a:defRPr>
            </a:lvl1pPr>
          </a:lstStyle>
          <a:p>
            <a:endParaRPr lang="en-GB" dirty="0"/>
          </a:p>
        </p:txBody>
      </p:sp>
      <p:cxnSp>
        <p:nvCxnSpPr>
          <p:cNvPr id="6" name="Straight Connector 5">
            <a:extLst>
              <a:ext uri="{FF2B5EF4-FFF2-40B4-BE49-F238E27FC236}">
                <a16:creationId xmlns:a16="http://schemas.microsoft.com/office/drawing/2014/main" id="{41692765-6536-09AA-A0BF-2358E9E5BE5F}"/>
              </a:ext>
            </a:extLst>
          </p:cNvPr>
          <p:cNvCxnSpPr/>
          <p:nvPr userDrawn="1"/>
        </p:nvCxnSpPr>
        <p:spPr>
          <a:xfrm>
            <a:off x="587375" y="3429000"/>
            <a:ext cx="0" cy="1753091"/>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Text Placeholder 29">
            <a:extLst>
              <a:ext uri="{FF2B5EF4-FFF2-40B4-BE49-F238E27FC236}">
                <a16:creationId xmlns:a16="http://schemas.microsoft.com/office/drawing/2014/main" id="{73E0654F-4709-9928-E09F-2A00AF8174F2}"/>
              </a:ext>
            </a:extLst>
          </p:cNvPr>
          <p:cNvSpPr>
            <a:spLocks noGrp="1"/>
          </p:cNvSpPr>
          <p:nvPr>
            <p:ph type="body" sz="quarter" idx="15"/>
          </p:nvPr>
        </p:nvSpPr>
        <p:spPr>
          <a:xfrm>
            <a:off x="6229350" y="5359155"/>
            <a:ext cx="5375274" cy="707816"/>
          </a:xfrm>
          <a:prstGeom prst="rect">
            <a:avLst/>
          </a:prstGeom>
        </p:spPr>
        <p:txBody>
          <a:bodyPr>
            <a:noAutofit/>
          </a:bodyPr>
          <a:lstStyle>
            <a:lvl1pPr marL="0" indent="0">
              <a:buNone/>
              <a:defRPr sz="18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9" name="Slide Number Placeholder 5">
            <a:extLst>
              <a:ext uri="{FF2B5EF4-FFF2-40B4-BE49-F238E27FC236}">
                <a16:creationId xmlns:a16="http://schemas.microsoft.com/office/drawing/2014/main" id="{4FE027D9-E8BA-AB34-D226-FB323E4044D4}"/>
              </a:ext>
            </a:extLst>
          </p:cNvPr>
          <p:cNvSpPr>
            <a:spLocks noGrp="1"/>
          </p:cNvSpPr>
          <p:nvPr>
            <p:ph type="sldNum" sz="quarter" idx="4"/>
          </p:nvPr>
        </p:nvSpPr>
        <p:spPr>
          <a:xfrm>
            <a:off x="11058525" y="6409951"/>
            <a:ext cx="546100" cy="273799"/>
          </a:xfrm>
          <a:prstGeom prst="rect">
            <a:avLst/>
          </a:prstGeom>
        </p:spPr>
        <p:txBody>
          <a:bodyPr vert="horz" lIns="91440" tIns="45720" rIns="91440" bIns="45720" rtlCol="0" anchor="b"/>
          <a:lstStyle>
            <a:lvl1pPr algn="r">
              <a:defRPr sz="1200">
                <a:solidFill>
                  <a:schemeClr val="tx1"/>
                </a:solidFill>
                <a:latin typeface="+mn-lt"/>
              </a:defRPr>
            </a:lvl1pPr>
          </a:lstStyle>
          <a:p>
            <a:fld id="{5E0C3BBE-9543-48E5-A6E1-C646F9A01966}" type="slidenum">
              <a:rPr lang="en-ID" smtClean="0"/>
              <a:pPr/>
              <a:t>‹#›</a:t>
            </a:fld>
            <a:endParaRPr lang="en-ID" dirty="0"/>
          </a:p>
        </p:txBody>
      </p:sp>
      <p:sp>
        <p:nvSpPr>
          <p:cNvPr id="10" name="Footer Placeholder 4">
            <a:extLst>
              <a:ext uri="{FF2B5EF4-FFF2-40B4-BE49-F238E27FC236}">
                <a16:creationId xmlns:a16="http://schemas.microsoft.com/office/drawing/2014/main" id="{C0D6385D-654E-DC48-400B-090D33BE7FAD}"/>
              </a:ext>
            </a:extLst>
          </p:cNvPr>
          <p:cNvSpPr>
            <a:spLocks noGrp="1"/>
          </p:cNvSpPr>
          <p:nvPr>
            <p:ph type="ftr" sz="quarter" idx="3"/>
          </p:nvPr>
        </p:nvSpPr>
        <p:spPr>
          <a:xfrm>
            <a:off x="584200" y="6364288"/>
            <a:ext cx="5511800" cy="365125"/>
          </a:xfrm>
          <a:prstGeom prst="rect">
            <a:avLst/>
          </a:prstGeom>
        </p:spPr>
        <p:txBody>
          <a:bodyPr vert="horz" lIns="91440" tIns="45720" rIns="91440" bIns="45720" rtlCol="0" anchor="ctr"/>
          <a:lstStyle>
            <a:lvl1pPr algn="l">
              <a:defRPr lang="en-GB" sz="1200">
                <a:solidFill>
                  <a:schemeClr val="tx1"/>
                </a:solidFill>
              </a:defRPr>
            </a:lvl1pPr>
          </a:lstStyle>
          <a:p>
            <a:r>
              <a:rPr lang="en-US" dirty="0"/>
              <a:t>PRESENTATION TITLE</a:t>
            </a:r>
          </a:p>
        </p:txBody>
      </p:sp>
      <p:sp>
        <p:nvSpPr>
          <p:cNvPr id="16" name="Rectangle 15">
            <a:extLst>
              <a:ext uri="{FF2B5EF4-FFF2-40B4-BE49-F238E27FC236}">
                <a16:creationId xmlns:a16="http://schemas.microsoft.com/office/drawing/2014/main" id="{84ACAE9F-16AE-335B-D01B-39C3752803F0}"/>
              </a:ext>
            </a:extLst>
          </p:cNvPr>
          <p:cNvSpPr/>
          <p:nvPr userDrawn="1"/>
        </p:nvSpPr>
        <p:spPr>
          <a:xfrm rot="5400000">
            <a:off x="6037262" y="2074784"/>
            <a:ext cx="117475" cy="1904998"/>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282473331"/>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ummary S04V2">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752E3F75-A181-1CEF-4892-A00A828F0DEC}"/>
              </a:ext>
            </a:extLst>
          </p:cNvPr>
          <p:cNvSpPr>
            <a:spLocks noGrp="1"/>
          </p:cNvSpPr>
          <p:nvPr>
            <p:ph type="sldNum" sz="quarter" idx="4"/>
          </p:nvPr>
        </p:nvSpPr>
        <p:spPr>
          <a:xfrm>
            <a:off x="11058525" y="6409951"/>
            <a:ext cx="546100" cy="273799"/>
          </a:xfrm>
          <a:prstGeom prst="rect">
            <a:avLst/>
          </a:prstGeom>
        </p:spPr>
        <p:txBody>
          <a:bodyPr vert="horz" lIns="91440" tIns="45720" rIns="91440" bIns="45720" rtlCol="0" anchor="b"/>
          <a:lstStyle>
            <a:lvl1pPr algn="r">
              <a:defRPr sz="1200">
                <a:solidFill>
                  <a:schemeClr val="accent4"/>
                </a:solidFill>
                <a:latin typeface="+mn-lt"/>
              </a:defRPr>
            </a:lvl1pPr>
          </a:lstStyle>
          <a:p>
            <a:fld id="{5E0C3BBE-9543-48E5-A6E1-C646F9A01966}" type="slidenum">
              <a:rPr lang="en-ID" smtClean="0"/>
              <a:pPr/>
              <a:t>‹#›</a:t>
            </a:fld>
            <a:endParaRPr lang="en-ID" dirty="0"/>
          </a:p>
        </p:txBody>
      </p:sp>
      <p:sp>
        <p:nvSpPr>
          <p:cNvPr id="21" name="Footer Placeholder 4">
            <a:extLst>
              <a:ext uri="{FF2B5EF4-FFF2-40B4-BE49-F238E27FC236}">
                <a16:creationId xmlns:a16="http://schemas.microsoft.com/office/drawing/2014/main" id="{FC465D62-3382-034B-3BC4-9FA6DDBCBF3D}"/>
              </a:ext>
            </a:extLst>
          </p:cNvPr>
          <p:cNvSpPr>
            <a:spLocks noGrp="1"/>
          </p:cNvSpPr>
          <p:nvPr>
            <p:ph type="ftr" sz="quarter" idx="3"/>
          </p:nvPr>
        </p:nvSpPr>
        <p:spPr>
          <a:xfrm>
            <a:off x="584200" y="6364288"/>
            <a:ext cx="5511800" cy="365125"/>
          </a:xfrm>
          <a:prstGeom prst="rect">
            <a:avLst/>
          </a:prstGeom>
        </p:spPr>
        <p:txBody>
          <a:bodyPr vert="horz" lIns="91440" tIns="45720" rIns="91440" bIns="45720" rtlCol="0" anchor="ctr"/>
          <a:lstStyle>
            <a:lvl1pPr algn="l">
              <a:defRPr lang="en-GB" sz="1200">
                <a:solidFill>
                  <a:schemeClr val="accent4"/>
                </a:solidFill>
              </a:defRPr>
            </a:lvl1pPr>
          </a:lstStyle>
          <a:p>
            <a:r>
              <a:rPr lang="en-US"/>
              <a:t>PRESENTATION TITLE</a:t>
            </a:r>
            <a:endParaRPr lang="en-US" dirty="0"/>
          </a:p>
        </p:txBody>
      </p:sp>
      <p:sp>
        <p:nvSpPr>
          <p:cNvPr id="27" name="Text Placeholder 16">
            <a:extLst>
              <a:ext uri="{FF2B5EF4-FFF2-40B4-BE49-F238E27FC236}">
                <a16:creationId xmlns:a16="http://schemas.microsoft.com/office/drawing/2014/main" id="{0FFB1B8D-7AAD-0B62-F76D-6964122D4631}"/>
              </a:ext>
            </a:extLst>
          </p:cNvPr>
          <p:cNvSpPr>
            <a:spLocks noGrp="1"/>
          </p:cNvSpPr>
          <p:nvPr>
            <p:ph type="body" sz="quarter" idx="41" hasCustomPrompt="1"/>
          </p:nvPr>
        </p:nvSpPr>
        <p:spPr>
          <a:xfrm>
            <a:off x="905278" y="2090857"/>
            <a:ext cx="64295" cy="474980"/>
          </a:xfrm>
          <a:custGeom>
            <a:avLst/>
            <a:gdLst>
              <a:gd name="connsiteX0" fmla="*/ 0 w 64295"/>
              <a:gd name="connsiteY0" fmla="*/ 0 h 474980"/>
              <a:gd name="connsiteX1" fmla="*/ 64295 w 64295"/>
              <a:gd name="connsiteY1" fmla="*/ 0 h 474980"/>
              <a:gd name="connsiteX2" fmla="*/ 64295 w 64295"/>
              <a:gd name="connsiteY2" fmla="*/ 474980 h 474980"/>
              <a:gd name="connsiteX3" fmla="*/ 0 w 64295"/>
              <a:gd name="connsiteY3" fmla="*/ 474980 h 474980"/>
            </a:gdLst>
            <a:ahLst/>
            <a:cxnLst>
              <a:cxn ang="0">
                <a:pos x="connsiteX0" y="connsiteY0"/>
              </a:cxn>
              <a:cxn ang="0">
                <a:pos x="connsiteX1" y="connsiteY1"/>
              </a:cxn>
              <a:cxn ang="0">
                <a:pos x="connsiteX2" y="connsiteY2"/>
              </a:cxn>
              <a:cxn ang="0">
                <a:pos x="connsiteX3" y="connsiteY3"/>
              </a:cxn>
            </a:cxnLst>
            <a:rect l="l" t="t" r="r" b="b"/>
            <a:pathLst>
              <a:path w="64295" h="474980">
                <a:moveTo>
                  <a:pt x="0" y="0"/>
                </a:moveTo>
                <a:lnTo>
                  <a:pt x="64295" y="0"/>
                </a:lnTo>
                <a:lnTo>
                  <a:pt x="64295" y="474980"/>
                </a:lnTo>
                <a:lnTo>
                  <a:pt x="0" y="474980"/>
                </a:lnTo>
                <a:close/>
              </a:path>
            </a:pathLst>
          </a:custGeom>
          <a:solidFill>
            <a:schemeClr val="accent3"/>
          </a:solidFill>
        </p:spPr>
        <p:txBody>
          <a:bodyPr wrap="square" tIns="0" bIns="0" anchor="ctr">
            <a:noAutofit/>
          </a:bodyPr>
          <a:lstStyle>
            <a:lvl1pPr marL="0" indent="0">
              <a:buNone/>
              <a:defRPr sz="1000" b="1">
                <a:solidFill>
                  <a:schemeClr val="accent4">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28" name="Text Placeholder 29">
            <a:extLst>
              <a:ext uri="{FF2B5EF4-FFF2-40B4-BE49-F238E27FC236}">
                <a16:creationId xmlns:a16="http://schemas.microsoft.com/office/drawing/2014/main" id="{C8B15BD3-2A3F-B505-D2C1-0332B340314E}"/>
              </a:ext>
            </a:extLst>
          </p:cNvPr>
          <p:cNvSpPr>
            <a:spLocks noGrp="1"/>
          </p:cNvSpPr>
          <p:nvPr>
            <p:ph type="body" sz="quarter" idx="42"/>
          </p:nvPr>
        </p:nvSpPr>
        <p:spPr>
          <a:xfrm>
            <a:off x="1052513" y="2024817"/>
            <a:ext cx="10552112" cy="607060"/>
          </a:xfrm>
          <a:prstGeom prst="rect">
            <a:avLst/>
          </a:prstGeom>
        </p:spPr>
        <p:txBody>
          <a:bodyPr tIns="0" bIns="0" anchor="ctr">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37" name="Rectangle 36">
            <a:extLst>
              <a:ext uri="{FF2B5EF4-FFF2-40B4-BE49-F238E27FC236}">
                <a16:creationId xmlns:a16="http://schemas.microsoft.com/office/drawing/2014/main" id="{EB6055E9-E6F7-641B-80FB-0B939D173EF4}"/>
              </a:ext>
            </a:extLst>
          </p:cNvPr>
          <p:cNvSpPr/>
          <p:nvPr userDrawn="1"/>
        </p:nvSpPr>
        <p:spPr>
          <a:xfrm>
            <a:off x="587374" y="593363"/>
            <a:ext cx="11604625" cy="1066978"/>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8" name="Title 1">
            <a:extLst>
              <a:ext uri="{FF2B5EF4-FFF2-40B4-BE49-F238E27FC236}">
                <a16:creationId xmlns:a16="http://schemas.microsoft.com/office/drawing/2014/main" id="{A830DC25-802B-19A0-E4B3-1D633449CFAA}"/>
              </a:ext>
            </a:extLst>
          </p:cNvPr>
          <p:cNvSpPr>
            <a:spLocks noGrp="1"/>
          </p:cNvSpPr>
          <p:nvPr>
            <p:ph type="title" hasCustomPrompt="1"/>
          </p:nvPr>
        </p:nvSpPr>
        <p:spPr>
          <a:xfrm>
            <a:off x="905278" y="678193"/>
            <a:ext cx="10699347" cy="897319"/>
          </a:xfrm>
        </p:spPr>
        <p:txBody>
          <a:bodyPr anchor="ctr">
            <a:noAutofit/>
          </a:bodyPr>
          <a:lstStyle>
            <a:lvl1pPr>
              <a:defRPr>
                <a:solidFill>
                  <a:srgbClr val="FFFFFF"/>
                </a:solidFill>
              </a:defRPr>
            </a:lvl1pPr>
          </a:lstStyle>
          <a:p>
            <a:r>
              <a:rPr lang="en-US" dirty="0"/>
              <a:t>Click to edit Master text</a:t>
            </a:r>
            <a:endParaRPr lang="en-ID" dirty="0"/>
          </a:p>
        </p:txBody>
      </p:sp>
      <p:cxnSp>
        <p:nvCxnSpPr>
          <p:cNvPr id="39" name="Straight Connector 38">
            <a:extLst>
              <a:ext uri="{FF2B5EF4-FFF2-40B4-BE49-F238E27FC236}">
                <a16:creationId xmlns:a16="http://schemas.microsoft.com/office/drawing/2014/main" id="{0990EA30-774B-C58A-0F2E-BA47E1EB0D86}"/>
              </a:ext>
            </a:extLst>
          </p:cNvPr>
          <p:cNvCxnSpPr>
            <a:cxnSpLocks/>
          </p:cNvCxnSpPr>
          <p:nvPr userDrawn="1"/>
        </p:nvCxnSpPr>
        <p:spPr>
          <a:xfrm>
            <a:off x="761210" y="678193"/>
            <a:ext cx="0" cy="897319"/>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42" name="Text Placeholder 16">
            <a:extLst>
              <a:ext uri="{FF2B5EF4-FFF2-40B4-BE49-F238E27FC236}">
                <a16:creationId xmlns:a16="http://schemas.microsoft.com/office/drawing/2014/main" id="{639F1C6C-BB59-58E7-1E81-91812893CE70}"/>
              </a:ext>
            </a:extLst>
          </p:cNvPr>
          <p:cNvSpPr>
            <a:spLocks noGrp="1"/>
          </p:cNvSpPr>
          <p:nvPr>
            <p:ph type="body" sz="quarter" idx="43" hasCustomPrompt="1"/>
          </p:nvPr>
        </p:nvSpPr>
        <p:spPr>
          <a:xfrm>
            <a:off x="905278" y="2921425"/>
            <a:ext cx="64295" cy="474980"/>
          </a:xfrm>
          <a:custGeom>
            <a:avLst/>
            <a:gdLst>
              <a:gd name="connsiteX0" fmla="*/ 0 w 64295"/>
              <a:gd name="connsiteY0" fmla="*/ 0 h 474980"/>
              <a:gd name="connsiteX1" fmla="*/ 64295 w 64295"/>
              <a:gd name="connsiteY1" fmla="*/ 0 h 474980"/>
              <a:gd name="connsiteX2" fmla="*/ 64295 w 64295"/>
              <a:gd name="connsiteY2" fmla="*/ 474980 h 474980"/>
              <a:gd name="connsiteX3" fmla="*/ 0 w 64295"/>
              <a:gd name="connsiteY3" fmla="*/ 474980 h 474980"/>
            </a:gdLst>
            <a:ahLst/>
            <a:cxnLst>
              <a:cxn ang="0">
                <a:pos x="connsiteX0" y="connsiteY0"/>
              </a:cxn>
              <a:cxn ang="0">
                <a:pos x="connsiteX1" y="connsiteY1"/>
              </a:cxn>
              <a:cxn ang="0">
                <a:pos x="connsiteX2" y="connsiteY2"/>
              </a:cxn>
              <a:cxn ang="0">
                <a:pos x="connsiteX3" y="connsiteY3"/>
              </a:cxn>
            </a:cxnLst>
            <a:rect l="l" t="t" r="r" b="b"/>
            <a:pathLst>
              <a:path w="64295" h="474980">
                <a:moveTo>
                  <a:pt x="0" y="0"/>
                </a:moveTo>
                <a:lnTo>
                  <a:pt x="64295" y="0"/>
                </a:lnTo>
                <a:lnTo>
                  <a:pt x="64295" y="474980"/>
                </a:lnTo>
                <a:lnTo>
                  <a:pt x="0" y="474980"/>
                </a:lnTo>
                <a:close/>
              </a:path>
            </a:pathLst>
          </a:custGeom>
          <a:solidFill>
            <a:schemeClr val="accent3"/>
          </a:solidFill>
        </p:spPr>
        <p:txBody>
          <a:bodyPr wrap="square" tIns="0" bIns="0" anchor="ctr">
            <a:noAutofit/>
          </a:bodyPr>
          <a:lstStyle>
            <a:lvl1pPr marL="0" indent="0">
              <a:buNone/>
              <a:defRPr sz="1000" b="1">
                <a:solidFill>
                  <a:schemeClr val="accent4">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43" name="Text Placeholder 29">
            <a:extLst>
              <a:ext uri="{FF2B5EF4-FFF2-40B4-BE49-F238E27FC236}">
                <a16:creationId xmlns:a16="http://schemas.microsoft.com/office/drawing/2014/main" id="{2527CCD0-482E-202A-43B0-D766A243E650}"/>
              </a:ext>
            </a:extLst>
          </p:cNvPr>
          <p:cNvSpPr>
            <a:spLocks noGrp="1"/>
          </p:cNvSpPr>
          <p:nvPr>
            <p:ph type="body" sz="quarter" idx="44"/>
          </p:nvPr>
        </p:nvSpPr>
        <p:spPr>
          <a:xfrm>
            <a:off x="1052513" y="2855385"/>
            <a:ext cx="10552112" cy="607060"/>
          </a:xfrm>
          <a:prstGeom prst="rect">
            <a:avLst/>
          </a:prstGeom>
        </p:spPr>
        <p:txBody>
          <a:bodyPr tIns="0" bIns="0" anchor="ctr">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44" name="Text Placeholder 16">
            <a:extLst>
              <a:ext uri="{FF2B5EF4-FFF2-40B4-BE49-F238E27FC236}">
                <a16:creationId xmlns:a16="http://schemas.microsoft.com/office/drawing/2014/main" id="{74587298-4FAA-6464-EA9C-B59BE403C60E}"/>
              </a:ext>
            </a:extLst>
          </p:cNvPr>
          <p:cNvSpPr>
            <a:spLocks noGrp="1"/>
          </p:cNvSpPr>
          <p:nvPr>
            <p:ph type="body" sz="quarter" idx="45" hasCustomPrompt="1"/>
          </p:nvPr>
        </p:nvSpPr>
        <p:spPr>
          <a:xfrm>
            <a:off x="905278" y="3751993"/>
            <a:ext cx="64295" cy="474980"/>
          </a:xfrm>
          <a:custGeom>
            <a:avLst/>
            <a:gdLst>
              <a:gd name="connsiteX0" fmla="*/ 0 w 64295"/>
              <a:gd name="connsiteY0" fmla="*/ 0 h 474980"/>
              <a:gd name="connsiteX1" fmla="*/ 64295 w 64295"/>
              <a:gd name="connsiteY1" fmla="*/ 0 h 474980"/>
              <a:gd name="connsiteX2" fmla="*/ 64295 w 64295"/>
              <a:gd name="connsiteY2" fmla="*/ 474980 h 474980"/>
              <a:gd name="connsiteX3" fmla="*/ 0 w 64295"/>
              <a:gd name="connsiteY3" fmla="*/ 474980 h 474980"/>
            </a:gdLst>
            <a:ahLst/>
            <a:cxnLst>
              <a:cxn ang="0">
                <a:pos x="connsiteX0" y="connsiteY0"/>
              </a:cxn>
              <a:cxn ang="0">
                <a:pos x="connsiteX1" y="connsiteY1"/>
              </a:cxn>
              <a:cxn ang="0">
                <a:pos x="connsiteX2" y="connsiteY2"/>
              </a:cxn>
              <a:cxn ang="0">
                <a:pos x="connsiteX3" y="connsiteY3"/>
              </a:cxn>
            </a:cxnLst>
            <a:rect l="l" t="t" r="r" b="b"/>
            <a:pathLst>
              <a:path w="64295" h="474980">
                <a:moveTo>
                  <a:pt x="0" y="0"/>
                </a:moveTo>
                <a:lnTo>
                  <a:pt x="64295" y="0"/>
                </a:lnTo>
                <a:lnTo>
                  <a:pt x="64295" y="474980"/>
                </a:lnTo>
                <a:lnTo>
                  <a:pt x="0" y="474980"/>
                </a:lnTo>
                <a:close/>
              </a:path>
            </a:pathLst>
          </a:custGeom>
          <a:solidFill>
            <a:schemeClr val="accent3"/>
          </a:solidFill>
        </p:spPr>
        <p:txBody>
          <a:bodyPr wrap="square" tIns="0" bIns="0" anchor="ctr">
            <a:noAutofit/>
          </a:bodyPr>
          <a:lstStyle>
            <a:lvl1pPr marL="0" indent="0">
              <a:buNone/>
              <a:defRPr sz="1000" b="1">
                <a:solidFill>
                  <a:schemeClr val="accent4">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45" name="Text Placeholder 29">
            <a:extLst>
              <a:ext uri="{FF2B5EF4-FFF2-40B4-BE49-F238E27FC236}">
                <a16:creationId xmlns:a16="http://schemas.microsoft.com/office/drawing/2014/main" id="{81B86203-E913-D3E3-6642-EF37EB507949}"/>
              </a:ext>
            </a:extLst>
          </p:cNvPr>
          <p:cNvSpPr>
            <a:spLocks noGrp="1"/>
          </p:cNvSpPr>
          <p:nvPr>
            <p:ph type="body" sz="quarter" idx="46"/>
          </p:nvPr>
        </p:nvSpPr>
        <p:spPr>
          <a:xfrm>
            <a:off x="1052513" y="3685953"/>
            <a:ext cx="10552112" cy="607060"/>
          </a:xfrm>
          <a:prstGeom prst="rect">
            <a:avLst/>
          </a:prstGeom>
        </p:spPr>
        <p:txBody>
          <a:bodyPr tIns="0" bIns="0" anchor="ctr">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46" name="Text Placeholder 16">
            <a:extLst>
              <a:ext uri="{FF2B5EF4-FFF2-40B4-BE49-F238E27FC236}">
                <a16:creationId xmlns:a16="http://schemas.microsoft.com/office/drawing/2014/main" id="{E15B20AD-6668-A82D-9445-5A496E722FCD}"/>
              </a:ext>
            </a:extLst>
          </p:cNvPr>
          <p:cNvSpPr>
            <a:spLocks noGrp="1"/>
          </p:cNvSpPr>
          <p:nvPr>
            <p:ph type="body" sz="quarter" idx="47" hasCustomPrompt="1"/>
          </p:nvPr>
        </p:nvSpPr>
        <p:spPr>
          <a:xfrm>
            <a:off x="905278" y="4582561"/>
            <a:ext cx="64295" cy="474980"/>
          </a:xfrm>
          <a:custGeom>
            <a:avLst/>
            <a:gdLst>
              <a:gd name="connsiteX0" fmla="*/ 0 w 64295"/>
              <a:gd name="connsiteY0" fmla="*/ 0 h 474980"/>
              <a:gd name="connsiteX1" fmla="*/ 64295 w 64295"/>
              <a:gd name="connsiteY1" fmla="*/ 0 h 474980"/>
              <a:gd name="connsiteX2" fmla="*/ 64295 w 64295"/>
              <a:gd name="connsiteY2" fmla="*/ 474980 h 474980"/>
              <a:gd name="connsiteX3" fmla="*/ 0 w 64295"/>
              <a:gd name="connsiteY3" fmla="*/ 474980 h 474980"/>
            </a:gdLst>
            <a:ahLst/>
            <a:cxnLst>
              <a:cxn ang="0">
                <a:pos x="connsiteX0" y="connsiteY0"/>
              </a:cxn>
              <a:cxn ang="0">
                <a:pos x="connsiteX1" y="connsiteY1"/>
              </a:cxn>
              <a:cxn ang="0">
                <a:pos x="connsiteX2" y="connsiteY2"/>
              </a:cxn>
              <a:cxn ang="0">
                <a:pos x="connsiteX3" y="connsiteY3"/>
              </a:cxn>
            </a:cxnLst>
            <a:rect l="l" t="t" r="r" b="b"/>
            <a:pathLst>
              <a:path w="64295" h="474980">
                <a:moveTo>
                  <a:pt x="0" y="0"/>
                </a:moveTo>
                <a:lnTo>
                  <a:pt x="64295" y="0"/>
                </a:lnTo>
                <a:lnTo>
                  <a:pt x="64295" y="474980"/>
                </a:lnTo>
                <a:lnTo>
                  <a:pt x="0" y="474980"/>
                </a:lnTo>
                <a:close/>
              </a:path>
            </a:pathLst>
          </a:custGeom>
          <a:solidFill>
            <a:schemeClr val="accent3"/>
          </a:solidFill>
        </p:spPr>
        <p:txBody>
          <a:bodyPr wrap="square" tIns="0" bIns="0" anchor="ctr">
            <a:noAutofit/>
          </a:bodyPr>
          <a:lstStyle>
            <a:lvl1pPr marL="0" indent="0">
              <a:buNone/>
              <a:defRPr sz="1000" b="1">
                <a:solidFill>
                  <a:schemeClr val="accent4">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47" name="Text Placeholder 29">
            <a:extLst>
              <a:ext uri="{FF2B5EF4-FFF2-40B4-BE49-F238E27FC236}">
                <a16:creationId xmlns:a16="http://schemas.microsoft.com/office/drawing/2014/main" id="{D66A7128-1B7C-EA25-B14F-427F785C99E9}"/>
              </a:ext>
            </a:extLst>
          </p:cNvPr>
          <p:cNvSpPr>
            <a:spLocks noGrp="1"/>
          </p:cNvSpPr>
          <p:nvPr>
            <p:ph type="body" sz="quarter" idx="48"/>
          </p:nvPr>
        </p:nvSpPr>
        <p:spPr>
          <a:xfrm>
            <a:off x="1052513" y="4516521"/>
            <a:ext cx="10552112" cy="607060"/>
          </a:xfrm>
          <a:prstGeom prst="rect">
            <a:avLst/>
          </a:prstGeom>
        </p:spPr>
        <p:txBody>
          <a:bodyPr tIns="0" bIns="0" anchor="ctr">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48" name="Text Placeholder 16">
            <a:extLst>
              <a:ext uri="{FF2B5EF4-FFF2-40B4-BE49-F238E27FC236}">
                <a16:creationId xmlns:a16="http://schemas.microsoft.com/office/drawing/2014/main" id="{2DC4498E-5031-CDF7-F1A6-A4EF750AEAA2}"/>
              </a:ext>
            </a:extLst>
          </p:cNvPr>
          <p:cNvSpPr>
            <a:spLocks noGrp="1"/>
          </p:cNvSpPr>
          <p:nvPr>
            <p:ph type="body" sz="quarter" idx="49" hasCustomPrompt="1"/>
          </p:nvPr>
        </p:nvSpPr>
        <p:spPr>
          <a:xfrm>
            <a:off x="905278" y="5413129"/>
            <a:ext cx="64295" cy="474980"/>
          </a:xfrm>
          <a:custGeom>
            <a:avLst/>
            <a:gdLst>
              <a:gd name="connsiteX0" fmla="*/ 0 w 64295"/>
              <a:gd name="connsiteY0" fmla="*/ 0 h 474980"/>
              <a:gd name="connsiteX1" fmla="*/ 64295 w 64295"/>
              <a:gd name="connsiteY1" fmla="*/ 0 h 474980"/>
              <a:gd name="connsiteX2" fmla="*/ 64295 w 64295"/>
              <a:gd name="connsiteY2" fmla="*/ 474980 h 474980"/>
              <a:gd name="connsiteX3" fmla="*/ 0 w 64295"/>
              <a:gd name="connsiteY3" fmla="*/ 474980 h 474980"/>
            </a:gdLst>
            <a:ahLst/>
            <a:cxnLst>
              <a:cxn ang="0">
                <a:pos x="connsiteX0" y="connsiteY0"/>
              </a:cxn>
              <a:cxn ang="0">
                <a:pos x="connsiteX1" y="connsiteY1"/>
              </a:cxn>
              <a:cxn ang="0">
                <a:pos x="connsiteX2" y="connsiteY2"/>
              </a:cxn>
              <a:cxn ang="0">
                <a:pos x="connsiteX3" y="connsiteY3"/>
              </a:cxn>
            </a:cxnLst>
            <a:rect l="l" t="t" r="r" b="b"/>
            <a:pathLst>
              <a:path w="64295" h="474980">
                <a:moveTo>
                  <a:pt x="0" y="0"/>
                </a:moveTo>
                <a:lnTo>
                  <a:pt x="64295" y="0"/>
                </a:lnTo>
                <a:lnTo>
                  <a:pt x="64295" y="474980"/>
                </a:lnTo>
                <a:lnTo>
                  <a:pt x="0" y="474980"/>
                </a:lnTo>
                <a:close/>
              </a:path>
            </a:pathLst>
          </a:custGeom>
          <a:solidFill>
            <a:schemeClr val="accent3"/>
          </a:solidFill>
        </p:spPr>
        <p:txBody>
          <a:bodyPr wrap="square" tIns="0" bIns="0" anchor="ctr">
            <a:noAutofit/>
          </a:bodyPr>
          <a:lstStyle>
            <a:lvl1pPr marL="0" indent="0">
              <a:buNone/>
              <a:defRPr sz="1000" b="1">
                <a:solidFill>
                  <a:schemeClr val="accent4">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49" name="Text Placeholder 29">
            <a:extLst>
              <a:ext uri="{FF2B5EF4-FFF2-40B4-BE49-F238E27FC236}">
                <a16:creationId xmlns:a16="http://schemas.microsoft.com/office/drawing/2014/main" id="{CA641483-D5A7-E85B-23E4-88F7A9E459A2}"/>
              </a:ext>
            </a:extLst>
          </p:cNvPr>
          <p:cNvSpPr>
            <a:spLocks noGrp="1"/>
          </p:cNvSpPr>
          <p:nvPr>
            <p:ph type="body" sz="quarter" idx="50"/>
          </p:nvPr>
        </p:nvSpPr>
        <p:spPr>
          <a:xfrm>
            <a:off x="1052513" y="5347089"/>
            <a:ext cx="10552112" cy="607060"/>
          </a:xfrm>
          <a:prstGeom prst="rect">
            <a:avLst/>
          </a:prstGeom>
        </p:spPr>
        <p:txBody>
          <a:bodyPr tIns="0" bIns="0" anchor="ctr">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Tree>
    <p:extLst>
      <p:ext uri="{BB962C8B-B14F-4D97-AF65-F5344CB8AC3E}">
        <p14:creationId xmlns:p14="http://schemas.microsoft.com/office/powerpoint/2010/main" val="56088634"/>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ummary S04V3">
    <p:spTree>
      <p:nvGrpSpPr>
        <p:cNvPr id="1" name=""/>
        <p:cNvGrpSpPr/>
        <p:nvPr/>
      </p:nvGrpSpPr>
      <p:grpSpPr>
        <a:xfrm>
          <a:off x="0" y="0"/>
          <a:ext cx="0" cy="0"/>
          <a:chOff x="0" y="0"/>
          <a:chExt cx="0" cy="0"/>
        </a:xfrm>
      </p:grpSpPr>
      <p:sp>
        <p:nvSpPr>
          <p:cNvPr id="28" name="Text Placeholder 29">
            <a:extLst>
              <a:ext uri="{FF2B5EF4-FFF2-40B4-BE49-F238E27FC236}">
                <a16:creationId xmlns:a16="http://schemas.microsoft.com/office/drawing/2014/main" id="{C8B15BD3-2A3F-B505-D2C1-0332B340314E}"/>
              </a:ext>
            </a:extLst>
          </p:cNvPr>
          <p:cNvSpPr>
            <a:spLocks noGrp="1"/>
          </p:cNvSpPr>
          <p:nvPr>
            <p:ph type="body" sz="quarter" idx="42"/>
          </p:nvPr>
        </p:nvSpPr>
        <p:spPr>
          <a:xfrm>
            <a:off x="587375" y="2046407"/>
            <a:ext cx="2005012" cy="3062168"/>
          </a:xfrm>
          <a:prstGeom prst="rect">
            <a:avLst/>
          </a:prstGeom>
          <a:ln w="38100">
            <a:solidFill>
              <a:schemeClr val="accent1"/>
            </a:solidFill>
          </a:ln>
        </p:spPr>
        <p:txBody>
          <a:bodyPr lIns="90000" tIns="288000" rIns="91440" bIns="0" anchor="t">
            <a:noAutofit/>
          </a:bodyPr>
          <a:lstStyle>
            <a:lvl1pPr marL="0" indent="0" algn="ctr">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43" name="Text Placeholder 29">
            <a:extLst>
              <a:ext uri="{FF2B5EF4-FFF2-40B4-BE49-F238E27FC236}">
                <a16:creationId xmlns:a16="http://schemas.microsoft.com/office/drawing/2014/main" id="{2527CCD0-482E-202A-43B0-D766A243E650}"/>
              </a:ext>
            </a:extLst>
          </p:cNvPr>
          <p:cNvSpPr>
            <a:spLocks noGrp="1"/>
          </p:cNvSpPr>
          <p:nvPr>
            <p:ph type="body" sz="quarter" idx="44"/>
          </p:nvPr>
        </p:nvSpPr>
        <p:spPr>
          <a:xfrm>
            <a:off x="2840434" y="2046407"/>
            <a:ext cx="2005012" cy="3062168"/>
          </a:xfrm>
          <a:prstGeom prst="rect">
            <a:avLst/>
          </a:prstGeom>
          <a:ln w="38100">
            <a:solidFill>
              <a:schemeClr val="accent1"/>
            </a:solidFill>
          </a:ln>
        </p:spPr>
        <p:txBody>
          <a:bodyPr lIns="90000" tIns="288000" rIns="91440" bIns="0" anchor="t">
            <a:noAutofit/>
          </a:bodyPr>
          <a:lstStyle>
            <a:lvl1pPr marL="0" indent="0" algn="ctr">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45" name="Text Placeholder 29">
            <a:extLst>
              <a:ext uri="{FF2B5EF4-FFF2-40B4-BE49-F238E27FC236}">
                <a16:creationId xmlns:a16="http://schemas.microsoft.com/office/drawing/2014/main" id="{81B86203-E913-D3E3-6642-EF37EB507949}"/>
              </a:ext>
            </a:extLst>
          </p:cNvPr>
          <p:cNvSpPr>
            <a:spLocks noGrp="1"/>
          </p:cNvSpPr>
          <p:nvPr>
            <p:ph type="body" sz="quarter" idx="46"/>
          </p:nvPr>
        </p:nvSpPr>
        <p:spPr>
          <a:xfrm>
            <a:off x="5093493" y="2046407"/>
            <a:ext cx="2005012" cy="3062168"/>
          </a:xfrm>
          <a:prstGeom prst="rect">
            <a:avLst/>
          </a:prstGeom>
          <a:ln w="38100">
            <a:solidFill>
              <a:schemeClr val="accent1"/>
            </a:solidFill>
          </a:ln>
        </p:spPr>
        <p:txBody>
          <a:bodyPr lIns="90000" tIns="288000" rIns="91440" bIns="0" anchor="t">
            <a:noAutofit/>
          </a:bodyPr>
          <a:lstStyle>
            <a:lvl1pPr marL="0" indent="0" algn="ctr">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47" name="Text Placeholder 29">
            <a:extLst>
              <a:ext uri="{FF2B5EF4-FFF2-40B4-BE49-F238E27FC236}">
                <a16:creationId xmlns:a16="http://schemas.microsoft.com/office/drawing/2014/main" id="{D66A7128-1B7C-EA25-B14F-427F785C99E9}"/>
              </a:ext>
            </a:extLst>
          </p:cNvPr>
          <p:cNvSpPr>
            <a:spLocks noGrp="1"/>
          </p:cNvSpPr>
          <p:nvPr>
            <p:ph type="body" sz="quarter" idx="48"/>
          </p:nvPr>
        </p:nvSpPr>
        <p:spPr>
          <a:xfrm>
            <a:off x="7346553" y="2046407"/>
            <a:ext cx="2005012" cy="3062168"/>
          </a:xfrm>
          <a:prstGeom prst="rect">
            <a:avLst/>
          </a:prstGeom>
          <a:ln w="38100">
            <a:solidFill>
              <a:schemeClr val="accent1"/>
            </a:solidFill>
          </a:ln>
        </p:spPr>
        <p:txBody>
          <a:bodyPr lIns="90000" tIns="288000" rIns="91440" bIns="0" anchor="t">
            <a:noAutofit/>
          </a:bodyPr>
          <a:lstStyle>
            <a:lvl1pPr marL="0" indent="0" algn="ctr">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49" name="Text Placeholder 29">
            <a:extLst>
              <a:ext uri="{FF2B5EF4-FFF2-40B4-BE49-F238E27FC236}">
                <a16:creationId xmlns:a16="http://schemas.microsoft.com/office/drawing/2014/main" id="{CA641483-D5A7-E85B-23E4-88F7A9E459A2}"/>
              </a:ext>
            </a:extLst>
          </p:cNvPr>
          <p:cNvSpPr>
            <a:spLocks noGrp="1"/>
          </p:cNvSpPr>
          <p:nvPr>
            <p:ph type="body" sz="quarter" idx="50"/>
          </p:nvPr>
        </p:nvSpPr>
        <p:spPr>
          <a:xfrm>
            <a:off x="9599613" y="2046407"/>
            <a:ext cx="2005012" cy="3062168"/>
          </a:xfrm>
          <a:prstGeom prst="rect">
            <a:avLst/>
          </a:prstGeom>
          <a:ln w="38100">
            <a:solidFill>
              <a:schemeClr val="accent1"/>
            </a:solidFill>
          </a:ln>
        </p:spPr>
        <p:txBody>
          <a:bodyPr lIns="90000" tIns="288000" rIns="91440" bIns="0" anchor="t">
            <a:noAutofit/>
          </a:bodyPr>
          <a:lstStyle>
            <a:lvl1pPr marL="0" indent="0" algn="ctr">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11" name="Slide Number Placeholder 5">
            <a:extLst>
              <a:ext uri="{FF2B5EF4-FFF2-40B4-BE49-F238E27FC236}">
                <a16:creationId xmlns:a16="http://schemas.microsoft.com/office/drawing/2014/main" id="{752E3F75-A181-1CEF-4892-A00A828F0DEC}"/>
              </a:ext>
            </a:extLst>
          </p:cNvPr>
          <p:cNvSpPr>
            <a:spLocks noGrp="1"/>
          </p:cNvSpPr>
          <p:nvPr>
            <p:ph type="sldNum" sz="quarter" idx="4"/>
          </p:nvPr>
        </p:nvSpPr>
        <p:spPr>
          <a:xfrm>
            <a:off x="11058525" y="6409951"/>
            <a:ext cx="546100" cy="273799"/>
          </a:xfrm>
          <a:prstGeom prst="rect">
            <a:avLst/>
          </a:prstGeom>
        </p:spPr>
        <p:txBody>
          <a:bodyPr vert="horz" lIns="91440" tIns="45720" rIns="91440" bIns="45720" rtlCol="0" anchor="b"/>
          <a:lstStyle>
            <a:lvl1pPr algn="r">
              <a:defRPr sz="1200">
                <a:solidFill>
                  <a:schemeClr val="accent4"/>
                </a:solidFill>
                <a:latin typeface="+mn-lt"/>
              </a:defRPr>
            </a:lvl1pPr>
          </a:lstStyle>
          <a:p>
            <a:fld id="{5E0C3BBE-9543-48E5-A6E1-C646F9A01966}" type="slidenum">
              <a:rPr lang="en-ID" smtClean="0"/>
              <a:pPr/>
              <a:t>‹#›</a:t>
            </a:fld>
            <a:endParaRPr lang="en-ID" dirty="0"/>
          </a:p>
        </p:txBody>
      </p:sp>
      <p:sp>
        <p:nvSpPr>
          <p:cNvPr id="21" name="Footer Placeholder 4">
            <a:extLst>
              <a:ext uri="{FF2B5EF4-FFF2-40B4-BE49-F238E27FC236}">
                <a16:creationId xmlns:a16="http://schemas.microsoft.com/office/drawing/2014/main" id="{FC465D62-3382-034B-3BC4-9FA6DDBCBF3D}"/>
              </a:ext>
            </a:extLst>
          </p:cNvPr>
          <p:cNvSpPr>
            <a:spLocks noGrp="1"/>
          </p:cNvSpPr>
          <p:nvPr>
            <p:ph type="ftr" sz="quarter" idx="3"/>
          </p:nvPr>
        </p:nvSpPr>
        <p:spPr>
          <a:xfrm>
            <a:off x="584200" y="6364288"/>
            <a:ext cx="5511800" cy="365125"/>
          </a:xfrm>
          <a:prstGeom prst="rect">
            <a:avLst/>
          </a:prstGeom>
        </p:spPr>
        <p:txBody>
          <a:bodyPr vert="horz" lIns="91440" tIns="45720" rIns="91440" bIns="45720" rtlCol="0" anchor="ctr"/>
          <a:lstStyle>
            <a:lvl1pPr algn="l">
              <a:defRPr lang="en-GB" sz="1200">
                <a:solidFill>
                  <a:schemeClr val="accent4"/>
                </a:solidFill>
              </a:defRPr>
            </a:lvl1pPr>
          </a:lstStyle>
          <a:p>
            <a:r>
              <a:rPr lang="en-US"/>
              <a:t>PRESENTATION TITLE</a:t>
            </a:r>
            <a:endParaRPr lang="en-US" dirty="0"/>
          </a:p>
        </p:txBody>
      </p:sp>
      <p:sp>
        <p:nvSpPr>
          <p:cNvPr id="27" name="Text Placeholder 16">
            <a:extLst>
              <a:ext uri="{FF2B5EF4-FFF2-40B4-BE49-F238E27FC236}">
                <a16:creationId xmlns:a16="http://schemas.microsoft.com/office/drawing/2014/main" id="{0FFB1B8D-7AAD-0B62-F76D-6964122D4631}"/>
              </a:ext>
            </a:extLst>
          </p:cNvPr>
          <p:cNvSpPr>
            <a:spLocks noGrp="1"/>
          </p:cNvSpPr>
          <p:nvPr>
            <p:ph type="body" sz="quarter" idx="41" hasCustomPrompt="1"/>
          </p:nvPr>
        </p:nvSpPr>
        <p:spPr>
          <a:xfrm rot="5400000">
            <a:off x="1557734" y="1755180"/>
            <a:ext cx="64295" cy="474980"/>
          </a:xfrm>
          <a:custGeom>
            <a:avLst/>
            <a:gdLst>
              <a:gd name="connsiteX0" fmla="*/ 0 w 64295"/>
              <a:gd name="connsiteY0" fmla="*/ 0 h 474980"/>
              <a:gd name="connsiteX1" fmla="*/ 64295 w 64295"/>
              <a:gd name="connsiteY1" fmla="*/ 0 h 474980"/>
              <a:gd name="connsiteX2" fmla="*/ 64295 w 64295"/>
              <a:gd name="connsiteY2" fmla="*/ 474980 h 474980"/>
              <a:gd name="connsiteX3" fmla="*/ 0 w 64295"/>
              <a:gd name="connsiteY3" fmla="*/ 474980 h 474980"/>
            </a:gdLst>
            <a:ahLst/>
            <a:cxnLst>
              <a:cxn ang="0">
                <a:pos x="connsiteX0" y="connsiteY0"/>
              </a:cxn>
              <a:cxn ang="0">
                <a:pos x="connsiteX1" y="connsiteY1"/>
              </a:cxn>
              <a:cxn ang="0">
                <a:pos x="connsiteX2" y="connsiteY2"/>
              </a:cxn>
              <a:cxn ang="0">
                <a:pos x="connsiteX3" y="connsiteY3"/>
              </a:cxn>
            </a:cxnLst>
            <a:rect l="l" t="t" r="r" b="b"/>
            <a:pathLst>
              <a:path w="64295" h="474980">
                <a:moveTo>
                  <a:pt x="0" y="0"/>
                </a:moveTo>
                <a:lnTo>
                  <a:pt x="64295" y="0"/>
                </a:lnTo>
                <a:lnTo>
                  <a:pt x="64295" y="474980"/>
                </a:lnTo>
                <a:lnTo>
                  <a:pt x="0" y="474980"/>
                </a:lnTo>
                <a:close/>
              </a:path>
            </a:pathLst>
          </a:custGeom>
          <a:solidFill>
            <a:schemeClr val="accent3"/>
          </a:solidFill>
        </p:spPr>
        <p:txBody>
          <a:bodyPr wrap="square" tIns="0" bIns="0" anchor="ctr">
            <a:noAutofit/>
          </a:bodyPr>
          <a:lstStyle>
            <a:lvl1pPr marL="0" indent="0">
              <a:buNone/>
              <a:defRPr sz="1000" b="1">
                <a:solidFill>
                  <a:schemeClr val="accent4">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42" name="Text Placeholder 16">
            <a:extLst>
              <a:ext uri="{FF2B5EF4-FFF2-40B4-BE49-F238E27FC236}">
                <a16:creationId xmlns:a16="http://schemas.microsoft.com/office/drawing/2014/main" id="{639F1C6C-BB59-58E7-1E81-91812893CE70}"/>
              </a:ext>
            </a:extLst>
          </p:cNvPr>
          <p:cNvSpPr>
            <a:spLocks noGrp="1"/>
          </p:cNvSpPr>
          <p:nvPr>
            <p:ph type="body" sz="quarter" idx="43" hasCustomPrompt="1"/>
          </p:nvPr>
        </p:nvSpPr>
        <p:spPr>
          <a:xfrm rot="5400000">
            <a:off x="3810794" y="1755180"/>
            <a:ext cx="64295" cy="474980"/>
          </a:xfrm>
          <a:custGeom>
            <a:avLst/>
            <a:gdLst>
              <a:gd name="connsiteX0" fmla="*/ 0 w 64295"/>
              <a:gd name="connsiteY0" fmla="*/ 0 h 474980"/>
              <a:gd name="connsiteX1" fmla="*/ 64295 w 64295"/>
              <a:gd name="connsiteY1" fmla="*/ 0 h 474980"/>
              <a:gd name="connsiteX2" fmla="*/ 64295 w 64295"/>
              <a:gd name="connsiteY2" fmla="*/ 474980 h 474980"/>
              <a:gd name="connsiteX3" fmla="*/ 0 w 64295"/>
              <a:gd name="connsiteY3" fmla="*/ 474980 h 474980"/>
            </a:gdLst>
            <a:ahLst/>
            <a:cxnLst>
              <a:cxn ang="0">
                <a:pos x="connsiteX0" y="connsiteY0"/>
              </a:cxn>
              <a:cxn ang="0">
                <a:pos x="connsiteX1" y="connsiteY1"/>
              </a:cxn>
              <a:cxn ang="0">
                <a:pos x="connsiteX2" y="connsiteY2"/>
              </a:cxn>
              <a:cxn ang="0">
                <a:pos x="connsiteX3" y="connsiteY3"/>
              </a:cxn>
            </a:cxnLst>
            <a:rect l="l" t="t" r="r" b="b"/>
            <a:pathLst>
              <a:path w="64295" h="474980">
                <a:moveTo>
                  <a:pt x="0" y="0"/>
                </a:moveTo>
                <a:lnTo>
                  <a:pt x="64295" y="0"/>
                </a:lnTo>
                <a:lnTo>
                  <a:pt x="64295" y="474980"/>
                </a:lnTo>
                <a:lnTo>
                  <a:pt x="0" y="474980"/>
                </a:lnTo>
                <a:close/>
              </a:path>
            </a:pathLst>
          </a:custGeom>
          <a:solidFill>
            <a:schemeClr val="accent3"/>
          </a:solidFill>
        </p:spPr>
        <p:txBody>
          <a:bodyPr wrap="square" tIns="0" bIns="0" anchor="ctr">
            <a:noAutofit/>
          </a:bodyPr>
          <a:lstStyle>
            <a:lvl1pPr marL="0" indent="0">
              <a:buNone/>
              <a:defRPr sz="1000" b="1">
                <a:solidFill>
                  <a:schemeClr val="accent4">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44" name="Text Placeholder 16">
            <a:extLst>
              <a:ext uri="{FF2B5EF4-FFF2-40B4-BE49-F238E27FC236}">
                <a16:creationId xmlns:a16="http://schemas.microsoft.com/office/drawing/2014/main" id="{74587298-4FAA-6464-EA9C-B59BE403C60E}"/>
              </a:ext>
            </a:extLst>
          </p:cNvPr>
          <p:cNvSpPr>
            <a:spLocks noGrp="1"/>
          </p:cNvSpPr>
          <p:nvPr>
            <p:ph type="body" sz="quarter" idx="45" hasCustomPrompt="1"/>
          </p:nvPr>
        </p:nvSpPr>
        <p:spPr>
          <a:xfrm rot="5400000">
            <a:off x="6063854" y="1755180"/>
            <a:ext cx="64295" cy="474980"/>
          </a:xfrm>
          <a:custGeom>
            <a:avLst/>
            <a:gdLst>
              <a:gd name="connsiteX0" fmla="*/ 0 w 64295"/>
              <a:gd name="connsiteY0" fmla="*/ 0 h 474980"/>
              <a:gd name="connsiteX1" fmla="*/ 64295 w 64295"/>
              <a:gd name="connsiteY1" fmla="*/ 0 h 474980"/>
              <a:gd name="connsiteX2" fmla="*/ 64295 w 64295"/>
              <a:gd name="connsiteY2" fmla="*/ 474980 h 474980"/>
              <a:gd name="connsiteX3" fmla="*/ 0 w 64295"/>
              <a:gd name="connsiteY3" fmla="*/ 474980 h 474980"/>
            </a:gdLst>
            <a:ahLst/>
            <a:cxnLst>
              <a:cxn ang="0">
                <a:pos x="connsiteX0" y="connsiteY0"/>
              </a:cxn>
              <a:cxn ang="0">
                <a:pos x="connsiteX1" y="connsiteY1"/>
              </a:cxn>
              <a:cxn ang="0">
                <a:pos x="connsiteX2" y="connsiteY2"/>
              </a:cxn>
              <a:cxn ang="0">
                <a:pos x="connsiteX3" y="connsiteY3"/>
              </a:cxn>
            </a:cxnLst>
            <a:rect l="l" t="t" r="r" b="b"/>
            <a:pathLst>
              <a:path w="64295" h="474980">
                <a:moveTo>
                  <a:pt x="0" y="0"/>
                </a:moveTo>
                <a:lnTo>
                  <a:pt x="64295" y="0"/>
                </a:lnTo>
                <a:lnTo>
                  <a:pt x="64295" y="474980"/>
                </a:lnTo>
                <a:lnTo>
                  <a:pt x="0" y="474980"/>
                </a:lnTo>
                <a:close/>
              </a:path>
            </a:pathLst>
          </a:custGeom>
          <a:solidFill>
            <a:schemeClr val="accent3"/>
          </a:solidFill>
        </p:spPr>
        <p:txBody>
          <a:bodyPr wrap="square" tIns="0" bIns="0" anchor="ctr">
            <a:noAutofit/>
          </a:bodyPr>
          <a:lstStyle>
            <a:lvl1pPr marL="0" indent="0">
              <a:buNone/>
              <a:defRPr sz="1000" b="1">
                <a:solidFill>
                  <a:schemeClr val="accent4">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46" name="Text Placeholder 16">
            <a:extLst>
              <a:ext uri="{FF2B5EF4-FFF2-40B4-BE49-F238E27FC236}">
                <a16:creationId xmlns:a16="http://schemas.microsoft.com/office/drawing/2014/main" id="{E15B20AD-6668-A82D-9445-5A496E722FCD}"/>
              </a:ext>
            </a:extLst>
          </p:cNvPr>
          <p:cNvSpPr>
            <a:spLocks noGrp="1"/>
          </p:cNvSpPr>
          <p:nvPr>
            <p:ph type="body" sz="quarter" idx="47" hasCustomPrompt="1"/>
          </p:nvPr>
        </p:nvSpPr>
        <p:spPr>
          <a:xfrm rot="5400000">
            <a:off x="8316914" y="1755180"/>
            <a:ext cx="64295" cy="474980"/>
          </a:xfrm>
          <a:custGeom>
            <a:avLst/>
            <a:gdLst>
              <a:gd name="connsiteX0" fmla="*/ 0 w 64295"/>
              <a:gd name="connsiteY0" fmla="*/ 0 h 474980"/>
              <a:gd name="connsiteX1" fmla="*/ 64295 w 64295"/>
              <a:gd name="connsiteY1" fmla="*/ 0 h 474980"/>
              <a:gd name="connsiteX2" fmla="*/ 64295 w 64295"/>
              <a:gd name="connsiteY2" fmla="*/ 474980 h 474980"/>
              <a:gd name="connsiteX3" fmla="*/ 0 w 64295"/>
              <a:gd name="connsiteY3" fmla="*/ 474980 h 474980"/>
            </a:gdLst>
            <a:ahLst/>
            <a:cxnLst>
              <a:cxn ang="0">
                <a:pos x="connsiteX0" y="connsiteY0"/>
              </a:cxn>
              <a:cxn ang="0">
                <a:pos x="connsiteX1" y="connsiteY1"/>
              </a:cxn>
              <a:cxn ang="0">
                <a:pos x="connsiteX2" y="connsiteY2"/>
              </a:cxn>
              <a:cxn ang="0">
                <a:pos x="connsiteX3" y="connsiteY3"/>
              </a:cxn>
            </a:cxnLst>
            <a:rect l="l" t="t" r="r" b="b"/>
            <a:pathLst>
              <a:path w="64295" h="474980">
                <a:moveTo>
                  <a:pt x="0" y="0"/>
                </a:moveTo>
                <a:lnTo>
                  <a:pt x="64295" y="0"/>
                </a:lnTo>
                <a:lnTo>
                  <a:pt x="64295" y="474980"/>
                </a:lnTo>
                <a:lnTo>
                  <a:pt x="0" y="474980"/>
                </a:lnTo>
                <a:close/>
              </a:path>
            </a:pathLst>
          </a:custGeom>
          <a:solidFill>
            <a:schemeClr val="accent3"/>
          </a:solidFill>
        </p:spPr>
        <p:txBody>
          <a:bodyPr wrap="square" tIns="0" bIns="0" anchor="ctr">
            <a:noAutofit/>
          </a:bodyPr>
          <a:lstStyle>
            <a:lvl1pPr marL="0" indent="0">
              <a:buNone/>
              <a:defRPr sz="1000" b="1">
                <a:solidFill>
                  <a:schemeClr val="accent4">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48" name="Text Placeholder 16">
            <a:extLst>
              <a:ext uri="{FF2B5EF4-FFF2-40B4-BE49-F238E27FC236}">
                <a16:creationId xmlns:a16="http://schemas.microsoft.com/office/drawing/2014/main" id="{2DC4498E-5031-CDF7-F1A6-A4EF750AEAA2}"/>
              </a:ext>
            </a:extLst>
          </p:cNvPr>
          <p:cNvSpPr>
            <a:spLocks noGrp="1"/>
          </p:cNvSpPr>
          <p:nvPr>
            <p:ph type="body" sz="quarter" idx="49" hasCustomPrompt="1"/>
          </p:nvPr>
        </p:nvSpPr>
        <p:spPr>
          <a:xfrm rot="5400000">
            <a:off x="10569972" y="1755180"/>
            <a:ext cx="64295" cy="474980"/>
          </a:xfrm>
          <a:custGeom>
            <a:avLst/>
            <a:gdLst>
              <a:gd name="connsiteX0" fmla="*/ 0 w 64295"/>
              <a:gd name="connsiteY0" fmla="*/ 0 h 474980"/>
              <a:gd name="connsiteX1" fmla="*/ 64295 w 64295"/>
              <a:gd name="connsiteY1" fmla="*/ 0 h 474980"/>
              <a:gd name="connsiteX2" fmla="*/ 64295 w 64295"/>
              <a:gd name="connsiteY2" fmla="*/ 474980 h 474980"/>
              <a:gd name="connsiteX3" fmla="*/ 0 w 64295"/>
              <a:gd name="connsiteY3" fmla="*/ 474980 h 474980"/>
            </a:gdLst>
            <a:ahLst/>
            <a:cxnLst>
              <a:cxn ang="0">
                <a:pos x="connsiteX0" y="connsiteY0"/>
              </a:cxn>
              <a:cxn ang="0">
                <a:pos x="connsiteX1" y="connsiteY1"/>
              </a:cxn>
              <a:cxn ang="0">
                <a:pos x="connsiteX2" y="connsiteY2"/>
              </a:cxn>
              <a:cxn ang="0">
                <a:pos x="connsiteX3" y="connsiteY3"/>
              </a:cxn>
            </a:cxnLst>
            <a:rect l="l" t="t" r="r" b="b"/>
            <a:pathLst>
              <a:path w="64295" h="474980">
                <a:moveTo>
                  <a:pt x="0" y="0"/>
                </a:moveTo>
                <a:lnTo>
                  <a:pt x="64295" y="0"/>
                </a:lnTo>
                <a:lnTo>
                  <a:pt x="64295" y="474980"/>
                </a:lnTo>
                <a:lnTo>
                  <a:pt x="0" y="474980"/>
                </a:lnTo>
                <a:close/>
              </a:path>
            </a:pathLst>
          </a:custGeom>
          <a:solidFill>
            <a:schemeClr val="accent3"/>
          </a:solidFill>
        </p:spPr>
        <p:txBody>
          <a:bodyPr wrap="square" tIns="0" bIns="0" anchor="ctr">
            <a:noAutofit/>
          </a:bodyPr>
          <a:lstStyle>
            <a:lvl1pPr marL="0" indent="0">
              <a:buNone/>
              <a:defRPr sz="1000" b="1">
                <a:solidFill>
                  <a:schemeClr val="accent4">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2" name="Title 1">
            <a:extLst>
              <a:ext uri="{FF2B5EF4-FFF2-40B4-BE49-F238E27FC236}">
                <a16:creationId xmlns:a16="http://schemas.microsoft.com/office/drawing/2014/main" id="{0CDA916C-63A0-466A-BC69-A6BB9AE21DB7}"/>
              </a:ext>
            </a:extLst>
          </p:cNvPr>
          <p:cNvSpPr>
            <a:spLocks noGrp="1"/>
          </p:cNvSpPr>
          <p:nvPr>
            <p:ph type="title"/>
          </p:nvPr>
        </p:nvSpPr>
        <p:spPr>
          <a:xfrm>
            <a:off x="731443" y="586105"/>
            <a:ext cx="10873182" cy="709295"/>
          </a:xfrm>
        </p:spPr>
        <p:txBody>
          <a:bodyPr anchor="t">
            <a:noAutofit/>
          </a:bodyPr>
          <a:lstStyle>
            <a:lvl1pPr>
              <a:defRPr>
                <a:solidFill>
                  <a:schemeClr val="tx1"/>
                </a:solidFill>
              </a:defRPr>
            </a:lvl1pPr>
          </a:lstStyle>
          <a:p>
            <a:r>
              <a:rPr lang="en-US" dirty="0"/>
              <a:t>Click to edit Master title style</a:t>
            </a:r>
            <a:endParaRPr lang="en-ID" dirty="0"/>
          </a:p>
        </p:txBody>
      </p:sp>
      <p:cxnSp>
        <p:nvCxnSpPr>
          <p:cNvPr id="3" name="Straight Connector 2">
            <a:extLst>
              <a:ext uri="{FF2B5EF4-FFF2-40B4-BE49-F238E27FC236}">
                <a16:creationId xmlns:a16="http://schemas.microsoft.com/office/drawing/2014/main" id="{82C06518-9E58-A831-AE4A-4EECA507A2D8}"/>
              </a:ext>
            </a:extLst>
          </p:cNvPr>
          <p:cNvCxnSpPr>
            <a:cxnSpLocks/>
          </p:cNvCxnSpPr>
          <p:nvPr userDrawn="1"/>
        </p:nvCxnSpPr>
        <p:spPr>
          <a:xfrm>
            <a:off x="587375" y="585690"/>
            <a:ext cx="0" cy="70971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7574597"/>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act Us S05V1">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752E3F75-A181-1CEF-4892-A00A828F0DEC}"/>
              </a:ext>
            </a:extLst>
          </p:cNvPr>
          <p:cNvSpPr>
            <a:spLocks noGrp="1"/>
          </p:cNvSpPr>
          <p:nvPr>
            <p:ph type="sldNum" sz="quarter" idx="4"/>
          </p:nvPr>
        </p:nvSpPr>
        <p:spPr>
          <a:xfrm>
            <a:off x="11058525" y="6409951"/>
            <a:ext cx="546100" cy="273799"/>
          </a:xfrm>
          <a:prstGeom prst="rect">
            <a:avLst/>
          </a:prstGeom>
        </p:spPr>
        <p:txBody>
          <a:bodyPr vert="horz" lIns="91440" tIns="45720" rIns="91440" bIns="45720" rtlCol="0" anchor="b"/>
          <a:lstStyle>
            <a:lvl1pPr algn="r">
              <a:defRPr sz="1200">
                <a:solidFill>
                  <a:schemeClr val="accent4"/>
                </a:solidFill>
                <a:latin typeface="+mn-lt"/>
              </a:defRPr>
            </a:lvl1pPr>
          </a:lstStyle>
          <a:p>
            <a:fld id="{5E0C3BBE-9543-48E5-A6E1-C646F9A01966}" type="slidenum">
              <a:rPr lang="en-ID" smtClean="0"/>
              <a:pPr/>
              <a:t>‹#›</a:t>
            </a:fld>
            <a:endParaRPr lang="en-ID" dirty="0"/>
          </a:p>
        </p:txBody>
      </p:sp>
      <p:sp>
        <p:nvSpPr>
          <p:cNvPr id="21" name="Footer Placeholder 4">
            <a:extLst>
              <a:ext uri="{FF2B5EF4-FFF2-40B4-BE49-F238E27FC236}">
                <a16:creationId xmlns:a16="http://schemas.microsoft.com/office/drawing/2014/main" id="{FC465D62-3382-034B-3BC4-9FA6DDBCBF3D}"/>
              </a:ext>
            </a:extLst>
          </p:cNvPr>
          <p:cNvSpPr>
            <a:spLocks noGrp="1"/>
          </p:cNvSpPr>
          <p:nvPr>
            <p:ph type="ftr" sz="quarter" idx="3"/>
          </p:nvPr>
        </p:nvSpPr>
        <p:spPr>
          <a:xfrm>
            <a:off x="584200" y="6364288"/>
            <a:ext cx="5511800" cy="365125"/>
          </a:xfrm>
          <a:prstGeom prst="rect">
            <a:avLst/>
          </a:prstGeom>
        </p:spPr>
        <p:txBody>
          <a:bodyPr vert="horz" lIns="91440" tIns="45720" rIns="91440" bIns="45720" rtlCol="0" anchor="ctr"/>
          <a:lstStyle>
            <a:lvl1pPr algn="l">
              <a:defRPr lang="en-GB" sz="1200">
                <a:solidFill>
                  <a:schemeClr val="accent4"/>
                </a:solidFill>
              </a:defRPr>
            </a:lvl1pPr>
          </a:lstStyle>
          <a:p>
            <a:r>
              <a:rPr lang="en-US"/>
              <a:t>PRESENTATION TITLE</a:t>
            </a:r>
            <a:endParaRPr lang="en-US" dirty="0"/>
          </a:p>
        </p:txBody>
      </p:sp>
      <p:sp>
        <p:nvSpPr>
          <p:cNvPr id="27" name="Text Placeholder 16">
            <a:extLst>
              <a:ext uri="{FF2B5EF4-FFF2-40B4-BE49-F238E27FC236}">
                <a16:creationId xmlns:a16="http://schemas.microsoft.com/office/drawing/2014/main" id="{0FFB1B8D-7AAD-0B62-F76D-6964122D4631}"/>
              </a:ext>
            </a:extLst>
          </p:cNvPr>
          <p:cNvSpPr>
            <a:spLocks noGrp="1"/>
          </p:cNvSpPr>
          <p:nvPr>
            <p:ph type="body" sz="quarter" idx="41" hasCustomPrompt="1"/>
          </p:nvPr>
        </p:nvSpPr>
        <p:spPr>
          <a:xfrm>
            <a:off x="6096000" y="1452087"/>
            <a:ext cx="64295" cy="474980"/>
          </a:xfrm>
          <a:custGeom>
            <a:avLst/>
            <a:gdLst>
              <a:gd name="connsiteX0" fmla="*/ 0 w 64295"/>
              <a:gd name="connsiteY0" fmla="*/ 0 h 474980"/>
              <a:gd name="connsiteX1" fmla="*/ 64295 w 64295"/>
              <a:gd name="connsiteY1" fmla="*/ 0 h 474980"/>
              <a:gd name="connsiteX2" fmla="*/ 64295 w 64295"/>
              <a:gd name="connsiteY2" fmla="*/ 474980 h 474980"/>
              <a:gd name="connsiteX3" fmla="*/ 0 w 64295"/>
              <a:gd name="connsiteY3" fmla="*/ 474980 h 474980"/>
            </a:gdLst>
            <a:ahLst/>
            <a:cxnLst>
              <a:cxn ang="0">
                <a:pos x="connsiteX0" y="connsiteY0"/>
              </a:cxn>
              <a:cxn ang="0">
                <a:pos x="connsiteX1" y="connsiteY1"/>
              </a:cxn>
              <a:cxn ang="0">
                <a:pos x="connsiteX2" y="connsiteY2"/>
              </a:cxn>
              <a:cxn ang="0">
                <a:pos x="connsiteX3" y="connsiteY3"/>
              </a:cxn>
            </a:cxnLst>
            <a:rect l="l" t="t" r="r" b="b"/>
            <a:pathLst>
              <a:path w="64295" h="474980">
                <a:moveTo>
                  <a:pt x="0" y="0"/>
                </a:moveTo>
                <a:lnTo>
                  <a:pt x="64295" y="0"/>
                </a:lnTo>
                <a:lnTo>
                  <a:pt x="64295" y="474980"/>
                </a:lnTo>
                <a:lnTo>
                  <a:pt x="0" y="474980"/>
                </a:lnTo>
                <a:close/>
              </a:path>
            </a:pathLst>
          </a:custGeom>
          <a:solidFill>
            <a:schemeClr val="accent3"/>
          </a:solidFill>
        </p:spPr>
        <p:txBody>
          <a:bodyPr wrap="square" tIns="0" bIns="0" anchor="ctr">
            <a:noAutofit/>
          </a:bodyPr>
          <a:lstStyle>
            <a:lvl1pPr marL="0" indent="0">
              <a:buNone/>
              <a:defRPr sz="1000" b="1">
                <a:solidFill>
                  <a:schemeClr val="accent4">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37" name="Rectangle 36">
            <a:extLst>
              <a:ext uri="{FF2B5EF4-FFF2-40B4-BE49-F238E27FC236}">
                <a16:creationId xmlns:a16="http://schemas.microsoft.com/office/drawing/2014/main" id="{EB6055E9-E6F7-641B-80FB-0B939D173EF4}"/>
              </a:ext>
            </a:extLst>
          </p:cNvPr>
          <p:cNvSpPr/>
          <p:nvPr userDrawn="1"/>
        </p:nvSpPr>
        <p:spPr>
          <a:xfrm>
            <a:off x="0" y="2567262"/>
            <a:ext cx="5330824" cy="1718988"/>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8" name="Title 1">
            <a:extLst>
              <a:ext uri="{FF2B5EF4-FFF2-40B4-BE49-F238E27FC236}">
                <a16:creationId xmlns:a16="http://schemas.microsoft.com/office/drawing/2014/main" id="{A830DC25-802B-19A0-E4B3-1D633449CFAA}"/>
              </a:ext>
            </a:extLst>
          </p:cNvPr>
          <p:cNvSpPr>
            <a:spLocks noGrp="1"/>
          </p:cNvSpPr>
          <p:nvPr>
            <p:ph type="title" hasCustomPrompt="1"/>
          </p:nvPr>
        </p:nvSpPr>
        <p:spPr>
          <a:xfrm>
            <a:off x="584201" y="2703930"/>
            <a:ext cx="4425950" cy="1445652"/>
          </a:xfrm>
        </p:spPr>
        <p:txBody>
          <a:bodyPr anchor="ctr">
            <a:noAutofit/>
          </a:bodyPr>
          <a:lstStyle>
            <a:lvl1pPr>
              <a:defRPr>
                <a:solidFill>
                  <a:srgbClr val="FFFFFF"/>
                </a:solidFill>
              </a:defRPr>
            </a:lvl1pPr>
          </a:lstStyle>
          <a:p>
            <a:r>
              <a:rPr lang="en-US" dirty="0"/>
              <a:t>Click to edit Master text</a:t>
            </a:r>
            <a:endParaRPr lang="en-ID" dirty="0"/>
          </a:p>
        </p:txBody>
      </p:sp>
      <p:cxnSp>
        <p:nvCxnSpPr>
          <p:cNvPr id="39" name="Straight Connector 38">
            <a:extLst>
              <a:ext uri="{FF2B5EF4-FFF2-40B4-BE49-F238E27FC236}">
                <a16:creationId xmlns:a16="http://schemas.microsoft.com/office/drawing/2014/main" id="{0990EA30-774B-C58A-0F2E-BA47E1EB0D86}"/>
              </a:ext>
            </a:extLst>
          </p:cNvPr>
          <p:cNvCxnSpPr>
            <a:cxnSpLocks/>
          </p:cNvCxnSpPr>
          <p:nvPr userDrawn="1"/>
        </p:nvCxnSpPr>
        <p:spPr>
          <a:xfrm>
            <a:off x="5196888" y="2879224"/>
            <a:ext cx="0" cy="1095064"/>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Text Placeholder 29">
            <a:extLst>
              <a:ext uri="{FF2B5EF4-FFF2-40B4-BE49-F238E27FC236}">
                <a16:creationId xmlns:a16="http://schemas.microsoft.com/office/drawing/2014/main" id="{17F8224B-2972-D6CA-7891-5E3A39916B6A}"/>
              </a:ext>
            </a:extLst>
          </p:cNvPr>
          <p:cNvSpPr>
            <a:spLocks noGrp="1"/>
          </p:cNvSpPr>
          <p:nvPr>
            <p:ph type="body" sz="quarter" idx="39" hasCustomPrompt="1"/>
          </p:nvPr>
        </p:nvSpPr>
        <p:spPr>
          <a:xfrm>
            <a:off x="6250977" y="1326515"/>
            <a:ext cx="5361390" cy="323521"/>
          </a:xfrm>
          <a:prstGeom prst="rect">
            <a:avLst/>
          </a:prstGeom>
        </p:spPr>
        <p:txBody>
          <a:bodyPr tIns="0" bIns="0" anchor="ctr">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Website</a:t>
            </a:r>
            <a:endParaRPr lang="en-ID" dirty="0"/>
          </a:p>
        </p:txBody>
      </p:sp>
      <p:sp>
        <p:nvSpPr>
          <p:cNvPr id="9" name="Text Placeholder 29">
            <a:extLst>
              <a:ext uri="{FF2B5EF4-FFF2-40B4-BE49-F238E27FC236}">
                <a16:creationId xmlns:a16="http://schemas.microsoft.com/office/drawing/2014/main" id="{0150F3D9-C5BA-2CF3-577A-20D417C84D5B}"/>
              </a:ext>
            </a:extLst>
          </p:cNvPr>
          <p:cNvSpPr>
            <a:spLocks noGrp="1"/>
          </p:cNvSpPr>
          <p:nvPr>
            <p:ph type="body" sz="quarter" idx="40"/>
          </p:nvPr>
        </p:nvSpPr>
        <p:spPr>
          <a:xfrm>
            <a:off x="6250977" y="1722034"/>
            <a:ext cx="5361390" cy="323521"/>
          </a:xfrm>
          <a:prstGeom prst="rect">
            <a:avLst/>
          </a:prstGeom>
        </p:spPr>
        <p:txBody>
          <a:bodyPr tIns="0" bIns="0">
            <a:noAutofit/>
          </a:bodyPr>
          <a:lstStyle>
            <a:lvl1pPr marL="0" indent="0">
              <a:buNone/>
              <a:defRPr sz="16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10" name="Text Placeholder 16">
            <a:extLst>
              <a:ext uri="{FF2B5EF4-FFF2-40B4-BE49-F238E27FC236}">
                <a16:creationId xmlns:a16="http://schemas.microsoft.com/office/drawing/2014/main" id="{8CDB50DB-14FB-8EC2-BBF8-9D39B761BAD8}"/>
              </a:ext>
            </a:extLst>
          </p:cNvPr>
          <p:cNvSpPr>
            <a:spLocks noGrp="1"/>
          </p:cNvSpPr>
          <p:nvPr>
            <p:ph type="body" sz="quarter" idx="42" hasCustomPrompt="1"/>
          </p:nvPr>
        </p:nvSpPr>
        <p:spPr>
          <a:xfrm>
            <a:off x="6096000" y="2609277"/>
            <a:ext cx="64295" cy="474980"/>
          </a:xfrm>
          <a:custGeom>
            <a:avLst/>
            <a:gdLst>
              <a:gd name="connsiteX0" fmla="*/ 0 w 64295"/>
              <a:gd name="connsiteY0" fmla="*/ 0 h 474980"/>
              <a:gd name="connsiteX1" fmla="*/ 64295 w 64295"/>
              <a:gd name="connsiteY1" fmla="*/ 0 h 474980"/>
              <a:gd name="connsiteX2" fmla="*/ 64295 w 64295"/>
              <a:gd name="connsiteY2" fmla="*/ 474980 h 474980"/>
              <a:gd name="connsiteX3" fmla="*/ 0 w 64295"/>
              <a:gd name="connsiteY3" fmla="*/ 474980 h 474980"/>
            </a:gdLst>
            <a:ahLst/>
            <a:cxnLst>
              <a:cxn ang="0">
                <a:pos x="connsiteX0" y="connsiteY0"/>
              </a:cxn>
              <a:cxn ang="0">
                <a:pos x="connsiteX1" y="connsiteY1"/>
              </a:cxn>
              <a:cxn ang="0">
                <a:pos x="connsiteX2" y="connsiteY2"/>
              </a:cxn>
              <a:cxn ang="0">
                <a:pos x="connsiteX3" y="connsiteY3"/>
              </a:cxn>
            </a:cxnLst>
            <a:rect l="l" t="t" r="r" b="b"/>
            <a:pathLst>
              <a:path w="64295" h="474980">
                <a:moveTo>
                  <a:pt x="0" y="0"/>
                </a:moveTo>
                <a:lnTo>
                  <a:pt x="64295" y="0"/>
                </a:lnTo>
                <a:lnTo>
                  <a:pt x="64295" y="474980"/>
                </a:lnTo>
                <a:lnTo>
                  <a:pt x="0" y="474980"/>
                </a:lnTo>
                <a:close/>
              </a:path>
            </a:pathLst>
          </a:custGeom>
          <a:solidFill>
            <a:schemeClr val="accent3"/>
          </a:solidFill>
        </p:spPr>
        <p:txBody>
          <a:bodyPr wrap="square" tIns="0" bIns="0" anchor="ctr">
            <a:noAutofit/>
          </a:bodyPr>
          <a:lstStyle>
            <a:lvl1pPr marL="0" indent="0">
              <a:buNone/>
              <a:defRPr sz="1000" b="1">
                <a:solidFill>
                  <a:schemeClr val="accent4">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12" name="Text Placeholder 29">
            <a:extLst>
              <a:ext uri="{FF2B5EF4-FFF2-40B4-BE49-F238E27FC236}">
                <a16:creationId xmlns:a16="http://schemas.microsoft.com/office/drawing/2014/main" id="{A3C8A60E-A492-680C-9A67-071F63EDE37B}"/>
              </a:ext>
            </a:extLst>
          </p:cNvPr>
          <p:cNvSpPr>
            <a:spLocks noGrp="1"/>
          </p:cNvSpPr>
          <p:nvPr>
            <p:ph type="body" sz="quarter" idx="43" hasCustomPrompt="1"/>
          </p:nvPr>
        </p:nvSpPr>
        <p:spPr>
          <a:xfrm>
            <a:off x="6250977" y="2483705"/>
            <a:ext cx="5361390" cy="323521"/>
          </a:xfrm>
          <a:prstGeom prst="rect">
            <a:avLst/>
          </a:prstGeom>
        </p:spPr>
        <p:txBody>
          <a:bodyPr tIns="0" bIns="0" anchor="ctr">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Email</a:t>
            </a:r>
            <a:endParaRPr lang="en-ID" dirty="0"/>
          </a:p>
        </p:txBody>
      </p:sp>
      <p:sp>
        <p:nvSpPr>
          <p:cNvPr id="13" name="Text Placeholder 29">
            <a:extLst>
              <a:ext uri="{FF2B5EF4-FFF2-40B4-BE49-F238E27FC236}">
                <a16:creationId xmlns:a16="http://schemas.microsoft.com/office/drawing/2014/main" id="{54189725-F503-3346-0B77-41752024754B}"/>
              </a:ext>
            </a:extLst>
          </p:cNvPr>
          <p:cNvSpPr>
            <a:spLocks noGrp="1"/>
          </p:cNvSpPr>
          <p:nvPr>
            <p:ph type="body" sz="quarter" idx="44"/>
          </p:nvPr>
        </p:nvSpPr>
        <p:spPr>
          <a:xfrm>
            <a:off x="6250977" y="2879224"/>
            <a:ext cx="5361390" cy="323521"/>
          </a:xfrm>
          <a:prstGeom prst="rect">
            <a:avLst/>
          </a:prstGeom>
        </p:spPr>
        <p:txBody>
          <a:bodyPr tIns="0" bIns="0">
            <a:noAutofit/>
          </a:bodyPr>
          <a:lstStyle>
            <a:lvl1pPr marL="0" indent="0">
              <a:buNone/>
              <a:defRPr sz="16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14" name="Text Placeholder 16">
            <a:extLst>
              <a:ext uri="{FF2B5EF4-FFF2-40B4-BE49-F238E27FC236}">
                <a16:creationId xmlns:a16="http://schemas.microsoft.com/office/drawing/2014/main" id="{6A7119A9-F6C1-3E78-A7B8-7A4695A37DF9}"/>
              </a:ext>
            </a:extLst>
          </p:cNvPr>
          <p:cNvSpPr>
            <a:spLocks noGrp="1"/>
          </p:cNvSpPr>
          <p:nvPr>
            <p:ph type="body" sz="quarter" idx="45" hasCustomPrompt="1"/>
          </p:nvPr>
        </p:nvSpPr>
        <p:spPr>
          <a:xfrm>
            <a:off x="6096000" y="3766467"/>
            <a:ext cx="64295" cy="474980"/>
          </a:xfrm>
          <a:custGeom>
            <a:avLst/>
            <a:gdLst>
              <a:gd name="connsiteX0" fmla="*/ 0 w 64295"/>
              <a:gd name="connsiteY0" fmla="*/ 0 h 474980"/>
              <a:gd name="connsiteX1" fmla="*/ 64295 w 64295"/>
              <a:gd name="connsiteY1" fmla="*/ 0 h 474980"/>
              <a:gd name="connsiteX2" fmla="*/ 64295 w 64295"/>
              <a:gd name="connsiteY2" fmla="*/ 474980 h 474980"/>
              <a:gd name="connsiteX3" fmla="*/ 0 w 64295"/>
              <a:gd name="connsiteY3" fmla="*/ 474980 h 474980"/>
            </a:gdLst>
            <a:ahLst/>
            <a:cxnLst>
              <a:cxn ang="0">
                <a:pos x="connsiteX0" y="connsiteY0"/>
              </a:cxn>
              <a:cxn ang="0">
                <a:pos x="connsiteX1" y="connsiteY1"/>
              </a:cxn>
              <a:cxn ang="0">
                <a:pos x="connsiteX2" y="connsiteY2"/>
              </a:cxn>
              <a:cxn ang="0">
                <a:pos x="connsiteX3" y="connsiteY3"/>
              </a:cxn>
            </a:cxnLst>
            <a:rect l="l" t="t" r="r" b="b"/>
            <a:pathLst>
              <a:path w="64295" h="474980">
                <a:moveTo>
                  <a:pt x="0" y="0"/>
                </a:moveTo>
                <a:lnTo>
                  <a:pt x="64295" y="0"/>
                </a:lnTo>
                <a:lnTo>
                  <a:pt x="64295" y="474980"/>
                </a:lnTo>
                <a:lnTo>
                  <a:pt x="0" y="474980"/>
                </a:lnTo>
                <a:close/>
              </a:path>
            </a:pathLst>
          </a:custGeom>
          <a:solidFill>
            <a:schemeClr val="accent3"/>
          </a:solidFill>
        </p:spPr>
        <p:txBody>
          <a:bodyPr wrap="square" tIns="0" bIns="0" anchor="ctr">
            <a:noAutofit/>
          </a:bodyPr>
          <a:lstStyle>
            <a:lvl1pPr marL="0" indent="0">
              <a:buNone/>
              <a:defRPr sz="1000" b="1">
                <a:solidFill>
                  <a:schemeClr val="accent4">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15" name="Text Placeholder 29">
            <a:extLst>
              <a:ext uri="{FF2B5EF4-FFF2-40B4-BE49-F238E27FC236}">
                <a16:creationId xmlns:a16="http://schemas.microsoft.com/office/drawing/2014/main" id="{0ECAA7E2-DF4B-A5D2-BE65-C795750AE429}"/>
              </a:ext>
            </a:extLst>
          </p:cNvPr>
          <p:cNvSpPr>
            <a:spLocks noGrp="1"/>
          </p:cNvSpPr>
          <p:nvPr>
            <p:ph type="body" sz="quarter" idx="46" hasCustomPrompt="1"/>
          </p:nvPr>
        </p:nvSpPr>
        <p:spPr>
          <a:xfrm>
            <a:off x="6250977" y="3640895"/>
            <a:ext cx="5361390" cy="323521"/>
          </a:xfrm>
          <a:prstGeom prst="rect">
            <a:avLst/>
          </a:prstGeom>
        </p:spPr>
        <p:txBody>
          <a:bodyPr tIns="0" bIns="0" anchor="ctr">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Phone Number</a:t>
            </a:r>
            <a:endParaRPr lang="en-ID" dirty="0"/>
          </a:p>
        </p:txBody>
      </p:sp>
      <p:sp>
        <p:nvSpPr>
          <p:cNvPr id="16" name="Text Placeholder 29">
            <a:extLst>
              <a:ext uri="{FF2B5EF4-FFF2-40B4-BE49-F238E27FC236}">
                <a16:creationId xmlns:a16="http://schemas.microsoft.com/office/drawing/2014/main" id="{FFF608BC-B1D4-AD27-2B53-0F088AECCDBA}"/>
              </a:ext>
            </a:extLst>
          </p:cNvPr>
          <p:cNvSpPr>
            <a:spLocks noGrp="1"/>
          </p:cNvSpPr>
          <p:nvPr>
            <p:ph type="body" sz="quarter" idx="47"/>
          </p:nvPr>
        </p:nvSpPr>
        <p:spPr>
          <a:xfrm>
            <a:off x="6250977" y="4036414"/>
            <a:ext cx="5361390" cy="323521"/>
          </a:xfrm>
          <a:prstGeom prst="rect">
            <a:avLst/>
          </a:prstGeom>
        </p:spPr>
        <p:txBody>
          <a:bodyPr tIns="0" bIns="0">
            <a:noAutofit/>
          </a:bodyPr>
          <a:lstStyle>
            <a:lvl1pPr marL="0" indent="0">
              <a:buNone/>
              <a:defRPr sz="16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17" name="Text Placeholder 16">
            <a:extLst>
              <a:ext uri="{FF2B5EF4-FFF2-40B4-BE49-F238E27FC236}">
                <a16:creationId xmlns:a16="http://schemas.microsoft.com/office/drawing/2014/main" id="{61A8469B-66C0-388B-FF13-7E8091A3F56F}"/>
              </a:ext>
            </a:extLst>
          </p:cNvPr>
          <p:cNvSpPr>
            <a:spLocks noGrp="1"/>
          </p:cNvSpPr>
          <p:nvPr>
            <p:ph type="body" sz="quarter" idx="48" hasCustomPrompt="1"/>
          </p:nvPr>
        </p:nvSpPr>
        <p:spPr>
          <a:xfrm>
            <a:off x="6096000" y="4923657"/>
            <a:ext cx="64295" cy="474980"/>
          </a:xfrm>
          <a:custGeom>
            <a:avLst/>
            <a:gdLst>
              <a:gd name="connsiteX0" fmla="*/ 0 w 64295"/>
              <a:gd name="connsiteY0" fmla="*/ 0 h 474980"/>
              <a:gd name="connsiteX1" fmla="*/ 64295 w 64295"/>
              <a:gd name="connsiteY1" fmla="*/ 0 h 474980"/>
              <a:gd name="connsiteX2" fmla="*/ 64295 w 64295"/>
              <a:gd name="connsiteY2" fmla="*/ 474980 h 474980"/>
              <a:gd name="connsiteX3" fmla="*/ 0 w 64295"/>
              <a:gd name="connsiteY3" fmla="*/ 474980 h 474980"/>
            </a:gdLst>
            <a:ahLst/>
            <a:cxnLst>
              <a:cxn ang="0">
                <a:pos x="connsiteX0" y="connsiteY0"/>
              </a:cxn>
              <a:cxn ang="0">
                <a:pos x="connsiteX1" y="connsiteY1"/>
              </a:cxn>
              <a:cxn ang="0">
                <a:pos x="connsiteX2" y="connsiteY2"/>
              </a:cxn>
              <a:cxn ang="0">
                <a:pos x="connsiteX3" y="connsiteY3"/>
              </a:cxn>
            </a:cxnLst>
            <a:rect l="l" t="t" r="r" b="b"/>
            <a:pathLst>
              <a:path w="64295" h="474980">
                <a:moveTo>
                  <a:pt x="0" y="0"/>
                </a:moveTo>
                <a:lnTo>
                  <a:pt x="64295" y="0"/>
                </a:lnTo>
                <a:lnTo>
                  <a:pt x="64295" y="474980"/>
                </a:lnTo>
                <a:lnTo>
                  <a:pt x="0" y="474980"/>
                </a:lnTo>
                <a:close/>
              </a:path>
            </a:pathLst>
          </a:custGeom>
          <a:solidFill>
            <a:schemeClr val="accent3"/>
          </a:solidFill>
        </p:spPr>
        <p:txBody>
          <a:bodyPr wrap="square" tIns="0" bIns="0" anchor="ctr">
            <a:noAutofit/>
          </a:bodyPr>
          <a:lstStyle>
            <a:lvl1pPr marL="0" indent="0">
              <a:buNone/>
              <a:defRPr sz="1000" b="1">
                <a:solidFill>
                  <a:schemeClr val="accent4">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18" name="Text Placeholder 29">
            <a:extLst>
              <a:ext uri="{FF2B5EF4-FFF2-40B4-BE49-F238E27FC236}">
                <a16:creationId xmlns:a16="http://schemas.microsoft.com/office/drawing/2014/main" id="{D2474B70-73D5-F138-81CA-B06F430971D8}"/>
              </a:ext>
            </a:extLst>
          </p:cNvPr>
          <p:cNvSpPr>
            <a:spLocks noGrp="1"/>
          </p:cNvSpPr>
          <p:nvPr>
            <p:ph type="body" sz="quarter" idx="49" hasCustomPrompt="1"/>
          </p:nvPr>
        </p:nvSpPr>
        <p:spPr>
          <a:xfrm>
            <a:off x="6250977" y="4798085"/>
            <a:ext cx="5361390" cy="323521"/>
          </a:xfrm>
          <a:prstGeom prst="rect">
            <a:avLst/>
          </a:prstGeom>
        </p:spPr>
        <p:txBody>
          <a:bodyPr tIns="0" bIns="0" anchor="ctr">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Location</a:t>
            </a:r>
            <a:endParaRPr lang="en-ID" dirty="0"/>
          </a:p>
        </p:txBody>
      </p:sp>
      <p:sp>
        <p:nvSpPr>
          <p:cNvPr id="19" name="Text Placeholder 29">
            <a:extLst>
              <a:ext uri="{FF2B5EF4-FFF2-40B4-BE49-F238E27FC236}">
                <a16:creationId xmlns:a16="http://schemas.microsoft.com/office/drawing/2014/main" id="{A4A35D17-0A9F-3774-435D-AEBADBA7499D}"/>
              </a:ext>
            </a:extLst>
          </p:cNvPr>
          <p:cNvSpPr>
            <a:spLocks noGrp="1"/>
          </p:cNvSpPr>
          <p:nvPr>
            <p:ph type="body" sz="quarter" idx="50"/>
          </p:nvPr>
        </p:nvSpPr>
        <p:spPr>
          <a:xfrm>
            <a:off x="6250977" y="5193604"/>
            <a:ext cx="5361390" cy="323521"/>
          </a:xfrm>
          <a:prstGeom prst="rect">
            <a:avLst/>
          </a:prstGeom>
        </p:spPr>
        <p:txBody>
          <a:bodyPr tIns="0" bIns="0">
            <a:noAutofit/>
          </a:bodyPr>
          <a:lstStyle>
            <a:lvl1pPr marL="0" indent="0">
              <a:buNone/>
              <a:defRPr sz="16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Tree>
    <p:extLst>
      <p:ext uri="{BB962C8B-B14F-4D97-AF65-F5344CB8AC3E}">
        <p14:creationId xmlns:p14="http://schemas.microsoft.com/office/powerpoint/2010/main" val="421572094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act Us S05V2">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752E3F75-A181-1CEF-4892-A00A828F0DEC}"/>
              </a:ext>
            </a:extLst>
          </p:cNvPr>
          <p:cNvSpPr>
            <a:spLocks noGrp="1"/>
          </p:cNvSpPr>
          <p:nvPr>
            <p:ph type="sldNum" sz="quarter" idx="4"/>
          </p:nvPr>
        </p:nvSpPr>
        <p:spPr>
          <a:xfrm>
            <a:off x="11058525" y="6409951"/>
            <a:ext cx="546100" cy="273799"/>
          </a:xfrm>
          <a:prstGeom prst="rect">
            <a:avLst/>
          </a:prstGeom>
        </p:spPr>
        <p:txBody>
          <a:bodyPr vert="horz" lIns="91440" tIns="45720" rIns="91440" bIns="45720" rtlCol="0" anchor="b"/>
          <a:lstStyle>
            <a:lvl1pPr algn="r">
              <a:defRPr sz="1200">
                <a:solidFill>
                  <a:schemeClr val="accent4"/>
                </a:solidFill>
                <a:latin typeface="+mn-lt"/>
              </a:defRPr>
            </a:lvl1pPr>
          </a:lstStyle>
          <a:p>
            <a:fld id="{5E0C3BBE-9543-48E5-A6E1-C646F9A01966}" type="slidenum">
              <a:rPr lang="en-ID" smtClean="0"/>
              <a:pPr/>
              <a:t>‹#›</a:t>
            </a:fld>
            <a:endParaRPr lang="en-ID" dirty="0"/>
          </a:p>
        </p:txBody>
      </p:sp>
      <p:sp>
        <p:nvSpPr>
          <p:cNvPr id="21" name="Footer Placeholder 4">
            <a:extLst>
              <a:ext uri="{FF2B5EF4-FFF2-40B4-BE49-F238E27FC236}">
                <a16:creationId xmlns:a16="http://schemas.microsoft.com/office/drawing/2014/main" id="{FC465D62-3382-034B-3BC4-9FA6DDBCBF3D}"/>
              </a:ext>
            </a:extLst>
          </p:cNvPr>
          <p:cNvSpPr>
            <a:spLocks noGrp="1"/>
          </p:cNvSpPr>
          <p:nvPr>
            <p:ph type="ftr" sz="quarter" idx="3"/>
          </p:nvPr>
        </p:nvSpPr>
        <p:spPr>
          <a:xfrm>
            <a:off x="584200" y="6364288"/>
            <a:ext cx="5511800" cy="365125"/>
          </a:xfrm>
          <a:prstGeom prst="rect">
            <a:avLst/>
          </a:prstGeom>
        </p:spPr>
        <p:txBody>
          <a:bodyPr vert="horz" lIns="91440" tIns="45720" rIns="91440" bIns="45720" rtlCol="0" anchor="ctr"/>
          <a:lstStyle>
            <a:lvl1pPr algn="l">
              <a:defRPr lang="en-GB" sz="1200">
                <a:solidFill>
                  <a:schemeClr val="accent4"/>
                </a:solidFill>
              </a:defRPr>
            </a:lvl1pPr>
          </a:lstStyle>
          <a:p>
            <a:r>
              <a:rPr lang="en-US"/>
              <a:t>PRESENTATION TITLE</a:t>
            </a:r>
            <a:endParaRPr lang="en-US" dirty="0"/>
          </a:p>
        </p:txBody>
      </p:sp>
      <p:sp>
        <p:nvSpPr>
          <p:cNvPr id="28" name="Text Placeholder 29">
            <a:extLst>
              <a:ext uri="{FF2B5EF4-FFF2-40B4-BE49-F238E27FC236}">
                <a16:creationId xmlns:a16="http://schemas.microsoft.com/office/drawing/2014/main" id="{C8B15BD3-2A3F-B505-D2C1-0332B340314E}"/>
              </a:ext>
            </a:extLst>
          </p:cNvPr>
          <p:cNvSpPr>
            <a:spLocks noGrp="1"/>
          </p:cNvSpPr>
          <p:nvPr>
            <p:ph type="body" sz="quarter" idx="42"/>
          </p:nvPr>
        </p:nvSpPr>
        <p:spPr>
          <a:xfrm>
            <a:off x="6476999" y="1326515"/>
            <a:ext cx="5127625" cy="607060"/>
          </a:xfrm>
          <a:prstGeom prst="rect">
            <a:avLst/>
          </a:prstGeom>
        </p:spPr>
        <p:txBody>
          <a:bodyPr tIns="0" bIns="0" anchor="ctr">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37" name="Rectangle 36">
            <a:extLst>
              <a:ext uri="{FF2B5EF4-FFF2-40B4-BE49-F238E27FC236}">
                <a16:creationId xmlns:a16="http://schemas.microsoft.com/office/drawing/2014/main" id="{EB6055E9-E6F7-641B-80FB-0B939D173EF4}"/>
              </a:ext>
            </a:extLst>
          </p:cNvPr>
          <p:cNvSpPr/>
          <p:nvPr userDrawn="1"/>
        </p:nvSpPr>
        <p:spPr>
          <a:xfrm>
            <a:off x="0" y="2567262"/>
            <a:ext cx="5330824" cy="1718988"/>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8" name="Title 1">
            <a:extLst>
              <a:ext uri="{FF2B5EF4-FFF2-40B4-BE49-F238E27FC236}">
                <a16:creationId xmlns:a16="http://schemas.microsoft.com/office/drawing/2014/main" id="{A830DC25-802B-19A0-E4B3-1D633449CFAA}"/>
              </a:ext>
            </a:extLst>
          </p:cNvPr>
          <p:cNvSpPr>
            <a:spLocks noGrp="1"/>
          </p:cNvSpPr>
          <p:nvPr>
            <p:ph type="title" hasCustomPrompt="1"/>
          </p:nvPr>
        </p:nvSpPr>
        <p:spPr>
          <a:xfrm>
            <a:off x="584201" y="2703930"/>
            <a:ext cx="4425950" cy="1445652"/>
          </a:xfrm>
        </p:spPr>
        <p:txBody>
          <a:bodyPr anchor="ctr">
            <a:noAutofit/>
          </a:bodyPr>
          <a:lstStyle>
            <a:lvl1pPr>
              <a:defRPr>
                <a:solidFill>
                  <a:srgbClr val="FFFFFF"/>
                </a:solidFill>
              </a:defRPr>
            </a:lvl1pPr>
          </a:lstStyle>
          <a:p>
            <a:r>
              <a:rPr lang="en-US" dirty="0"/>
              <a:t>Click to edit Master text</a:t>
            </a:r>
            <a:endParaRPr lang="en-ID" dirty="0"/>
          </a:p>
        </p:txBody>
      </p:sp>
      <p:cxnSp>
        <p:nvCxnSpPr>
          <p:cNvPr id="39" name="Straight Connector 38">
            <a:extLst>
              <a:ext uri="{FF2B5EF4-FFF2-40B4-BE49-F238E27FC236}">
                <a16:creationId xmlns:a16="http://schemas.microsoft.com/office/drawing/2014/main" id="{0990EA30-774B-C58A-0F2E-BA47E1EB0D86}"/>
              </a:ext>
            </a:extLst>
          </p:cNvPr>
          <p:cNvCxnSpPr>
            <a:cxnSpLocks/>
          </p:cNvCxnSpPr>
          <p:nvPr userDrawn="1"/>
        </p:nvCxnSpPr>
        <p:spPr>
          <a:xfrm>
            <a:off x="5196888" y="2879224"/>
            <a:ext cx="0" cy="1095064"/>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Text Placeholder 29">
            <a:extLst>
              <a:ext uri="{FF2B5EF4-FFF2-40B4-BE49-F238E27FC236}">
                <a16:creationId xmlns:a16="http://schemas.microsoft.com/office/drawing/2014/main" id="{6667C09D-F5FE-C8BE-C254-35A6F3EC9B49}"/>
              </a:ext>
            </a:extLst>
          </p:cNvPr>
          <p:cNvSpPr>
            <a:spLocks noGrp="1"/>
          </p:cNvSpPr>
          <p:nvPr>
            <p:ph type="body" sz="quarter" idx="44"/>
          </p:nvPr>
        </p:nvSpPr>
        <p:spPr>
          <a:xfrm>
            <a:off x="6476999" y="2520907"/>
            <a:ext cx="5127625" cy="607060"/>
          </a:xfrm>
          <a:prstGeom prst="rect">
            <a:avLst/>
          </a:prstGeom>
        </p:spPr>
        <p:txBody>
          <a:bodyPr tIns="0" bIns="0" anchor="ctr">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5" name="Text Placeholder 29">
            <a:extLst>
              <a:ext uri="{FF2B5EF4-FFF2-40B4-BE49-F238E27FC236}">
                <a16:creationId xmlns:a16="http://schemas.microsoft.com/office/drawing/2014/main" id="{F313C270-1389-4400-B626-0F91E48EF99C}"/>
              </a:ext>
            </a:extLst>
          </p:cNvPr>
          <p:cNvSpPr>
            <a:spLocks noGrp="1"/>
          </p:cNvSpPr>
          <p:nvPr>
            <p:ph type="body" sz="quarter" idx="46"/>
          </p:nvPr>
        </p:nvSpPr>
        <p:spPr>
          <a:xfrm>
            <a:off x="6476999" y="3715299"/>
            <a:ext cx="5127625" cy="607060"/>
          </a:xfrm>
          <a:prstGeom prst="rect">
            <a:avLst/>
          </a:prstGeom>
        </p:spPr>
        <p:txBody>
          <a:bodyPr tIns="0" bIns="0" anchor="ctr">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7" name="Text Placeholder 29">
            <a:extLst>
              <a:ext uri="{FF2B5EF4-FFF2-40B4-BE49-F238E27FC236}">
                <a16:creationId xmlns:a16="http://schemas.microsoft.com/office/drawing/2014/main" id="{A68D81B6-7EAF-9410-F2E1-FEE807D73D14}"/>
              </a:ext>
            </a:extLst>
          </p:cNvPr>
          <p:cNvSpPr>
            <a:spLocks noGrp="1"/>
          </p:cNvSpPr>
          <p:nvPr>
            <p:ph type="body" sz="quarter" idx="48"/>
          </p:nvPr>
        </p:nvSpPr>
        <p:spPr>
          <a:xfrm>
            <a:off x="6476999" y="4909691"/>
            <a:ext cx="5127625" cy="607060"/>
          </a:xfrm>
          <a:prstGeom prst="rect">
            <a:avLst/>
          </a:prstGeom>
        </p:spPr>
        <p:txBody>
          <a:bodyPr tIns="0" bIns="0" anchor="ctr">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8" name="Text Placeholder 5">
            <a:extLst>
              <a:ext uri="{FF2B5EF4-FFF2-40B4-BE49-F238E27FC236}">
                <a16:creationId xmlns:a16="http://schemas.microsoft.com/office/drawing/2014/main" id="{8B374301-5977-9039-ACCF-24F94B552430}"/>
              </a:ext>
            </a:extLst>
          </p:cNvPr>
          <p:cNvSpPr>
            <a:spLocks noGrp="1"/>
          </p:cNvSpPr>
          <p:nvPr>
            <p:ph type="body" sz="quarter" idx="49"/>
          </p:nvPr>
        </p:nvSpPr>
        <p:spPr>
          <a:xfrm>
            <a:off x="5839091" y="1373136"/>
            <a:ext cx="513817" cy="513817"/>
          </a:xfrm>
          <a:custGeom>
            <a:avLst/>
            <a:gdLst>
              <a:gd name="connsiteX0" fmla="*/ 391447 w 513817"/>
              <a:gd name="connsiteY0" fmla="*/ 270430 h 513817"/>
              <a:gd name="connsiteX1" fmla="*/ 294093 w 513817"/>
              <a:gd name="connsiteY1" fmla="*/ 469872 h 513817"/>
              <a:gd name="connsiteX2" fmla="*/ 472576 w 513817"/>
              <a:gd name="connsiteY2" fmla="*/ 270430 h 513817"/>
              <a:gd name="connsiteX3" fmla="*/ 270430 w 513817"/>
              <a:gd name="connsiteY3" fmla="*/ 270430 h 513817"/>
              <a:gd name="connsiteX4" fmla="*/ 270430 w 513817"/>
              <a:gd name="connsiteY4" fmla="*/ 456351 h 513817"/>
              <a:gd name="connsiteX5" fmla="*/ 364404 w 513817"/>
              <a:gd name="connsiteY5" fmla="*/ 270430 h 513817"/>
              <a:gd name="connsiteX6" fmla="*/ 149413 w 513817"/>
              <a:gd name="connsiteY6" fmla="*/ 270430 h 513817"/>
              <a:gd name="connsiteX7" fmla="*/ 243387 w 513817"/>
              <a:gd name="connsiteY7" fmla="*/ 456351 h 513817"/>
              <a:gd name="connsiteX8" fmla="*/ 243387 w 513817"/>
              <a:gd name="connsiteY8" fmla="*/ 270430 h 513817"/>
              <a:gd name="connsiteX9" fmla="*/ 41241 w 513817"/>
              <a:gd name="connsiteY9" fmla="*/ 270430 h 513817"/>
              <a:gd name="connsiteX10" fmla="*/ 219724 w 513817"/>
              <a:gd name="connsiteY10" fmla="*/ 469872 h 513817"/>
              <a:gd name="connsiteX11" fmla="*/ 122370 w 513817"/>
              <a:gd name="connsiteY11" fmla="*/ 270430 h 513817"/>
              <a:gd name="connsiteX12" fmla="*/ 270430 w 513817"/>
              <a:gd name="connsiteY12" fmla="*/ 57466 h 513817"/>
              <a:gd name="connsiteX13" fmla="*/ 270430 w 513817"/>
              <a:gd name="connsiteY13" fmla="*/ 243387 h 513817"/>
              <a:gd name="connsiteX14" fmla="*/ 364404 w 513817"/>
              <a:gd name="connsiteY14" fmla="*/ 243387 h 513817"/>
              <a:gd name="connsiteX15" fmla="*/ 270430 w 513817"/>
              <a:gd name="connsiteY15" fmla="*/ 57466 h 513817"/>
              <a:gd name="connsiteX16" fmla="*/ 243387 w 513817"/>
              <a:gd name="connsiteY16" fmla="*/ 57466 h 513817"/>
              <a:gd name="connsiteX17" fmla="*/ 149413 w 513817"/>
              <a:gd name="connsiteY17" fmla="*/ 243387 h 513817"/>
              <a:gd name="connsiteX18" fmla="*/ 243387 w 513817"/>
              <a:gd name="connsiteY18" fmla="*/ 243387 h 513817"/>
              <a:gd name="connsiteX19" fmla="*/ 294093 w 513817"/>
              <a:gd name="connsiteY19" fmla="*/ 43945 h 513817"/>
              <a:gd name="connsiteX20" fmla="*/ 391447 w 513817"/>
              <a:gd name="connsiteY20" fmla="*/ 243387 h 513817"/>
              <a:gd name="connsiteX21" fmla="*/ 472576 w 513817"/>
              <a:gd name="connsiteY21" fmla="*/ 243387 h 513817"/>
              <a:gd name="connsiteX22" fmla="*/ 294093 w 513817"/>
              <a:gd name="connsiteY22" fmla="*/ 43945 h 513817"/>
              <a:gd name="connsiteX23" fmla="*/ 219724 w 513817"/>
              <a:gd name="connsiteY23" fmla="*/ 43945 h 513817"/>
              <a:gd name="connsiteX24" fmla="*/ 41241 w 513817"/>
              <a:gd name="connsiteY24" fmla="*/ 243387 h 513817"/>
              <a:gd name="connsiteX25" fmla="*/ 122370 w 513817"/>
              <a:gd name="connsiteY25" fmla="*/ 243387 h 513817"/>
              <a:gd name="connsiteX26" fmla="*/ 219724 w 513817"/>
              <a:gd name="connsiteY26" fmla="*/ 43945 h 513817"/>
              <a:gd name="connsiteX27" fmla="*/ 256909 w 513817"/>
              <a:gd name="connsiteY27" fmla="*/ 0 h 513817"/>
              <a:gd name="connsiteX28" fmla="*/ 513817 w 513817"/>
              <a:gd name="connsiteY28" fmla="*/ 256909 h 513817"/>
              <a:gd name="connsiteX29" fmla="*/ 256909 w 513817"/>
              <a:gd name="connsiteY29" fmla="*/ 513817 h 513817"/>
              <a:gd name="connsiteX30" fmla="*/ 0 w 513817"/>
              <a:gd name="connsiteY30" fmla="*/ 256909 h 513817"/>
              <a:gd name="connsiteX31" fmla="*/ 256909 w 513817"/>
              <a:gd name="connsiteY31" fmla="*/ 0 h 513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13817" h="513817">
                <a:moveTo>
                  <a:pt x="391447" y="270430"/>
                </a:moveTo>
                <a:cubicBezTo>
                  <a:pt x="386715" y="347503"/>
                  <a:pt x="338038" y="415786"/>
                  <a:pt x="294093" y="469872"/>
                </a:cubicBezTo>
                <a:cubicBezTo>
                  <a:pt x="391447" y="452970"/>
                  <a:pt x="466492" y="371165"/>
                  <a:pt x="472576" y="270430"/>
                </a:cubicBezTo>
                <a:close/>
                <a:moveTo>
                  <a:pt x="270430" y="270430"/>
                </a:moveTo>
                <a:lnTo>
                  <a:pt x="270430" y="456351"/>
                </a:lnTo>
                <a:cubicBezTo>
                  <a:pt x="313699" y="402941"/>
                  <a:pt x="358996" y="340066"/>
                  <a:pt x="364404" y="270430"/>
                </a:cubicBezTo>
                <a:close/>
                <a:moveTo>
                  <a:pt x="149413" y="270430"/>
                </a:moveTo>
                <a:cubicBezTo>
                  <a:pt x="154821" y="340066"/>
                  <a:pt x="200118" y="402941"/>
                  <a:pt x="243387" y="456351"/>
                </a:cubicBezTo>
                <a:lnTo>
                  <a:pt x="243387" y="270430"/>
                </a:lnTo>
                <a:close/>
                <a:moveTo>
                  <a:pt x="41241" y="270430"/>
                </a:moveTo>
                <a:cubicBezTo>
                  <a:pt x="47325" y="371165"/>
                  <a:pt x="122370" y="452970"/>
                  <a:pt x="219724" y="469872"/>
                </a:cubicBezTo>
                <a:cubicBezTo>
                  <a:pt x="175780" y="415786"/>
                  <a:pt x="127778" y="347503"/>
                  <a:pt x="122370" y="270430"/>
                </a:cubicBezTo>
                <a:close/>
                <a:moveTo>
                  <a:pt x="270430" y="57466"/>
                </a:moveTo>
                <a:lnTo>
                  <a:pt x="270430" y="243387"/>
                </a:lnTo>
                <a:lnTo>
                  <a:pt x="364404" y="243387"/>
                </a:lnTo>
                <a:cubicBezTo>
                  <a:pt x="358996" y="173075"/>
                  <a:pt x="313699" y="110876"/>
                  <a:pt x="270430" y="57466"/>
                </a:cubicBezTo>
                <a:close/>
                <a:moveTo>
                  <a:pt x="243387" y="57466"/>
                </a:moveTo>
                <a:cubicBezTo>
                  <a:pt x="200118" y="110876"/>
                  <a:pt x="154821" y="173751"/>
                  <a:pt x="149413" y="243387"/>
                </a:cubicBezTo>
                <a:lnTo>
                  <a:pt x="243387" y="243387"/>
                </a:lnTo>
                <a:close/>
                <a:moveTo>
                  <a:pt x="294093" y="43945"/>
                </a:moveTo>
                <a:cubicBezTo>
                  <a:pt x="338038" y="98031"/>
                  <a:pt x="386715" y="166314"/>
                  <a:pt x="391447" y="243387"/>
                </a:cubicBezTo>
                <a:lnTo>
                  <a:pt x="472576" y="243387"/>
                </a:lnTo>
                <a:cubicBezTo>
                  <a:pt x="466492" y="142652"/>
                  <a:pt x="391447" y="60847"/>
                  <a:pt x="294093" y="43945"/>
                </a:cubicBezTo>
                <a:close/>
                <a:moveTo>
                  <a:pt x="219724" y="43945"/>
                </a:moveTo>
                <a:cubicBezTo>
                  <a:pt x="122370" y="60847"/>
                  <a:pt x="47325" y="142652"/>
                  <a:pt x="41241" y="243387"/>
                </a:cubicBezTo>
                <a:lnTo>
                  <a:pt x="122370" y="243387"/>
                </a:lnTo>
                <a:cubicBezTo>
                  <a:pt x="127102" y="166314"/>
                  <a:pt x="175780" y="98031"/>
                  <a:pt x="219724" y="43945"/>
                </a:cubicBezTo>
                <a:close/>
                <a:moveTo>
                  <a:pt x="256909" y="0"/>
                </a:moveTo>
                <a:cubicBezTo>
                  <a:pt x="398884" y="0"/>
                  <a:pt x="513817" y="114933"/>
                  <a:pt x="513817" y="256909"/>
                </a:cubicBezTo>
                <a:cubicBezTo>
                  <a:pt x="513817" y="398884"/>
                  <a:pt x="398884" y="513817"/>
                  <a:pt x="256909" y="513817"/>
                </a:cubicBezTo>
                <a:cubicBezTo>
                  <a:pt x="114933" y="513817"/>
                  <a:pt x="0" y="398884"/>
                  <a:pt x="0" y="256909"/>
                </a:cubicBezTo>
                <a:cubicBezTo>
                  <a:pt x="0" y="114933"/>
                  <a:pt x="114933" y="0"/>
                  <a:pt x="25690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lgn="ctr">
              <a:defRPr lang="en-GB" sz="1000" b="1" dirty="0">
                <a:solidFill>
                  <a:schemeClr val="lt1">
                    <a:alpha val="0"/>
                  </a:schemeClr>
                </a:solidFill>
              </a:defRPr>
            </a:lvl1pPr>
          </a:lstStyle>
          <a:p>
            <a:pPr lvl="0" algn="ctr"/>
            <a:endParaRPr lang="en-GB" dirty="0"/>
          </a:p>
        </p:txBody>
      </p:sp>
      <p:sp>
        <p:nvSpPr>
          <p:cNvPr id="9" name="Text Placeholder 6">
            <a:extLst>
              <a:ext uri="{FF2B5EF4-FFF2-40B4-BE49-F238E27FC236}">
                <a16:creationId xmlns:a16="http://schemas.microsoft.com/office/drawing/2014/main" id="{189560EE-D986-44EE-9C19-CCA4ED43D787}"/>
              </a:ext>
            </a:extLst>
          </p:cNvPr>
          <p:cNvSpPr>
            <a:spLocks noGrp="1"/>
          </p:cNvSpPr>
          <p:nvPr>
            <p:ph type="body" sz="quarter" idx="43"/>
          </p:nvPr>
        </p:nvSpPr>
        <p:spPr>
          <a:xfrm>
            <a:off x="5825570" y="2540400"/>
            <a:ext cx="540860" cy="594946"/>
          </a:xfrm>
          <a:custGeom>
            <a:avLst/>
            <a:gdLst>
              <a:gd name="connsiteX0" fmla="*/ 270768 w 540860"/>
              <a:gd name="connsiteY0" fmla="*/ 393307 h 594946"/>
              <a:gd name="connsiteX1" fmla="*/ 205527 w 540860"/>
              <a:gd name="connsiteY1" fmla="*/ 419167 h 594946"/>
              <a:gd name="connsiteX2" fmla="*/ 196062 w 540860"/>
              <a:gd name="connsiteY2" fmla="*/ 427956 h 594946"/>
              <a:gd name="connsiteX3" fmla="*/ 62199 w 540860"/>
              <a:gd name="connsiteY3" fmla="*/ 554382 h 594946"/>
              <a:gd name="connsiteX4" fmla="*/ 478661 w 540860"/>
              <a:gd name="connsiteY4" fmla="*/ 554382 h 594946"/>
              <a:gd name="connsiteX5" fmla="*/ 345474 w 540860"/>
              <a:gd name="connsiteY5" fmla="*/ 427956 h 594946"/>
              <a:gd name="connsiteX6" fmla="*/ 336009 w 540860"/>
              <a:gd name="connsiteY6" fmla="*/ 419167 h 594946"/>
              <a:gd name="connsiteX7" fmla="*/ 270768 w 540860"/>
              <a:gd name="connsiteY7" fmla="*/ 393307 h 594946"/>
              <a:gd name="connsiteX8" fmla="*/ 500296 w 540860"/>
              <a:gd name="connsiteY8" fmla="*/ 281247 h 594946"/>
              <a:gd name="connsiteX9" fmla="*/ 365081 w 540860"/>
              <a:gd name="connsiteY9" fmla="*/ 409701 h 594946"/>
              <a:gd name="connsiteX10" fmla="*/ 500296 w 540860"/>
              <a:gd name="connsiteY10" fmla="*/ 538156 h 594946"/>
              <a:gd name="connsiteX11" fmla="*/ 40565 w 540860"/>
              <a:gd name="connsiteY11" fmla="*/ 280571 h 594946"/>
              <a:gd name="connsiteX12" fmla="*/ 40565 w 540860"/>
              <a:gd name="connsiteY12" fmla="*/ 537480 h 594946"/>
              <a:gd name="connsiteX13" fmla="*/ 175780 w 540860"/>
              <a:gd name="connsiteY13" fmla="*/ 409025 h 594946"/>
              <a:gd name="connsiteX14" fmla="*/ 270429 w 540860"/>
              <a:gd name="connsiteY14" fmla="*/ 215668 h 594946"/>
              <a:gd name="connsiteX15" fmla="*/ 248795 w 540860"/>
              <a:gd name="connsiteY15" fmla="*/ 237302 h 594946"/>
              <a:gd name="connsiteX16" fmla="*/ 270429 w 540860"/>
              <a:gd name="connsiteY16" fmla="*/ 258936 h 594946"/>
              <a:gd name="connsiteX17" fmla="*/ 292064 w 540860"/>
              <a:gd name="connsiteY17" fmla="*/ 237302 h 594946"/>
              <a:gd name="connsiteX18" fmla="*/ 270429 w 540860"/>
              <a:gd name="connsiteY18" fmla="*/ 215668 h 594946"/>
              <a:gd name="connsiteX19" fmla="*/ 271105 w 540860"/>
              <a:gd name="connsiteY19" fmla="*/ 147384 h 594946"/>
              <a:gd name="connsiteX20" fmla="*/ 358995 w 540860"/>
              <a:gd name="connsiteY20" fmla="*/ 235274 h 594946"/>
              <a:gd name="connsiteX21" fmla="*/ 358995 w 540860"/>
              <a:gd name="connsiteY21" fmla="*/ 256908 h 594946"/>
              <a:gd name="connsiteX22" fmla="*/ 337361 w 540860"/>
              <a:gd name="connsiteY22" fmla="*/ 278543 h 594946"/>
              <a:gd name="connsiteX23" fmla="*/ 304233 w 540860"/>
              <a:gd name="connsiteY23" fmla="*/ 263669 h 594946"/>
              <a:gd name="connsiteX24" fmla="*/ 248119 w 540860"/>
              <a:gd name="connsiteY24" fmla="*/ 272458 h 594946"/>
              <a:gd name="connsiteX25" fmla="*/ 229865 w 540860"/>
              <a:gd name="connsiteY25" fmla="*/ 219048 h 594946"/>
              <a:gd name="connsiteX26" fmla="*/ 279218 w 540860"/>
              <a:gd name="connsiteY26" fmla="*/ 192005 h 594946"/>
              <a:gd name="connsiteX27" fmla="*/ 315050 w 540860"/>
              <a:gd name="connsiteY27" fmla="*/ 235950 h 594946"/>
              <a:gd name="connsiteX28" fmla="*/ 336685 w 540860"/>
              <a:gd name="connsiteY28" fmla="*/ 257584 h 594946"/>
              <a:gd name="connsiteX29" fmla="*/ 336685 w 540860"/>
              <a:gd name="connsiteY29" fmla="*/ 235950 h 594946"/>
              <a:gd name="connsiteX30" fmla="*/ 271105 w 540860"/>
              <a:gd name="connsiteY30" fmla="*/ 170371 h 594946"/>
              <a:gd name="connsiteX31" fmla="*/ 205526 w 540860"/>
              <a:gd name="connsiteY31" fmla="*/ 235950 h 594946"/>
              <a:gd name="connsiteX32" fmla="*/ 270429 w 540860"/>
              <a:gd name="connsiteY32" fmla="*/ 301529 h 594946"/>
              <a:gd name="connsiteX33" fmla="*/ 303557 w 540860"/>
              <a:gd name="connsiteY33" fmla="*/ 293416 h 594946"/>
              <a:gd name="connsiteX34" fmla="*/ 319107 w 540860"/>
              <a:gd name="connsiteY34" fmla="*/ 298149 h 594946"/>
              <a:gd name="connsiteX35" fmla="*/ 314374 w 540860"/>
              <a:gd name="connsiteY35" fmla="*/ 313698 h 594946"/>
              <a:gd name="connsiteX36" fmla="*/ 270429 w 540860"/>
              <a:gd name="connsiteY36" fmla="*/ 324516 h 594946"/>
              <a:gd name="connsiteX37" fmla="*/ 183216 w 540860"/>
              <a:gd name="connsiteY37" fmla="*/ 235274 h 594946"/>
              <a:gd name="connsiteX38" fmla="*/ 271105 w 540860"/>
              <a:gd name="connsiteY38" fmla="*/ 147384 h 594946"/>
              <a:gd name="connsiteX39" fmla="*/ 135215 w 540860"/>
              <a:gd name="connsiteY39" fmla="*/ 108172 h 594946"/>
              <a:gd name="connsiteX40" fmla="*/ 135215 w 540860"/>
              <a:gd name="connsiteY40" fmla="*/ 333305 h 594946"/>
              <a:gd name="connsiteX41" fmla="*/ 196062 w 540860"/>
              <a:gd name="connsiteY41" fmla="*/ 391447 h 594946"/>
              <a:gd name="connsiteX42" fmla="*/ 344798 w 540860"/>
              <a:gd name="connsiteY42" fmla="*/ 391447 h 594946"/>
              <a:gd name="connsiteX43" fmla="*/ 405645 w 540860"/>
              <a:gd name="connsiteY43" fmla="*/ 333305 h 594946"/>
              <a:gd name="connsiteX44" fmla="*/ 405645 w 540860"/>
              <a:gd name="connsiteY44" fmla="*/ 108172 h 594946"/>
              <a:gd name="connsiteX45" fmla="*/ 270430 w 540860"/>
              <a:gd name="connsiteY45" fmla="*/ 0 h 594946"/>
              <a:gd name="connsiteX46" fmla="*/ 351559 w 540860"/>
              <a:gd name="connsiteY46" fmla="*/ 67608 h 594946"/>
              <a:gd name="connsiteX47" fmla="*/ 446210 w 540860"/>
              <a:gd name="connsiteY47" fmla="*/ 67608 h 594946"/>
              <a:gd name="connsiteX48" fmla="*/ 446210 w 540860"/>
              <a:gd name="connsiteY48" fmla="*/ 126426 h 594946"/>
              <a:gd name="connsiteX49" fmla="*/ 540860 w 540860"/>
              <a:gd name="connsiteY49" fmla="*/ 217020 h 594946"/>
              <a:gd name="connsiteX50" fmla="*/ 540860 w 540860"/>
              <a:gd name="connsiteY50" fmla="*/ 594946 h 594946"/>
              <a:gd name="connsiteX51" fmla="*/ 0 w 540860"/>
              <a:gd name="connsiteY51" fmla="*/ 594946 h 594946"/>
              <a:gd name="connsiteX52" fmla="*/ 0 w 540860"/>
              <a:gd name="connsiteY52" fmla="*/ 217020 h 594946"/>
              <a:gd name="connsiteX53" fmla="*/ 94651 w 540860"/>
              <a:gd name="connsiteY53" fmla="*/ 127102 h 594946"/>
              <a:gd name="connsiteX54" fmla="*/ 94651 w 540860"/>
              <a:gd name="connsiteY54" fmla="*/ 67608 h 594946"/>
              <a:gd name="connsiteX55" fmla="*/ 189301 w 540860"/>
              <a:gd name="connsiteY55" fmla="*/ 67608 h 594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40860" h="594946">
                <a:moveTo>
                  <a:pt x="270768" y="393307"/>
                </a:moveTo>
                <a:cubicBezTo>
                  <a:pt x="247275" y="393307"/>
                  <a:pt x="223781" y="401927"/>
                  <a:pt x="205527" y="419167"/>
                </a:cubicBezTo>
                <a:lnTo>
                  <a:pt x="196062" y="427956"/>
                </a:lnTo>
                <a:lnTo>
                  <a:pt x="62199" y="554382"/>
                </a:lnTo>
                <a:lnTo>
                  <a:pt x="478661" y="554382"/>
                </a:lnTo>
                <a:lnTo>
                  <a:pt x="345474" y="427956"/>
                </a:lnTo>
                <a:lnTo>
                  <a:pt x="336009" y="419167"/>
                </a:lnTo>
                <a:cubicBezTo>
                  <a:pt x="317755" y="401927"/>
                  <a:pt x="294262" y="393307"/>
                  <a:pt x="270768" y="393307"/>
                </a:cubicBezTo>
                <a:close/>
                <a:moveTo>
                  <a:pt x="500296" y="281247"/>
                </a:moveTo>
                <a:lnTo>
                  <a:pt x="365081" y="409701"/>
                </a:lnTo>
                <a:lnTo>
                  <a:pt x="500296" y="538156"/>
                </a:lnTo>
                <a:close/>
                <a:moveTo>
                  <a:pt x="40565" y="280571"/>
                </a:moveTo>
                <a:lnTo>
                  <a:pt x="40565" y="537480"/>
                </a:lnTo>
                <a:lnTo>
                  <a:pt x="175780" y="409025"/>
                </a:lnTo>
                <a:close/>
                <a:moveTo>
                  <a:pt x="270429" y="215668"/>
                </a:moveTo>
                <a:cubicBezTo>
                  <a:pt x="258936" y="215668"/>
                  <a:pt x="248795" y="225133"/>
                  <a:pt x="248795" y="237302"/>
                </a:cubicBezTo>
                <a:cubicBezTo>
                  <a:pt x="248795" y="248795"/>
                  <a:pt x="258260" y="258936"/>
                  <a:pt x="270429" y="258936"/>
                </a:cubicBezTo>
                <a:cubicBezTo>
                  <a:pt x="282599" y="258936"/>
                  <a:pt x="292064" y="249471"/>
                  <a:pt x="292064" y="237302"/>
                </a:cubicBezTo>
                <a:cubicBezTo>
                  <a:pt x="292064" y="225133"/>
                  <a:pt x="282599" y="215668"/>
                  <a:pt x="270429" y="215668"/>
                </a:cubicBezTo>
                <a:close/>
                <a:moveTo>
                  <a:pt x="271105" y="147384"/>
                </a:moveTo>
                <a:cubicBezTo>
                  <a:pt x="319783" y="147384"/>
                  <a:pt x="358995" y="186596"/>
                  <a:pt x="358995" y="235274"/>
                </a:cubicBezTo>
                <a:lnTo>
                  <a:pt x="358995" y="256908"/>
                </a:lnTo>
                <a:cubicBezTo>
                  <a:pt x="358995" y="269078"/>
                  <a:pt x="349530" y="278543"/>
                  <a:pt x="337361" y="278543"/>
                </a:cubicBezTo>
                <a:cubicBezTo>
                  <a:pt x="324515" y="278543"/>
                  <a:pt x="312346" y="273134"/>
                  <a:pt x="304233" y="263669"/>
                </a:cubicBezTo>
                <a:cubicBezTo>
                  <a:pt x="290035" y="279895"/>
                  <a:pt x="266373" y="283275"/>
                  <a:pt x="248119" y="272458"/>
                </a:cubicBezTo>
                <a:cubicBezTo>
                  <a:pt x="229865" y="261641"/>
                  <a:pt x="222428" y="238654"/>
                  <a:pt x="229865" y="219048"/>
                </a:cubicBezTo>
                <a:cubicBezTo>
                  <a:pt x="237302" y="199442"/>
                  <a:pt x="258260" y="187949"/>
                  <a:pt x="279218" y="192005"/>
                </a:cubicBezTo>
                <a:cubicBezTo>
                  <a:pt x="300177" y="196061"/>
                  <a:pt x="315050" y="214315"/>
                  <a:pt x="315050" y="235950"/>
                </a:cubicBezTo>
                <a:cubicBezTo>
                  <a:pt x="315050" y="248119"/>
                  <a:pt x="324515" y="257584"/>
                  <a:pt x="336685" y="257584"/>
                </a:cubicBezTo>
                <a:lnTo>
                  <a:pt x="336685" y="235950"/>
                </a:lnTo>
                <a:cubicBezTo>
                  <a:pt x="336685" y="199442"/>
                  <a:pt x="306937" y="170371"/>
                  <a:pt x="271105" y="170371"/>
                </a:cubicBezTo>
                <a:cubicBezTo>
                  <a:pt x="235273" y="170371"/>
                  <a:pt x="205526" y="200118"/>
                  <a:pt x="205526" y="235950"/>
                </a:cubicBezTo>
                <a:cubicBezTo>
                  <a:pt x="204850" y="271782"/>
                  <a:pt x="234597" y="301529"/>
                  <a:pt x="270429" y="301529"/>
                </a:cubicBezTo>
                <a:cubicBezTo>
                  <a:pt x="281923" y="301529"/>
                  <a:pt x="293416" y="298825"/>
                  <a:pt x="303557" y="293416"/>
                </a:cubicBezTo>
                <a:cubicBezTo>
                  <a:pt x="308966" y="290712"/>
                  <a:pt x="315726" y="292740"/>
                  <a:pt x="319107" y="298149"/>
                </a:cubicBezTo>
                <a:cubicBezTo>
                  <a:pt x="321811" y="303557"/>
                  <a:pt x="319783" y="310318"/>
                  <a:pt x="314374" y="313698"/>
                </a:cubicBezTo>
                <a:cubicBezTo>
                  <a:pt x="300853" y="320459"/>
                  <a:pt x="285979" y="324516"/>
                  <a:pt x="270429" y="324516"/>
                </a:cubicBezTo>
                <a:cubicBezTo>
                  <a:pt x="221752" y="323840"/>
                  <a:pt x="182540" y="284627"/>
                  <a:pt x="183216" y="235274"/>
                </a:cubicBezTo>
                <a:cubicBezTo>
                  <a:pt x="183216" y="186596"/>
                  <a:pt x="222428" y="147384"/>
                  <a:pt x="271105" y="147384"/>
                </a:cubicBezTo>
                <a:close/>
                <a:moveTo>
                  <a:pt x="135215" y="108172"/>
                </a:moveTo>
                <a:lnTo>
                  <a:pt x="135215" y="333305"/>
                </a:lnTo>
                <a:lnTo>
                  <a:pt x="196062" y="391447"/>
                </a:lnTo>
                <a:cubicBezTo>
                  <a:pt x="240007" y="357644"/>
                  <a:pt x="300853" y="357644"/>
                  <a:pt x="344798" y="391447"/>
                </a:cubicBezTo>
                <a:lnTo>
                  <a:pt x="405645" y="333305"/>
                </a:lnTo>
                <a:lnTo>
                  <a:pt x="405645" y="108172"/>
                </a:lnTo>
                <a:close/>
                <a:moveTo>
                  <a:pt x="270430" y="0"/>
                </a:moveTo>
                <a:lnTo>
                  <a:pt x="351559" y="67608"/>
                </a:lnTo>
                <a:lnTo>
                  <a:pt x="446210" y="67608"/>
                </a:lnTo>
                <a:lnTo>
                  <a:pt x="446210" y="126426"/>
                </a:lnTo>
                <a:lnTo>
                  <a:pt x="540860" y="217020"/>
                </a:lnTo>
                <a:lnTo>
                  <a:pt x="540860" y="594946"/>
                </a:lnTo>
                <a:lnTo>
                  <a:pt x="0" y="594946"/>
                </a:lnTo>
                <a:lnTo>
                  <a:pt x="0" y="217020"/>
                </a:lnTo>
                <a:lnTo>
                  <a:pt x="94651" y="127102"/>
                </a:lnTo>
                <a:lnTo>
                  <a:pt x="94651" y="67608"/>
                </a:lnTo>
                <a:lnTo>
                  <a:pt x="189301" y="6760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lgn="ctr">
              <a:defRPr lang="en-GB" sz="1000" b="1" dirty="0">
                <a:solidFill>
                  <a:schemeClr val="lt1">
                    <a:alpha val="0"/>
                  </a:schemeClr>
                </a:solidFill>
              </a:defRPr>
            </a:lvl1pPr>
          </a:lstStyle>
          <a:p>
            <a:pPr lvl="0" algn="ctr"/>
            <a:endParaRPr lang="en-GB" dirty="0"/>
          </a:p>
        </p:txBody>
      </p:sp>
      <p:sp>
        <p:nvSpPr>
          <p:cNvPr id="10" name="Text Placeholder 10">
            <a:extLst>
              <a:ext uri="{FF2B5EF4-FFF2-40B4-BE49-F238E27FC236}">
                <a16:creationId xmlns:a16="http://schemas.microsoft.com/office/drawing/2014/main" id="{9236B62B-08A6-31D4-74E0-38DBCD975150}"/>
              </a:ext>
            </a:extLst>
          </p:cNvPr>
          <p:cNvSpPr>
            <a:spLocks noGrp="1"/>
          </p:cNvSpPr>
          <p:nvPr>
            <p:ph type="body" sz="quarter" idx="50"/>
          </p:nvPr>
        </p:nvSpPr>
        <p:spPr>
          <a:xfrm>
            <a:off x="5825911" y="3788793"/>
            <a:ext cx="539842" cy="541115"/>
          </a:xfrm>
          <a:custGeom>
            <a:avLst/>
            <a:gdLst>
              <a:gd name="connsiteX0" fmla="*/ 417472 w 539842"/>
              <a:gd name="connsiteY0" fmla="*/ 321135 h 541115"/>
              <a:gd name="connsiteX1" fmla="*/ 438431 w 539842"/>
              <a:gd name="connsiteY1" fmla="*/ 329924 h 541115"/>
              <a:gd name="connsiteX2" fmla="*/ 531729 w 539842"/>
              <a:gd name="connsiteY2" fmla="*/ 423222 h 541115"/>
              <a:gd name="connsiteX3" fmla="*/ 539842 w 539842"/>
              <a:gd name="connsiteY3" fmla="*/ 444181 h 541115"/>
              <a:gd name="connsiteX4" fmla="*/ 531053 w 539842"/>
              <a:gd name="connsiteY4" fmla="*/ 465139 h 541115"/>
              <a:gd name="connsiteX5" fmla="*/ 520912 w 539842"/>
              <a:gd name="connsiteY5" fmla="*/ 475280 h 541115"/>
              <a:gd name="connsiteX6" fmla="*/ 386373 w 539842"/>
              <a:gd name="connsiteY6" fmla="*/ 340741 h 541115"/>
              <a:gd name="connsiteX7" fmla="*/ 396514 w 539842"/>
              <a:gd name="connsiteY7" fmla="*/ 329924 h 541115"/>
              <a:gd name="connsiteX8" fmla="*/ 417472 w 539842"/>
              <a:gd name="connsiteY8" fmla="*/ 321135 h 541115"/>
              <a:gd name="connsiteX9" fmla="*/ 44956 w 539842"/>
              <a:gd name="connsiteY9" fmla="*/ 39888 h 541115"/>
              <a:gd name="connsiteX10" fmla="*/ 179495 w 539842"/>
              <a:gd name="connsiteY10" fmla="*/ 174427 h 541115"/>
              <a:gd name="connsiteX11" fmla="*/ 158536 w 539842"/>
              <a:gd name="connsiteY11" fmla="*/ 194709 h 541115"/>
              <a:gd name="connsiteX12" fmla="*/ 154480 w 539842"/>
              <a:gd name="connsiteY12" fmla="*/ 204850 h 541115"/>
              <a:gd name="connsiteX13" fmla="*/ 158536 w 539842"/>
              <a:gd name="connsiteY13" fmla="*/ 214991 h 541115"/>
              <a:gd name="connsiteX14" fmla="*/ 326203 w 539842"/>
              <a:gd name="connsiteY14" fmla="*/ 381982 h 541115"/>
              <a:gd name="connsiteX15" fmla="*/ 336344 w 539842"/>
              <a:gd name="connsiteY15" fmla="*/ 386038 h 541115"/>
              <a:gd name="connsiteX16" fmla="*/ 346485 w 539842"/>
              <a:gd name="connsiteY16" fmla="*/ 381982 h 541115"/>
              <a:gd name="connsiteX17" fmla="*/ 366767 w 539842"/>
              <a:gd name="connsiteY17" fmla="*/ 361024 h 541115"/>
              <a:gd name="connsiteX18" fmla="*/ 500630 w 539842"/>
              <a:gd name="connsiteY18" fmla="*/ 495563 h 541115"/>
              <a:gd name="connsiteX19" fmla="*/ 482376 w 539842"/>
              <a:gd name="connsiteY19" fmla="*/ 513817 h 541115"/>
              <a:gd name="connsiteX20" fmla="*/ 413417 w 539842"/>
              <a:gd name="connsiteY20" fmla="*/ 540860 h 541115"/>
              <a:gd name="connsiteX21" fmla="*/ 305245 w 539842"/>
              <a:gd name="connsiteY21" fmla="*/ 509084 h 541115"/>
              <a:gd name="connsiteX22" fmla="*/ 262652 w 539842"/>
              <a:gd name="connsiteY22" fmla="*/ 482041 h 541115"/>
              <a:gd name="connsiteX23" fmla="*/ 56449 w 539842"/>
              <a:gd name="connsiteY23" fmla="*/ 269077 h 541115"/>
              <a:gd name="connsiteX24" fmla="*/ 15885 w 539842"/>
              <a:gd name="connsiteY24" fmla="*/ 198090 h 541115"/>
              <a:gd name="connsiteX25" fmla="*/ 335 w 539842"/>
              <a:gd name="connsiteY25" fmla="*/ 110200 h 541115"/>
              <a:gd name="connsiteX26" fmla="*/ 22645 w 539842"/>
              <a:gd name="connsiteY26" fmla="*/ 62198 h 541115"/>
              <a:gd name="connsiteX27" fmla="*/ 44956 w 539842"/>
              <a:gd name="connsiteY27" fmla="*/ 39888 h 541115"/>
              <a:gd name="connsiteX28" fmla="*/ 97013 w 539842"/>
              <a:gd name="connsiteY28" fmla="*/ 0 h 541115"/>
              <a:gd name="connsiteX29" fmla="*/ 117296 w 539842"/>
              <a:gd name="connsiteY29" fmla="*/ 8789 h 541115"/>
              <a:gd name="connsiteX30" fmla="*/ 210594 w 539842"/>
              <a:gd name="connsiteY30" fmla="*/ 101411 h 541115"/>
              <a:gd name="connsiteX31" fmla="*/ 219383 w 539842"/>
              <a:gd name="connsiteY31" fmla="*/ 122370 h 541115"/>
              <a:gd name="connsiteX32" fmla="*/ 210594 w 539842"/>
              <a:gd name="connsiteY32" fmla="*/ 143328 h 541115"/>
              <a:gd name="connsiteX33" fmla="*/ 200453 w 539842"/>
              <a:gd name="connsiteY33" fmla="*/ 153469 h 541115"/>
              <a:gd name="connsiteX34" fmla="*/ 65914 w 539842"/>
              <a:gd name="connsiteY34" fmla="*/ 18930 h 541115"/>
              <a:gd name="connsiteX35" fmla="*/ 76055 w 539842"/>
              <a:gd name="connsiteY35" fmla="*/ 8789 h 541115"/>
              <a:gd name="connsiteX36" fmla="*/ 97013 w 539842"/>
              <a:gd name="connsiteY36" fmla="*/ 0 h 541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39842" h="541115">
                <a:moveTo>
                  <a:pt x="417472" y="321135"/>
                </a:moveTo>
                <a:cubicBezTo>
                  <a:pt x="425585" y="321135"/>
                  <a:pt x="433022" y="324515"/>
                  <a:pt x="438431" y="329924"/>
                </a:cubicBezTo>
                <a:lnTo>
                  <a:pt x="531729" y="423222"/>
                </a:lnTo>
                <a:cubicBezTo>
                  <a:pt x="537138" y="428631"/>
                  <a:pt x="539842" y="436068"/>
                  <a:pt x="539842" y="444181"/>
                </a:cubicBezTo>
                <a:cubicBezTo>
                  <a:pt x="539842" y="452294"/>
                  <a:pt x="536462" y="459730"/>
                  <a:pt x="531053" y="465139"/>
                </a:cubicBezTo>
                <a:lnTo>
                  <a:pt x="520912" y="475280"/>
                </a:lnTo>
                <a:lnTo>
                  <a:pt x="386373" y="340741"/>
                </a:lnTo>
                <a:lnTo>
                  <a:pt x="396514" y="329924"/>
                </a:lnTo>
                <a:cubicBezTo>
                  <a:pt x="401923" y="324515"/>
                  <a:pt x="409360" y="321135"/>
                  <a:pt x="417472" y="321135"/>
                </a:cubicBezTo>
                <a:close/>
                <a:moveTo>
                  <a:pt x="44956" y="39888"/>
                </a:moveTo>
                <a:lnTo>
                  <a:pt x="179495" y="174427"/>
                </a:lnTo>
                <a:lnTo>
                  <a:pt x="158536" y="194709"/>
                </a:lnTo>
                <a:cubicBezTo>
                  <a:pt x="155832" y="197413"/>
                  <a:pt x="154480" y="201470"/>
                  <a:pt x="154480" y="204850"/>
                </a:cubicBezTo>
                <a:cubicBezTo>
                  <a:pt x="154480" y="208231"/>
                  <a:pt x="155832" y="212287"/>
                  <a:pt x="158536" y="214991"/>
                </a:cubicBezTo>
                <a:lnTo>
                  <a:pt x="326203" y="381982"/>
                </a:lnTo>
                <a:cubicBezTo>
                  <a:pt x="328907" y="384686"/>
                  <a:pt x="332964" y="386038"/>
                  <a:pt x="336344" y="386038"/>
                </a:cubicBezTo>
                <a:cubicBezTo>
                  <a:pt x="339724" y="386038"/>
                  <a:pt x="343781" y="384686"/>
                  <a:pt x="346485" y="381982"/>
                </a:cubicBezTo>
                <a:lnTo>
                  <a:pt x="366767" y="361024"/>
                </a:lnTo>
                <a:lnTo>
                  <a:pt x="500630" y="495563"/>
                </a:lnTo>
                <a:lnTo>
                  <a:pt x="482376" y="513817"/>
                </a:lnTo>
                <a:cubicBezTo>
                  <a:pt x="464798" y="532747"/>
                  <a:pt x="439107" y="542888"/>
                  <a:pt x="413417" y="540860"/>
                </a:cubicBezTo>
                <a:cubicBezTo>
                  <a:pt x="374880" y="538155"/>
                  <a:pt x="339048" y="525986"/>
                  <a:pt x="305245" y="509084"/>
                </a:cubicBezTo>
                <a:cubicBezTo>
                  <a:pt x="290371" y="500971"/>
                  <a:pt x="276173" y="492182"/>
                  <a:pt x="262652" y="482041"/>
                </a:cubicBezTo>
                <a:cubicBezTo>
                  <a:pt x="181523" y="424575"/>
                  <a:pt x="111887" y="352235"/>
                  <a:pt x="56449" y="269077"/>
                </a:cubicBezTo>
                <a:cubicBezTo>
                  <a:pt x="40899" y="246767"/>
                  <a:pt x="26702" y="223104"/>
                  <a:pt x="15885" y="198090"/>
                </a:cubicBezTo>
                <a:cubicBezTo>
                  <a:pt x="5743" y="169694"/>
                  <a:pt x="-1693" y="140623"/>
                  <a:pt x="335" y="110200"/>
                </a:cubicBezTo>
                <a:cubicBezTo>
                  <a:pt x="1011" y="91946"/>
                  <a:pt x="9124" y="75044"/>
                  <a:pt x="22645" y="62198"/>
                </a:cubicBezTo>
                <a:cubicBezTo>
                  <a:pt x="28054" y="56790"/>
                  <a:pt x="36167" y="48677"/>
                  <a:pt x="44956" y="39888"/>
                </a:cubicBezTo>
                <a:close/>
                <a:moveTo>
                  <a:pt x="97013" y="0"/>
                </a:moveTo>
                <a:cubicBezTo>
                  <a:pt x="104450" y="0"/>
                  <a:pt x="111887" y="3380"/>
                  <a:pt x="117296" y="8789"/>
                </a:cubicBezTo>
                <a:lnTo>
                  <a:pt x="210594" y="101411"/>
                </a:lnTo>
                <a:cubicBezTo>
                  <a:pt x="216003" y="106820"/>
                  <a:pt x="219383" y="114257"/>
                  <a:pt x="219383" y="122370"/>
                </a:cubicBezTo>
                <a:cubicBezTo>
                  <a:pt x="219383" y="130482"/>
                  <a:pt x="216003" y="137919"/>
                  <a:pt x="210594" y="143328"/>
                </a:cubicBezTo>
                <a:lnTo>
                  <a:pt x="200453" y="153469"/>
                </a:lnTo>
                <a:lnTo>
                  <a:pt x="65914" y="18930"/>
                </a:lnTo>
                <a:lnTo>
                  <a:pt x="76055" y="8789"/>
                </a:lnTo>
                <a:cubicBezTo>
                  <a:pt x="81464" y="3380"/>
                  <a:pt x="89577" y="0"/>
                  <a:pt x="97013"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lgn="ctr">
              <a:defRPr lang="en-GB" sz="1000" b="1" dirty="0">
                <a:solidFill>
                  <a:schemeClr val="lt1">
                    <a:alpha val="0"/>
                  </a:schemeClr>
                </a:solidFill>
              </a:defRPr>
            </a:lvl1pPr>
          </a:lstStyle>
          <a:p>
            <a:pPr lvl="0" algn="ctr"/>
            <a:endParaRPr lang="en-GB" dirty="0"/>
          </a:p>
        </p:txBody>
      </p:sp>
      <p:sp>
        <p:nvSpPr>
          <p:cNvPr id="12" name="Text Placeholder 11">
            <a:extLst>
              <a:ext uri="{FF2B5EF4-FFF2-40B4-BE49-F238E27FC236}">
                <a16:creationId xmlns:a16="http://schemas.microsoft.com/office/drawing/2014/main" id="{C958D81A-543B-F585-166D-59207A4463AF}"/>
              </a:ext>
            </a:extLst>
          </p:cNvPr>
          <p:cNvSpPr>
            <a:spLocks noGrp="1"/>
          </p:cNvSpPr>
          <p:nvPr>
            <p:ph type="body" sz="quarter" idx="41"/>
          </p:nvPr>
        </p:nvSpPr>
        <p:spPr>
          <a:xfrm>
            <a:off x="5954486" y="4983355"/>
            <a:ext cx="283026" cy="459731"/>
          </a:xfrm>
          <a:custGeom>
            <a:avLst/>
            <a:gdLst>
              <a:gd name="connsiteX0" fmla="*/ 141514 w 283026"/>
              <a:gd name="connsiteY0" fmla="*/ 81129 h 459731"/>
              <a:gd name="connsiteX1" fmla="*/ 80667 w 283026"/>
              <a:gd name="connsiteY1" fmla="*/ 141976 h 459731"/>
              <a:gd name="connsiteX2" fmla="*/ 141514 w 283026"/>
              <a:gd name="connsiteY2" fmla="*/ 202823 h 459731"/>
              <a:gd name="connsiteX3" fmla="*/ 202361 w 283026"/>
              <a:gd name="connsiteY3" fmla="*/ 141976 h 459731"/>
              <a:gd name="connsiteX4" fmla="*/ 141514 w 283026"/>
              <a:gd name="connsiteY4" fmla="*/ 81129 h 459731"/>
              <a:gd name="connsiteX5" fmla="*/ 141514 w 283026"/>
              <a:gd name="connsiteY5" fmla="*/ 0 h 459731"/>
              <a:gd name="connsiteX6" fmla="*/ 258475 w 283026"/>
              <a:gd name="connsiteY6" fmla="*/ 62199 h 459731"/>
              <a:gd name="connsiteX7" fmla="*/ 273348 w 283026"/>
              <a:gd name="connsiteY7" fmla="*/ 194034 h 459731"/>
              <a:gd name="connsiteX8" fmla="*/ 209121 w 283026"/>
              <a:gd name="connsiteY8" fmla="*/ 336009 h 459731"/>
              <a:gd name="connsiteX9" fmla="*/ 153683 w 283026"/>
              <a:gd name="connsiteY9" fmla="*/ 452294 h 459731"/>
              <a:gd name="connsiteX10" fmla="*/ 141514 w 283026"/>
              <a:gd name="connsiteY10" fmla="*/ 459731 h 459731"/>
              <a:gd name="connsiteX11" fmla="*/ 129344 w 283026"/>
              <a:gd name="connsiteY11" fmla="*/ 452294 h 459731"/>
              <a:gd name="connsiteX12" fmla="*/ 73906 w 283026"/>
              <a:gd name="connsiteY12" fmla="*/ 336009 h 459731"/>
              <a:gd name="connsiteX13" fmla="*/ 9679 w 283026"/>
              <a:gd name="connsiteY13" fmla="*/ 194034 h 459731"/>
              <a:gd name="connsiteX14" fmla="*/ 24553 w 283026"/>
              <a:gd name="connsiteY14" fmla="*/ 62199 h 459731"/>
              <a:gd name="connsiteX15" fmla="*/ 141514 w 283026"/>
              <a:gd name="connsiteY15" fmla="*/ 0 h 459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3026" h="459731">
                <a:moveTo>
                  <a:pt x="141514" y="81129"/>
                </a:moveTo>
                <a:cubicBezTo>
                  <a:pt x="107710" y="81129"/>
                  <a:pt x="80667" y="108172"/>
                  <a:pt x="80667" y="141976"/>
                </a:cubicBezTo>
                <a:cubicBezTo>
                  <a:pt x="80667" y="175780"/>
                  <a:pt x="107710" y="202823"/>
                  <a:pt x="141514" y="202823"/>
                </a:cubicBezTo>
                <a:cubicBezTo>
                  <a:pt x="175318" y="202823"/>
                  <a:pt x="202361" y="175780"/>
                  <a:pt x="202361" y="141976"/>
                </a:cubicBezTo>
                <a:cubicBezTo>
                  <a:pt x="202361" y="108172"/>
                  <a:pt x="175318" y="81129"/>
                  <a:pt x="141514" y="81129"/>
                </a:cubicBezTo>
                <a:close/>
                <a:moveTo>
                  <a:pt x="141514" y="0"/>
                </a:moveTo>
                <a:cubicBezTo>
                  <a:pt x="188163" y="0"/>
                  <a:pt x="232108" y="22987"/>
                  <a:pt x="258475" y="62199"/>
                </a:cubicBezTo>
                <a:cubicBezTo>
                  <a:pt x="284842" y="100735"/>
                  <a:pt x="290250" y="150089"/>
                  <a:pt x="273348" y="194034"/>
                </a:cubicBezTo>
                <a:lnTo>
                  <a:pt x="209121" y="336009"/>
                </a:lnTo>
                <a:lnTo>
                  <a:pt x="153683" y="452294"/>
                </a:lnTo>
                <a:cubicBezTo>
                  <a:pt x="151655" y="457027"/>
                  <a:pt x="146922" y="459731"/>
                  <a:pt x="141514" y="459731"/>
                </a:cubicBezTo>
                <a:cubicBezTo>
                  <a:pt x="136105" y="459731"/>
                  <a:pt x="131373" y="457027"/>
                  <a:pt x="129344" y="452294"/>
                </a:cubicBezTo>
                <a:lnTo>
                  <a:pt x="73906" y="336009"/>
                </a:lnTo>
                <a:lnTo>
                  <a:pt x="9679" y="194034"/>
                </a:lnTo>
                <a:cubicBezTo>
                  <a:pt x="-7223" y="150089"/>
                  <a:pt x="-1814" y="100735"/>
                  <a:pt x="24553" y="62199"/>
                </a:cubicBezTo>
                <a:cubicBezTo>
                  <a:pt x="50920" y="22987"/>
                  <a:pt x="94865" y="0"/>
                  <a:pt x="141514"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lgn="ctr">
              <a:defRPr lang="en-GB" sz="1000" b="1" dirty="0">
                <a:solidFill>
                  <a:schemeClr val="lt1">
                    <a:alpha val="0"/>
                  </a:schemeClr>
                </a:solidFill>
              </a:defRPr>
            </a:lvl1pPr>
          </a:lstStyle>
          <a:p>
            <a:pPr lvl="0" algn="ctr"/>
            <a:endParaRPr lang="en-GB" dirty="0"/>
          </a:p>
        </p:txBody>
      </p:sp>
    </p:spTree>
    <p:extLst>
      <p:ext uri="{BB962C8B-B14F-4D97-AF65-F5344CB8AC3E}">
        <p14:creationId xmlns:p14="http://schemas.microsoft.com/office/powerpoint/2010/main" val="293478149"/>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ank You S06V1">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752E3F75-A181-1CEF-4892-A00A828F0DEC}"/>
              </a:ext>
            </a:extLst>
          </p:cNvPr>
          <p:cNvSpPr>
            <a:spLocks noGrp="1"/>
          </p:cNvSpPr>
          <p:nvPr>
            <p:ph type="sldNum" sz="quarter" idx="4"/>
          </p:nvPr>
        </p:nvSpPr>
        <p:spPr>
          <a:xfrm>
            <a:off x="11058525" y="6409951"/>
            <a:ext cx="546100" cy="273799"/>
          </a:xfrm>
          <a:prstGeom prst="rect">
            <a:avLst/>
          </a:prstGeom>
        </p:spPr>
        <p:txBody>
          <a:bodyPr vert="horz" lIns="91440" tIns="45720" rIns="91440" bIns="45720" rtlCol="0" anchor="b"/>
          <a:lstStyle>
            <a:lvl1pPr algn="r">
              <a:defRPr sz="1200">
                <a:solidFill>
                  <a:schemeClr val="accent4"/>
                </a:solidFill>
                <a:latin typeface="+mn-lt"/>
              </a:defRPr>
            </a:lvl1pPr>
          </a:lstStyle>
          <a:p>
            <a:fld id="{5E0C3BBE-9543-48E5-A6E1-C646F9A01966}" type="slidenum">
              <a:rPr lang="en-ID" smtClean="0"/>
              <a:pPr/>
              <a:t>‹#›</a:t>
            </a:fld>
            <a:endParaRPr lang="en-ID" dirty="0"/>
          </a:p>
        </p:txBody>
      </p:sp>
      <p:sp>
        <p:nvSpPr>
          <p:cNvPr id="21" name="Footer Placeholder 4">
            <a:extLst>
              <a:ext uri="{FF2B5EF4-FFF2-40B4-BE49-F238E27FC236}">
                <a16:creationId xmlns:a16="http://schemas.microsoft.com/office/drawing/2014/main" id="{FC465D62-3382-034B-3BC4-9FA6DDBCBF3D}"/>
              </a:ext>
            </a:extLst>
          </p:cNvPr>
          <p:cNvSpPr>
            <a:spLocks noGrp="1"/>
          </p:cNvSpPr>
          <p:nvPr>
            <p:ph type="ftr" sz="quarter" idx="3"/>
          </p:nvPr>
        </p:nvSpPr>
        <p:spPr>
          <a:xfrm>
            <a:off x="584200" y="6364288"/>
            <a:ext cx="5511800" cy="365125"/>
          </a:xfrm>
          <a:prstGeom prst="rect">
            <a:avLst/>
          </a:prstGeom>
        </p:spPr>
        <p:txBody>
          <a:bodyPr vert="horz" lIns="91440" tIns="45720" rIns="91440" bIns="45720" rtlCol="0" anchor="ctr"/>
          <a:lstStyle>
            <a:lvl1pPr algn="l">
              <a:defRPr lang="en-GB" sz="1200">
                <a:solidFill>
                  <a:schemeClr val="accent4"/>
                </a:solidFill>
              </a:defRPr>
            </a:lvl1pPr>
          </a:lstStyle>
          <a:p>
            <a:r>
              <a:rPr lang="en-US"/>
              <a:t>PRESENTATION TITLE</a:t>
            </a:r>
            <a:endParaRPr lang="en-US" dirty="0"/>
          </a:p>
        </p:txBody>
      </p:sp>
      <p:sp>
        <p:nvSpPr>
          <p:cNvPr id="37" name="Rectangle 36">
            <a:extLst>
              <a:ext uri="{FF2B5EF4-FFF2-40B4-BE49-F238E27FC236}">
                <a16:creationId xmlns:a16="http://schemas.microsoft.com/office/drawing/2014/main" id="{EB6055E9-E6F7-641B-80FB-0B939D173EF4}"/>
              </a:ext>
            </a:extLst>
          </p:cNvPr>
          <p:cNvSpPr/>
          <p:nvPr userDrawn="1"/>
        </p:nvSpPr>
        <p:spPr>
          <a:xfrm>
            <a:off x="587374" y="2777944"/>
            <a:ext cx="11604625" cy="130211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8" name="Title 1">
            <a:extLst>
              <a:ext uri="{FF2B5EF4-FFF2-40B4-BE49-F238E27FC236}">
                <a16:creationId xmlns:a16="http://schemas.microsoft.com/office/drawing/2014/main" id="{A830DC25-802B-19A0-E4B3-1D633449CFAA}"/>
              </a:ext>
            </a:extLst>
          </p:cNvPr>
          <p:cNvSpPr>
            <a:spLocks noGrp="1"/>
          </p:cNvSpPr>
          <p:nvPr>
            <p:ph type="title" hasCustomPrompt="1"/>
          </p:nvPr>
        </p:nvSpPr>
        <p:spPr>
          <a:xfrm>
            <a:off x="905278" y="2881468"/>
            <a:ext cx="10699347" cy="1095064"/>
          </a:xfrm>
        </p:spPr>
        <p:txBody>
          <a:bodyPr anchor="ctr">
            <a:noAutofit/>
          </a:bodyPr>
          <a:lstStyle>
            <a:lvl1pPr>
              <a:defRPr>
                <a:solidFill>
                  <a:srgbClr val="FFFFFF"/>
                </a:solidFill>
              </a:defRPr>
            </a:lvl1pPr>
          </a:lstStyle>
          <a:p>
            <a:r>
              <a:rPr lang="en-US" dirty="0"/>
              <a:t>Click to edit Master text</a:t>
            </a:r>
            <a:endParaRPr lang="en-ID" dirty="0"/>
          </a:p>
        </p:txBody>
      </p:sp>
      <p:cxnSp>
        <p:nvCxnSpPr>
          <p:cNvPr id="39" name="Straight Connector 38">
            <a:extLst>
              <a:ext uri="{FF2B5EF4-FFF2-40B4-BE49-F238E27FC236}">
                <a16:creationId xmlns:a16="http://schemas.microsoft.com/office/drawing/2014/main" id="{0990EA30-774B-C58A-0F2E-BA47E1EB0D86}"/>
              </a:ext>
            </a:extLst>
          </p:cNvPr>
          <p:cNvCxnSpPr>
            <a:cxnSpLocks/>
          </p:cNvCxnSpPr>
          <p:nvPr userDrawn="1"/>
        </p:nvCxnSpPr>
        <p:spPr>
          <a:xfrm>
            <a:off x="761210" y="2881468"/>
            <a:ext cx="0" cy="1095064"/>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49" name="Text Placeholder 29">
            <a:extLst>
              <a:ext uri="{FF2B5EF4-FFF2-40B4-BE49-F238E27FC236}">
                <a16:creationId xmlns:a16="http://schemas.microsoft.com/office/drawing/2014/main" id="{CA641483-D5A7-E85B-23E4-88F7A9E459A2}"/>
              </a:ext>
            </a:extLst>
          </p:cNvPr>
          <p:cNvSpPr>
            <a:spLocks noGrp="1"/>
          </p:cNvSpPr>
          <p:nvPr>
            <p:ph type="body" sz="quarter" idx="50"/>
          </p:nvPr>
        </p:nvSpPr>
        <p:spPr>
          <a:xfrm>
            <a:off x="905279" y="4334413"/>
            <a:ext cx="10699346" cy="607060"/>
          </a:xfrm>
          <a:prstGeom prst="rect">
            <a:avLst/>
          </a:prstGeom>
        </p:spPr>
        <p:txBody>
          <a:bodyPr tIns="0" bIns="0" anchor="t">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Tree>
    <p:extLst>
      <p:ext uri="{BB962C8B-B14F-4D97-AF65-F5344CB8AC3E}">
        <p14:creationId xmlns:p14="http://schemas.microsoft.com/office/powerpoint/2010/main" val="2680772438"/>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ank You S06V2">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752E3F75-A181-1CEF-4892-A00A828F0DEC}"/>
              </a:ext>
            </a:extLst>
          </p:cNvPr>
          <p:cNvSpPr>
            <a:spLocks noGrp="1"/>
          </p:cNvSpPr>
          <p:nvPr>
            <p:ph type="sldNum" sz="quarter" idx="4"/>
          </p:nvPr>
        </p:nvSpPr>
        <p:spPr>
          <a:xfrm>
            <a:off x="11058525" y="6409951"/>
            <a:ext cx="546100" cy="273799"/>
          </a:xfrm>
          <a:prstGeom prst="rect">
            <a:avLst/>
          </a:prstGeom>
        </p:spPr>
        <p:txBody>
          <a:bodyPr vert="horz" lIns="91440" tIns="45720" rIns="91440" bIns="45720" rtlCol="0" anchor="b"/>
          <a:lstStyle>
            <a:lvl1pPr algn="r">
              <a:defRPr sz="1200">
                <a:solidFill>
                  <a:schemeClr val="accent4"/>
                </a:solidFill>
                <a:latin typeface="+mn-lt"/>
              </a:defRPr>
            </a:lvl1pPr>
          </a:lstStyle>
          <a:p>
            <a:fld id="{5E0C3BBE-9543-48E5-A6E1-C646F9A01966}" type="slidenum">
              <a:rPr lang="en-ID" smtClean="0"/>
              <a:pPr/>
              <a:t>‹#›</a:t>
            </a:fld>
            <a:endParaRPr lang="en-ID" dirty="0"/>
          </a:p>
        </p:txBody>
      </p:sp>
      <p:sp>
        <p:nvSpPr>
          <p:cNvPr id="21" name="Footer Placeholder 4">
            <a:extLst>
              <a:ext uri="{FF2B5EF4-FFF2-40B4-BE49-F238E27FC236}">
                <a16:creationId xmlns:a16="http://schemas.microsoft.com/office/drawing/2014/main" id="{FC465D62-3382-034B-3BC4-9FA6DDBCBF3D}"/>
              </a:ext>
            </a:extLst>
          </p:cNvPr>
          <p:cNvSpPr>
            <a:spLocks noGrp="1"/>
          </p:cNvSpPr>
          <p:nvPr>
            <p:ph type="ftr" sz="quarter" idx="3"/>
          </p:nvPr>
        </p:nvSpPr>
        <p:spPr>
          <a:xfrm>
            <a:off x="584200" y="6364288"/>
            <a:ext cx="5511800" cy="365125"/>
          </a:xfrm>
          <a:prstGeom prst="rect">
            <a:avLst/>
          </a:prstGeom>
        </p:spPr>
        <p:txBody>
          <a:bodyPr vert="horz" lIns="91440" tIns="45720" rIns="91440" bIns="45720" rtlCol="0" anchor="ctr"/>
          <a:lstStyle>
            <a:lvl1pPr algn="l">
              <a:defRPr lang="en-GB" sz="1200">
                <a:solidFill>
                  <a:schemeClr val="accent4"/>
                </a:solidFill>
              </a:defRPr>
            </a:lvl1pPr>
          </a:lstStyle>
          <a:p>
            <a:r>
              <a:rPr lang="en-US"/>
              <a:t>PRESENTATION TITLE</a:t>
            </a:r>
            <a:endParaRPr lang="en-US" dirty="0"/>
          </a:p>
        </p:txBody>
      </p:sp>
      <p:sp>
        <p:nvSpPr>
          <p:cNvPr id="37" name="Rectangle 36">
            <a:extLst>
              <a:ext uri="{FF2B5EF4-FFF2-40B4-BE49-F238E27FC236}">
                <a16:creationId xmlns:a16="http://schemas.microsoft.com/office/drawing/2014/main" id="{EB6055E9-E6F7-641B-80FB-0B939D173EF4}"/>
              </a:ext>
            </a:extLst>
          </p:cNvPr>
          <p:cNvSpPr/>
          <p:nvPr userDrawn="1"/>
        </p:nvSpPr>
        <p:spPr>
          <a:xfrm>
            <a:off x="587374" y="2589122"/>
            <a:ext cx="11604625" cy="1679756"/>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8" name="Title 1">
            <a:extLst>
              <a:ext uri="{FF2B5EF4-FFF2-40B4-BE49-F238E27FC236}">
                <a16:creationId xmlns:a16="http://schemas.microsoft.com/office/drawing/2014/main" id="{A830DC25-802B-19A0-E4B3-1D633449CFAA}"/>
              </a:ext>
            </a:extLst>
          </p:cNvPr>
          <p:cNvSpPr>
            <a:spLocks noGrp="1"/>
          </p:cNvSpPr>
          <p:nvPr>
            <p:ph type="title" hasCustomPrompt="1"/>
          </p:nvPr>
        </p:nvSpPr>
        <p:spPr>
          <a:xfrm>
            <a:off x="5086351" y="2881468"/>
            <a:ext cx="6290310" cy="1095064"/>
          </a:xfrm>
        </p:spPr>
        <p:txBody>
          <a:bodyPr anchor="ctr">
            <a:noAutofit/>
          </a:bodyPr>
          <a:lstStyle>
            <a:lvl1pPr algn="r">
              <a:defRPr>
                <a:solidFill>
                  <a:srgbClr val="FFFFFF"/>
                </a:solidFill>
              </a:defRPr>
            </a:lvl1pPr>
          </a:lstStyle>
          <a:p>
            <a:r>
              <a:rPr lang="en-US" dirty="0"/>
              <a:t>Click to edit Master text</a:t>
            </a:r>
            <a:endParaRPr lang="en-ID" dirty="0"/>
          </a:p>
        </p:txBody>
      </p:sp>
      <p:cxnSp>
        <p:nvCxnSpPr>
          <p:cNvPr id="39" name="Straight Connector 38">
            <a:extLst>
              <a:ext uri="{FF2B5EF4-FFF2-40B4-BE49-F238E27FC236}">
                <a16:creationId xmlns:a16="http://schemas.microsoft.com/office/drawing/2014/main" id="{0990EA30-774B-C58A-0F2E-BA47E1EB0D86}"/>
              </a:ext>
            </a:extLst>
          </p:cNvPr>
          <p:cNvCxnSpPr>
            <a:cxnSpLocks/>
          </p:cNvCxnSpPr>
          <p:nvPr userDrawn="1"/>
        </p:nvCxnSpPr>
        <p:spPr>
          <a:xfrm>
            <a:off x="11604625" y="2881468"/>
            <a:ext cx="0" cy="1095064"/>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49" name="Text Placeholder 29">
            <a:extLst>
              <a:ext uri="{FF2B5EF4-FFF2-40B4-BE49-F238E27FC236}">
                <a16:creationId xmlns:a16="http://schemas.microsoft.com/office/drawing/2014/main" id="{CA641483-D5A7-E85B-23E4-88F7A9E459A2}"/>
              </a:ext>
            </a:extLst>
          </p:cNvPr>
          <p:cNvSpPr>
            <a:spLocks noGrp="1"/>
          </p:cNvSpPr>
          <p:nvPr>
            <p:ph type="body" sz="quarter" idx="50"/>
          </p:nvPr>
        </p:nvSpPr>
        <p:spPr>
          <a:xfrm>
            <a:off x="5086351" y="4523235"/>
            <a:ext cx="6290310" cy="607060"/>
          </a:xfrm>
          <a:prstGeom prst="rect">
            <a:avLst/>
          </a:prstGeom>
        </p:spPr>
        <p:txBody>
          <a:bodyPr tIns="0" bIns="0" anchor="t">
            <a:noAutofit/>
          </a:bodyPr>
          <a:lstStyle>
            <a:lvl1pPr marL="0" indent="0" algn="r">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grpSp>
        <p:nvGrpSpPr>
          <p:cNvPr id="8" name="Group 7">
            <a:extLst>
              <a:ext uri="{FF2B5EF4-FFF2-40B4-BE49-F238E27FC236}">
                <a16:creationId xmlns:a16="http://schemas.microsoft.com/office/drawing/2014/main" id="{AAA87B1F-C374-0AA4-8837-F11E40D41CD1}"/>
              </a:ext>
            </a:extLst>
          </p:cNvPr>
          <p:cNvGrpSpPr/>
          <p:nvPr userDrawn="1"/>
        </p:nvGrpSpPr>
        <p:grpSpPr>
          <a:xfrm flipH="1">
            <a:off x="0" y="844550"/>
            <a:ext cx="4079875" cy="5168484"/>
            <a:chOff x="6400798" y="844550"/>
            <a:chExt cx="4079875" cy="5168484"/>
          </a:xfrm>
        </p:grpSpPr>
        <p:sp>
          <p:nvSpPr>
            <p:cNvPr id="9" name="Rectangle 8">
              <a:extLst>
                <a:ext uri="{FF2B5EF4-FFF2-40B4-BE49-F238E27FC236}">
                  <a16:creationId xmlns:a16="http://schemas.microsoft.com/office/drawing/2014/main" id="{1D087849-DB30-8735-4D8D-E3C4C2B69C6B}"/>
                </a:ext>
              </a:extLst>
            </p:cNvPr>
            <p:cNvSpPr/>
            <p:nvPr userDrawn="1"/>
          </p:nvSpPr>
          <p:spPr>
            <a:xfrm flipH="1">
              <a:off x="6400798" y="844550"/>
              <a:ext cx="4079875" cy="516848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0" name="Rectangle 9">
              <a:extLst>
                <a:ext uri="{FF2B5EF4-FFF2-40B4-BE49-F238E27FC236}">
                  <a16:creationId xmlns:a16="http://schemas.microsoft.com/office/drawing/2014/main" id="{B474C08B-82F0-D164-74FB-1E8FD06685E0}"/>
                </a:ext>
              </a:extLst>
            </p:cNvPr>
            <p:cNvSpPr/>
            <p:nvPr userDrawn="1"/>
          </p:nvSpPr>
          <p:spPr>
            <a:xfrm flipH="1">
              <a:off x="6400798" y="2476501"/>
              <a:ext cx="117475" cy="1904998"/>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sp>
        <p:nvSpPr>
          <p:cNvPr id="12" name="Picture Placeholder 11">
            <a:extLst>
              <a:ext uri="{FF2B5EF4-FFF2-40B4-BE49-F238E27FC236}">
                <a16:creationId xmlns:a16="http://schemas.microsoft.com/office/drawing/2014/main" id="{A3D6DFE2-5D18-6526-6D2C-830832BEFEF4}"/>
              </a:ext>
            </a:extLst>
          </p:cNvPr>
          <p:cNvSpPr>
            <a:spLocks noGrp="1"/>
          </p:cNvSpPr>
          <p:nvPr>
            <p:ph type="pic" sz="quarter" idx="10"/>
          </p:nvPr>
        </p:nvSpPr>
        <p:spPr>
          <a:xfrm>
            <a:off x="0" y="962026"/>
            <a:ext cx="3962400" cy="4933948"/>
          </a:xfrm>
          <a:prstGeom prst="rect">
            <a:avLst/>
          </a:prstGeom>
          <a:solidFill>
            <a:schemeClr val="accent2">
              <a:lumMod val="20000"/>
              <a:lumOff val="80000"/>
            </a:schemeClr>
          </a:solidFill>
        </p:spPr>
        <p:txBody>
          <a:bodyPr anchor="ctr">
            <a:normAutofit/>
          </a:bodyPr>
          <a:lstStyle>
            <a:lvl1pPr marL="0" indent="0" algn="ctr">
              <a:buNone/>
              <a:defRPr sz="1333">
                <a:solidFill>
                  <a:schemeClr val="tx1"/>
                </a:solidFill>
              </a:defRPr>
            </a:lvl1pPr>
          </a:lstStyle>
          <a:p>
            <a:endParaRPr lang="en-ID"/>
          </a:p>
        </p:txBody>
      </p:sp>
    </p:spTree>
    <p:extLst>
      <p:ext uri="{BB962C8B-B14F-4D97-AF65-F5344CB8AC3E}">
        <p14:creationId xmlns:p14="http://schemas.microsoft.com/office/powerpoint/2010/main" val="930280236"/>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ank You S06V3">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752E3F75-A181-1CEF-4892-A00A828F0DEC}"/>
              </a:ext>
            </a:extLst>
          </p:cNvPr>
          <p:cNvSpPr>
            <a:spLocks noGrp="1"/>
          </p:cNvSpPr>
          <p:nvPr>
            <p:ph type="sldNum" sz="quarter" idx="4"/>
          </p:nvPr>
        </p:nvSpPr>
        <p:spPr>
          <a:xfrm>
            <a:off x="11058525" y="6409951"/>
            <a:ext cx="546100" cy="273799"/>
          </a:xfrm>
          <a:prstGeom prst="rect">
            <a:avLst/>
          </a:prstGeom>
        </p:spPr>
        <p:txBody>
          <a:bodyPr vert="horz" lIns="91440" tIns="45720" rIns="91440" bIns="45720" rtlCol="0" anchor="b"/>
          <a:lstStyle>
            <a:lvl1pPr algn="r">
              <a:defRPr sz="1200">
                <a:solidFill>
                  <a:schemeClr val="accent4"/>
                </a:solidFill>
                <a:latin typeface="+mn-lt"/>
              </a:defRPr>
            </a:lvl1pPr>
          </a:lstStyle>
          <a:p>
            <a:fld id="{5E0C3BBE-9543-48E5-A6E1-C646F9A01966}" type="slidenum">
              <a:rPr lang="en-ID" smtClean="0"/>
              <a:pPr/>
              <a:t>‹#›</a:t>
            </a:fld>
            <a:endParaRPr lang="en-ID" dirty="0"/>
          </a:p>
        </p:txBody>
      </p:sp>
      <p:sp>
        <p:nvSpPr>
          <p:cNvPr id="21" name="Footer Placeholder 4">
            <a:extLst>
              <a:ext uri="{FF2B5EF4-FFF2-40B4-BE49-F238E27FC236}">
                <a16:creationId xmlns:a16="http://schemas.microsoft.com/office/drawing/2014/main" id="{FC465D62-3382-034B-3BC4-9FA6DDBCBF3D}"/>
              </a:ext>
            </a:extLst>
          </p:cNvPr>
          <p:cNvSpPr>
            <a:spLocks noGrp="1"/>
          </p:cNvSpPr>
          <p:nvPr>
            <p:ph type="ftr" sz="quarter" idx="3"/>
          </p:nvPr>
        </p:nvSpPr>
        <p:spPr>
          <a:xfrm>
            <a:off x="584200" y="6364288"/>
            <a:ext cx="5511800" cy="365125"/>
          </a:xfrm>
          <a:prstGeom prst="rect">
            <a:avLst/>
          </a:prstGeom>
        </p:spPr>
        <p:txBody>
          <a:bodyPr vert="horz" lIns="91440" tIns="45720" rIns="91440" bIns="45720" rtlCol="0" anchor="ctr"/>
          <a:lstStyle>
            <a:lvl1pPr algn="l">
              <a:defRPr lang="en-GB" sz="1200">
                <a:solidFill>
                  <a:schemeClr val="accent4"/>
                </a:solidFill>
              </a:defRPr>
            </a:lvl1pPr>
          </a:lstStyle>
          <a:p>
            <a:r>
              <a:rPr lang="en-US"/>
              <a:t>PRESENTATION TITLE</a:t>
            </a:r>
            <a:endParaRPr lang="en-US" dirty="0"/>
          </a:p>
        </p:txBody>
      </p:sp>
      <p:sp>
        <p:nvSpPr>
          <p:cNvPr id="37" name="Rectangle 36">
            <a:extLst>
              <a:ext uri="{FF2B5EF4-FFF2-40B4-BE49-F238E27FC236}">
                <a16:creationId xmlns:a16="http://schemas.microsoft.com/office/drawing/2014/main" id="{EB6055E9-E6F7-641B-80FB-0B939D173EF4}"/>
              </a:ext>
            </a:extLst>
          </p:cNvPr>
          <p:cNvSpPr/>
          <p:nvPr userDrawn="1"/>
        </p:nvSpPr>
        <p:spPr>
          <a:xfrm>
            <a:off x="587374" y="2589122"/>
            <a:ext cx="11017251" cy="1679756"/>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8" name="Title 1">
            <a:extLst>
              <a:ext uri="{FF2B5EF4-FFF2-40B4-BE49-F238E27FC236}">
                <a16:creationId xmlns:a16="http://schemas.microsoft.com/office/drawing/2014/main" id="{A830DC25-802B-19A0-E4B3-1D633449CFAA}"/>
              </a:ext>
            </a:extLst>
          </p:cNvPr>
          <p:cNvSpPr>
            <a:spLocks noGrp="1"/>
          </p:cNvSpPr>
          <p:nvPr>
            <p:ph type="title" hasCustomPrompt="1"/>
          </p:nvPr>
        </p:nvSpPr>
        <p:spPr>
          <a:xfrm>
            <a:off x="784860" y="2881468"/>
            <a:ext cx="10591801" cy="1095064"/>
          </a:xfrm>
        </p:spPr>
        <p:txBody>
          <a:bodyPr anchor="ctr">
            <a:noAutofit/>
          </a:bodyPr>
          <a:lstStyle>
            <a:lvl1pPr algn="ctr">
              <a:defRPr>
                <a:solidFill>
                  <a:srgbClr val="FFFFFF"/>
                </a:solidFill>
              </a:defRPr>
            </a:lvl1pPr>
          </a:lstStyle>
          <a:p>
            <a:r>
              <a:rPr lang="en-US" dirty="0"/>
              <a:t>Click to edit Master text</a:t>
            </a:r>
            <a:endParaRPr lang="en-ID" dirty="0"/>
          </a:p>
        </p:txBody>
      </p:sp>
      <p:sp>
        <p:nvSpPr>
          <p:cNvPr id="49" name="Text Placeholder 29">
            <a:extLst>
              <a:ext uri="{FF2B5EF4-FFF2-40B4-BE49-F238E27FC236}">
                <a16:creationId xmlns:a16="http://schemas.microsoft.com/office/drawing/2014/main" id="{CA641483-D5A7-E85B-23E4-88F7A9E459A2}"/>
              </a:ext>
            </a:extLst>
          </p:cNvPr>
          <p:cNvSpPr>
            <a:spLocks noGrp="1"/>
          </p:cNvSpPr>
          <p:nvPr>
            <p:ph type="body" sz="quarter" idx="50"/>
          </p:nvPr>
        </p:nvSpPr>
        <p:spPr>
          <a:xfrm>
            <a:off x="815339" y="4334413"/>
            <a:ext cx="10561322" cy="607060"/>
          </a:xfrm>
          <a:prstGeom prst="rect">
            <a:avLst/>
          </a:prstGeom>
        </p:spPr>
        <p:txBody>
          <a:bodyPr tIns="0" bIns="0" anchor="t">
            <a:noAutofit/>
          </a:bodyPr>
          <a:lstStyle>
            <a:lvl1pPr marL="0" indent="0" algn="ctr">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Tree>
    <p:extLst>
      <p:ext uri="{BB962C8B-B14F-4D97-AF65-F5344CB8AC3E}">
        <p14:creationId xmlns:p14="http://schemas.microsoft.com/office/powerpoint/2010/main" val="1561394258"/>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 Text Box T20V1">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3A9602D4-D75A-D7F4-FFCF-22F1F764C7A2}"/>
              </a:ext>
            </a:extLst>
          </p:cNvPr>
          <p:cNvSpPr/>
          <p:nvPr userDrawn="1"/>
        </p:nvSpPr>
        <p:spPr>
          <a:xfrm>
            <a:off x="587375" y="0"/>
            <a:ext cx="11017250" cy="2452846"/>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 Placeholder 29">
            <a:extLst>
              <a:ext uri="{FF2B5EF4-FFF2-40B4-BE49-F238E27FC236}">
                <a16:creationId xmlns:a16="http://schemas.microsoft.com/office/drawing/2014/main" id="{F28F550A-A637-E065-107C-7C7A9E6C01FA}"/>
              </a:ext>
            </a:extLst>
          </p:cNvPr>
          <p:cNvSpPr>
            <a:spLocks noGrp="1"/>
          </p:cNvSpPr>
          <p:nvPr>
            <p:ph type="body" sz="quarter" idx="39"/>
          </p:nvPr>
        </p:nvSpPr>
        <p:spPr>
          <a:xfrm>
            <a:off x="731442" y="3821174"/>
            <a:ext cx="10873177" cy="323521"/>
          </a:xfrm>
          <a:prstGeom prst="rect">
            <a:avLst/>
          </a:prstGeom>
        </p:spPr>
        <p:txBody>
          <a:bodyPr tIns="0" bIns="0" anchor="ctr">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7" name="Text Placeholder 29">
            <a:extLst>
              <a:ext uri="{FF2B5EF4-FFF2-40B4-BE49-F238E27FC236}">
                <a16:creationId xmlns:a16="http://schemas.microsoft.com/office/drawing/2014/main" id="{1BDAC654-D9AC-B935-534C-0FF7A6BB04C7}"/>
              </a:ext>
            </a:extLst>
          </p:cNvPr>
          <p:cNvSpPr>
            <a:spLocks noGrp="1"/>
          </p:cNvSpPr>
          <p:nvPr>
            <p:ph type="body" sz="quarter" idx="40"/>
          </p:nvPr>
        </p:nvSpPr>
        <p:spPr>
          <a:xfrm>
            <a:off x="731442" y="4216693"/>
            <a:ext cx="10873177" cy="1734527"/>
          </a:xfrm>
          <a:prstGeom prst="rect">
            <a:avLst/>
          </a:prstGeom>
        </p:spPr>
        <p:txBody>
          <a:bodyPr tIns="0" bIns="0">
            <a:noAutofit/>
          </a:bodyPr>
          <a:lstStyle>
            <a:lvl1pPr marL="0" indent="0">
              <a:buNone/>
              <a:defRPr sz="16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2" name="Title 1">
            <a:extLst>
              <a:ext uri="{FF2B5EF4-FFF2-40B4-BE49-F238E27FC236}">
                <a16:creationId xmlns:a16="http://schemas.microsoft.com/office/drawing/2014/main" id="{1036477C-8D55-B4B8-85DD-DAF85A20D8C5}"/>
              </a:ext>
            </a:extLst>
          </p:cNvPr>
          <p:cNvSpPr>
            <a:spLocks noGrp="1"/>
          </p:cNvSpPr>
          <p:nvPr>
            <p:ph type="title"/>
          </p:nvPr>
        </p:nvSpPr>
        <p:spPr>
          <a:xfrm>
            <a:off x="731443" y="2659380"/>
            <a:ext cx="10873182" cy="769620"/>
          </a:xfrm>
        </p:spPr>
        <p:txBody>
          <a:bodyPr anchor="ctr">
            <a:noAutofit/>
          </a:bodyPr>
          <a:lstStyle>
            <a:lvl1pPr>
              <a:defRPr>
                <a:solidFill>
                  <a:schemeClr val="tx1"/>
                </a:solidFill>
              </a:defRPr>
            </a:lvl1pPr>
          </a:lstStyle>
          <a:p>
            <a:r>
              <a:rPr lang="en-US" dirty="0"/>
              <a:t>Click to edit Master title style</a:t>
            </a:r>
            <a:endParaRPr lang="en-ID" dirty="0"/>
          </a:p>
        </p:txBody>
      </p:sp>
      <p:sp>
        <p:nvSpPr>
          <p:cNvPr id="11" name="Slide Number Placeholder 5">
            <a:extLst>
              <a:ext uri="{FF2B5EF4-FFF2-40B4-BE49-F238E27FC236}">
                <a16:creationId xmlns:a16="http://schemas.microsoft.com/office/drawing/2014/main" id="{752E3F75-A181-1CEF-4892-A00A828F0DEC}"/>
              </a:ext>
            </a:extLst>
          </p:cNvPr>
          <p:cNvSpPr>
            <a:spLocks noGrp="1"/>
          </p:cNvSpPr>
          <p:nvPr>
            <p:ph type="sldNum" sz="quarter" idx="4"/>
          </p:nvPr>
        </p:nvSpPr>
        <p:spPr>
          <a:xfrm>
            <a:off x="11058525" y="6409951"/>
            <a:ext cx="546100" cy="273799"/>
          </a:xfrm>
          <a:prstGeom prst="rect">
            <a:avLst/>
          </a:prstGeom>
        </p:spPr>
        <p:txBody>
          <a:bodyPr vert="horz" lIns="91440" tIns="45720" rIns="91440" bIns="45720" rtlCol="0" anchor="b"/>
          <a:lstStyle>
            <a:lvl1pPr algn="r">
              <a:defRPr sz="1200">
                <a:solidFill>
                  <a:schemeClr val="tx1"/>
                </a:solidFill>
                <a:latin typeface="+mn-lt"/>
              </a:defRPr>
            </a:lvl1pPr>
          </a:lstStyle>
          <a:p>
            <a:fld id="{5E0C3BBE-9543-48E5-A6E1-C646F9A01966}" type="slidenum">
              <a:rPr lang="en-ID" smtClean="0"/>
              <a:pPr/>
              <a:t>‹#›</a:t>
            </a:fld>
            <a:endParaRPr lang="en-ID" dirty="0"/>
          </a:p>
        </p:txBody>
      </p:sp>
      <p:sp>
        <p:nvSpPr>
          <p:cNvPr id="15" name="Picture Placeholder 11">
            <a:extLst>
              <a:ext uri="{FF2B5EF4-FFF2-40B4-BE49-F238E27FC236}">
                <a16:creationId xmlns:a16="http://schemas.microsoft.com/office/drawing/2014/main" id="{62F44640-A9EB-C412-36D2-BCAA7BA09086}"/>
              </a:ext>
            </a:extLst>
          </p:cNvPr>
          <p:cNvSpPr>
            <a:spLocks noGrp="1"/>
          </p:cNvSpPr>
          <p:nvPr>
            <p:ph type="pic" sz="quarter" idx="10"/>
          </p:nvPr>
        </p:nvSpPr>
        <p:spPr>
          <a:xfrm>
            <a:off x="704850" y="0"/>
            <a:ext cx="10782300" cy="2333625"/>
          </a:xfrm>
          <a:prstGeom prst="rect">
            <a:avLst/>
          </a:prstGeom>
          <a:solidFill>
            <a:schemeClr val="accent2">
              <a:lumMod val="20000"/>
              <a:lumOff val="80000"/>
            </a:schemeClr>
          </a:solidFill>
        </p:spPr>
        <p:txBody>
          <a:bodyPr anchor="ctr">
            <a:normAutofit/>
          </a:bodyPr>
          <a:lstStyle>
            <a:lvl1pPr marL="0" indent="0" algn="ctr">
              <a:buNone/>
              <a:defRPr sz="1333"/>
            </a:lvl1pPr>
          </a:lstStyle>
          <a:p>
            <a:endParaRPr lang="en-ID"/>
          </a:p>
        </p:txBody>
      </p:sp>
      <p:cxnSp>
        <p:nvCxnSpPr>
          <p:cNvPr id="16" name="Straight Connector 15">
            <a:extLst>
              <a:ext uri="{FF2B5EF4-FFF2-40B4-BE49-F238E27FC236}">
                <a16:creationId xmlns:a16="http://schemas.microsoft.com/office/drawing/2014/main" id="{0657BBCF-CA9E-FB2C-CA76-82D2795FF965}"/>
              </a:ext>
            </a:extLst>
          </p:cNvPr>
          <p:cNvCxnSpPr>
            <a:cxnSpLocks/>
          </p:cNvCxnSpPr>
          <p:nvPr userDrawn="1"/>
        </p:nvCxnSpPr>
        <p:spPr>
          <a:xfrm>
            <a:off x="587375" y="2659380"/>
            <a:ext cx="0" cy="767556"/>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Footer Placeholder 4">
            <a:extLst>
              <a:ext uri="{FF2B5EF4-FFF2-40B4-BE49-F238E27FC236}">
                <a16:creationId xmlns:a16="http://schemas.microsoft.com/office/drawing/2014/main" id="{FC465D62-3382-034B-3BC4-9FA6DDBCBF3D}"/>
              </a:ext>
            </a:extLst>
          </p:cNvPr>
          <p:cNvSpPr>
            <a:spLocks noGrp="1"/>
          </p:cNvSpPr>
          <p:nvPr>
            <p:ph type="ftr" sz="quarter" idx="3"/>
          </p:nvPr>
        </p:nvSpPr>
        <p:spPr>
          <a:xfrm>
            <a:off x="584200" y="6364288"/>
            <a:ext cx="5511800" cy="365125"/>
          </a:xfrm>
          <a:prstGeom prst="rect">
            <a:avLst/>
          </a:prstGeom>
        </p:spPr>
        <p:txBody>
          <a:bodyPr vert="horz" lIns="91440" tIns="45720" rIns="91440" bIns="45720" rtlCol="0" anchor="ctr"/>
          <a:lstStyle>
            <a:lvl1pPr algn="l">
              <a:defRPr lang="en-GB" sz="1200">
                <a:solidFill>
                  <a:schemeClr val="tx1"/>
                </a:solidFill>
              </a:defRPr>
            </a:lvl1pPr>
          </a:lstStyle>
          <a:p>
            <a:r>
              <a:rPr lang="en-US"/>
              <a:t>PRESENTATION TITLE</a:t>
            </a:r>
            <a:endParaRPr lang="en-US" dirty="0"/>
          </a:p>
        </p:txBody>
      </p:sp>
      <p:sp>
        <p:nvSpPr>
          <p:cNvPr id="26" name="Rectangle 25">
            <a:extLst>
              <a:ext uri="{FF2B5EF4-FFF2-40B4-BE49-F238E27FC236}">
                <a16:creationId xmlns:a16="http://schemas.microsoft.com/office/drawing/2014/main" id="{AAAC1303-0EC3-5E1E-D38D-9DAA61834E0B}"/>
              </a:ext>
            </a:extLst>
          </p:cNvPr>
          <p:cNvSpPr/>
          <p:nvPr userDrawn="1"/>
        </p:nvSpPr>
        <p:spPr>
          <a:xfrm rot="5400000">
            <a:off x="6037262" y="1441610"/>
            <a:ext cx="117475" cy="1904998"/>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981762647"/>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 Text Box T20V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BD442C6-EECF-FD33-A672-5BDA5C831C7A}"/>
              </a:ext>
            </a:extLst>
          </p:cNvPr>
          <p:cNvSpPr/>
          <p:nvPr userDrawn="1"/>
        </p:nvSpPr>
        <p:spPr>
          <a:xfrm>
            <a:off x="6400798" y="844550"/>
            <a:ext cx="5791201" cy="516848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6" name="Text Placeholder 29">
            <a:extLst>
              <a:ext uri="{FF2B5EF4-FFF2-40B4-BE49-F238E27FC236}">
                <a16:creationId xmlns:a16="http://schemas.microsoft.com/office/drawing/2014/main" id="{F28F550A-A637-E065-107C-7C7A9E6C01FA}"/>
              </a:ext>
            </a:extLst>
          </p:cNvPr>
          <p:cNvSpPr>
            <a:spLocks noGrp="1"/>
          </p:cNvSpPr>
          <p:nvPr>
            <p:ph type="body" sz="quarter" idx="39"/>
          </p:nvPr>
        </p:nvSpPr>
        <p:spPr>
          <a:xfrm>
            <a:off x="731443" y="2573973"/>
            <a:ext cx="5364558" cy="610408"/>
          </a:xfrm>
          <a:prstGeom prst="rect">
            <a:avLst/>
          </a:prstGeom>
        </p:spPr>
        <p:txBody>
          <a:bodyPr tIns="0" bIns="0" anchor="b">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7" name="Text Placeholder 29">
            <a:extLst>
              <a:ext uri="{FF2B5EF4-FFF2-40B4-BE49-F238E27FC236}">
                <a16:creationId xmlns:a16="http://schemas.microsoft.com/office/drawing/2014/main" id="{1BDAC654-D9AC-B935-534C-0FF7A6BB04C7}"/>
              </a:ext>
            </a:extLst>
          </p:cNvPr>
          <p:cNvSpPr>
            <a:spLocks noGrp="1"/>
          </p:cNvSpPr>
          <p:nvPr>
            <p:ph type="body" sz="quarter" idx="40"/>
          </p:nvPr>
        </p:nvSpPr>
        <p:spPr>
          <a:xfrm>
            <a:off x="731443" y="3256377"/>
            <a:ext cx="5364558" cy="2756657"/>
          </a:xfrm>
          <a:prstGeom prst="rect">
            <a:avLst/>
          </a:prstGeom>
        </p:spPr>
        <p:txBody>
          <a:bodyPr tIns="0" bIns="0">
            <a:noAutofit/>
          </a:bodyPr>
          <a:lstStyle>
            <a:lvl1pPr marL="0" indent="0">
              <a:buNone/>
              <a:defRPr sz="16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2" name="Title 1">
            <a:extLst>
              <a:ext uri="{FF2B5EF4-FFF2-40B4-BE49-F238E27FC236}">
                <a16:creationId xmlns:a16="http://schemas.microsoft.com/office/drawing/2014/main" id="{1036477C-8D55-B4B8-85DD-DAF85A20D8C5}"/>
              </a:ext>
            </a:extLst>
          </p:cNvPr>
          <p:cNvSpPr>
            <a:spLocks noGrp="1"/>
          </p:cNvSpPr>
          <p:nvPr>
            <p:ph type="title"/>
          </p:nvPr>
        </p:nvSpPr>
        <p:spPr>
          <a:xfrm>
            <a:off x="731443" y="844965"/>
            <a:ext cx="5364557" cy="1334770"/>
          </a:xfrm>
        </p:spPr>
        <p:txBody>
          <a:bodyPr anchor="t">
            <a:noAutofit/>
          </a:bodyPr>
          <a:lstStyle>
            <a:lvl1pPr>
              <a:defRPr>
                <a:solidFill>
                  <a:schemeClr val="tx1"/>
                </a:solidFill>
              </a:defRPr>
            </a:lvl1pPr>
          </a:lstStyle>
          <a:p>
            <a:r>
              <a:rPr lang="en-US" dirty="0"/>
              <a:t>Click to edit Master title style</a:t>
            </a:r>
            <a:endParaRPr lang="en-ID" dirty="0"/>
          </a:p>
        </p:txBody>
      </p:sp>
      <p:sp>
        <p:nvSpPr>
          <p:cNvPr id="11" name="Slide Number Placeholder 5">
            <a:extLst>
              <a:ext uri="{FF2B5EF4-FFF2-40B4-BE49-F238E27FC236}">
                <a16:creationId xmlns:a16="http://schemas.microsoft.com/office/drawing/2014/main" id="{752E3F75-A181-1CEF-4892-A00A828F0DEC}"/>
              </a:ext>
            </a:extLst>
          </p:cNvPr>
          <p:cNvSpPr>
            <a:spLocks noGrp="1"/>
          </p:cNvSpPr>
          <p:nvPr>
            <p:ph type="sldNum" sz="quarter" idx="4"/>
          </p:nvPr>
        </p:nvSpPr>
        <p:spPr>
          <a:xfrm>
            <a:off x="11058525" y="6409951"/>
            <a:ext cx="546100" cy="273799"/>
          </a:xfrm>
          <a:prstGeom prst="rect">
            <a:avLst/>
          </a:prstGeom>
        </p:spPr>
        <p:txBody>
          <a:bodyPr vert="horz" lIns="91440" tIns="45720" rIns="91440" bIns="45720" rtlCol="0" anchor="b"/>
          <a:lstStyle>
            <a:lvl1pPr algn="r">
              <a:defRPr sz="1200">
                <a:solidFill>
                  <a:schemeClr val="tx1"/>
                </a:solidFill>
                <a:latin typeface="+mn-lt"/>
              </a:defRPr>
            </a:lvl1pPr>
          </a:lstStyle>
          <a:p>
            <a:fld id="{5E0C3BBE-9543-48E5-A6E1-C646F9A01966}" type="slidenum">
              <a:rPr lang="en-ID" smtClean="0"/>
              <a:pPr/>
              <a:t>‹#›</a:t>
            </a:fld>
            <a:endParaRPr lang="en-ID" dirty="0"/>
          </a:p>
        </p:txBody>
      </p:sp>
      <p:sp>
        <p:nvSpPr>
          <p:cNvPr id="15" name="Picture Placeholder 11">
            <a:extLst>
              <a:ext uri="{FF2B5EF4-FFF2-40B4-BE49-F238E27FC236}">
                <a16:creationId xmlns:a16="http://schemas.microsoft.com/office/drawing/2014/main" id="{62F44640-A9EB-C412-36D2-BCAA7BA09086}"/>
              </a:ext>
            </a:extLst>
          </p:cNvPr>
          <p:cNvSpPr>
            <a:spLocks noGrp="1"/>
          </p:cNvSpPr>
          <p:nvPr>
            <p:ph type="pic" sz="quarter" idx="10"/>
          </p:nvPr>
        </p:nvSpPr>
        <p:spPr>
          <a:xfrm>
            <a:off x="6518274" y="962026"/>
            <a:ext cx="5673726" cy="4933948"/>
          </a:xfrm>
          <a:prstGeom prst="rect">
            <a:avLst/>
          </a:prstGeom>
          <a:solidFill>
            <a:schemeClr val="accent2">
              <a:lumMod val="20000"/>
              <a:lumOff val="80000"/>
            </a:schemeClr>
          </a:solidFill>
        </p:spPr>
        <p:txBody>
          <a:bodyPr anchor="ctr">
            <a:normAutofit/>
          </a:bodyPr>
          <a:lstStyle>
            <a:lvl1pPr marL="0" indent="0" algn="ctr">
              <a:buNone/>
              <a:defRPr sz="1333">
                <a:solidFill>
                  <a:schemeClr val="tx1"/>
                </a:solidFill>
              </a:defRPr>
            </a:lvl1pPr>
          </a:lstStyle>
          <a:p>
            <a:endParaRPr lang="en-ID"/>
          </a:p>
        </p:txBody>
      </p:sp>
      <p:cxnSp>
        <p:nvCxnSpPr>
          <p:cNvPr id="16" name="Straight Connector 15">
            <a:extLst>
              <a:ext uri="{FF2B5EF4-FFF2-40B4-BE49-F238E27FC236}">
                <a16:creationId xmlns:a16="http://schemas.microsoft.com/office/drawing/2014/main" id="{0657BBCF-CA9E-FB2C-CA76-82D2795FF965}"/>
              </a:ext>
            </a:extLst>
          </p:cNvPr>
          <p:cNvCxnSpPr>
            <a:cxnSpLocks/>
          </p:cNvCxnSpPr>
          <p:nvPr userDrawn="1"/>
        </p:nvCxnSpPr>
        <p:spPr>
          <a:xfrm>
            <a:off x="587375" y="844550"/>
            <a:ext cx="0" cy="133560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Footer Placeholder 4">
            <a:extLst>
              <a:ext uri="{FF2B5EF4-FFF2-40B4-BE49-F238E27FC236}">
                <a16:creationId xmlns:a16="http://schemas.microsoft.com/office/drawing/2014/main" id="{FC465D62-3382-034B-3BC4-9FA6DDBCBF3D}"/>
              </a:ext>
            </a:extLst>
          </p:cNvPr>
          <p:cNvSpPr>
            <a:spLocks noGrp="1"/>
          </p:cNvSpPr>
          <p:nvPr>
            <p:ph type="ftr" sz="quarter" idx="3"/>
          </p:nvPr>
        </p:nvSpPr>
        <p:spPr>
          <a:xfrm>
            <a:off x="584200" y="6364288"/>
            <a:ext cx="5511800" cy="365125"/>
          </a:xfrm>
          <a:prstGeom prst="rect">
            <a:avLst/>
          </a:prstGeom>
        </p:spPr>
        <p:txBody>
          <a:bodyPr vert="horz" lIns="91440" tIns="45720" rIns="91440" bIns="45720" rtlCol="0" anchor="ctr"/>
          <a:lstStyle>
            <a:lvl1pPr algn="l">
              <a:defRPr lang="en-GB" sz="1200">
                <a:solidFill>
                  <a:schemeClr val="tx1"/>
                </a:solidFill>
              </a:defRPr>
            </a:lvl1pPr>
          </a:lstStyle>
          <a:p>
            <a:r>
              <a:rPr lang="en-US"/>
              <a:t>PRESENTATION TITLE</a:t>
            </a:r>
            <a:endParaRPr lang="en-US" dirty="0"/>
          </a:p>
        </p:txBody>
      </p:sp>
      <p:sp>
        <p:nvSpPr>
          <p:cNvPr id="14" name="Rectangle 13">
            <a:extLst>
              <a:ext uri="{FF2B5EF4-FFF2-40B4-BE49-F238E27FC236}">
                <a16:creationId xmlns:a16="http://schemas.microsoft.com/office/drawing/2014/main" id="{EF328576-5150-CD3D-CA2F-222FFB2D228B}"/>
              </a:ext>
            </a:extLst>
          </p:cNvPr>
          <p:cNvSpPr/>
          <p:nvPr userDrawn="1"/>
        </p:nvSpPr>
        <p:spPr>
          <a:xfrm>
            <a:off x="6400798" y="2476501"/>
            <a:ext cx="117475" cy="1904998"/>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4059785727"/>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 Text Box T20V3">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048E2C7-E138-739F-9BB2-FE2FD28A155A}"/>
              </a:ext>
            </a:extLst>
          </p:cNvPr>
          <p:cNvGrpSpPr/>
          <p:nvPr userDrawn="1"/>
        </p:nvGrpSpPr>
        <p:grpSpPr>
          <a:xfrm flipH="1">
            <a:off x="0" y="844550"/>
            <a:ext cx="4079875" cy="5168484"/>
            <a:chOff x="6400798" y="844550"/>
            <a:chExt cx="4079875" cy="5168484"/>
          </a:xfrm>
        </p:grpSpPr>
        <p:sp>
          <p:nvSpPr>
            <p:cNvPr id="10" name="Rectangle 9">
              <a:extLst>
                <a:ext uri="{FF2B5EF4-FFF2-40B4-BE49-F238E27FC236}">
                  <a16:creationId xmlns:a16="http://schemas.microsoft.com/office/drawing/2014/main" id="{FBD442C6-EECF-FD33-A672-5BDA5C831C7A}"/>
                </a:ext>
              </a:extLst>
            </p:cNvPr>
            <p:cNvSpPr/>
            <p:nvPr userDrawn="1"/>
          </p:nvSpPr>
          <p:spPr>
            <a:xfrm flipH="1">
              <a:off x="6400798" y="844550"/>
              <a:ext cx="4079875" cy="516848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Rectangle 13">
              <a:extLst>
                <a:ext uri="{FF2B5EF4-FFF2-40B4-BE49-F238E27FC236}">
                  <a16:creationId xmlns:a16="http://schemas.microsoft.com/office/drawing/2014/main" id="{EF328576-5150-CD3D-CA2F-222FFB2D228B}"/>
                </a:ext>
              </a:extLst>
            </p:cNvPr>
            <p:cNvSpPr/>
            <p:nvPr userDrawn="1"/>
          </p:nvSpPr>
          <p:spPr>
            <a:xfrm flipH="1">
              <a:off x="6400798" y="2476501"/>
              <a:ext cx="117475" cy="1904998"/>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sp>
        <p:nvSpPr>
          <p:cNvPr id="6" name="Text Placeholder 29">
            <a:extLst>
              <a:ext uri="{FF2B5EF4-FFF2-40B4-BE49-F238E27FC236}">
                <a16:creationId xmlns:a16="http://schemas.microsoft.com/office/drawing/2014/main" id="{F28F550A-A637-E065-107C-7C7A9E6C01FA}"/>
              </a:ext>
            </a:extLst>
          </p:cNvPr>
          <p:cNvSpPr>
            <a:spLocks noGrp="1"/>
          </p:cNvSpPr>
          <p:nvPr>
            <p:ph type="body" sz="quarter" idx="39"/>
          </p:nvPr>
        </p:nvSpPr>
        <p:spPr>
          <a:xfrm>
            <a:off x="5001816" y="2573973"/>
            <a:ext cx="6602807" cy="610408"/>
          </a:xfrm>
          <a:prstGeom prst="rect">
            <a:avLst/>
          </a:prstGeom>
          <a:solidFill>
            <a:schemeClr val="accent1"/>
          </a:solidFill>
        </p:spPr>
        <p:txBody>
          <a:bodyPr tIns="0" bIns="0" anchor="ctr">
            <a:noAutofit/>
          </a:bodyPr>
          <a:lstStyle>
            <a:lvl1pPr marL="0" indent="0">
              <a:buNone/>
              <a:defRPr sz="1800" b="1">
                <a:solidFill>
                  <a:srgbClr val="FFFFFF"/>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7" name="Text Placeholder 29">
            <a:extLst>
              <a:ext uri="{FF2B5EF4-FFF2-40B4-BE49-F238E27FC236}">
                <a16:creationId xmlns:a16="http://schemas.microsoft.com/office/drawing/2014/main" id="{1BDAC654-D9AC-B935-534C-0FF7A6BB04C7}"/>
              </a:ext>
            </a:extLst>
          </p:cNvPr>
          <p:cNvSpPr>
            <a:spLocks noGrp="1"/>
          </p:cNvSpPr>
          <p:nvPr>
            <p:ph type="body" sz="quarter" idx="40"/>
          </p:nvPr>
        </p:nvSpPr>
        <p:spPr>
          <a:xfrm>
            <a:off x="5001816" y="3256377"/>
            <a:ext cx="6602807" cy="2756657"/>
          </a:xfrm>
          <a:prstGeom prst="rect">
            <a:avLst/>
          </a:prstGeom>
          <a:solidFill>
            <a:schemeClr val="accent1"/>
          </a:solidFill>
        </p:spPr>
        <p:txBody>
          <a:bodyPr lIns="91440" tIns="126000" rIns="91440" bIns="0">
            <a:noAutofit/>
          </a:bodyPr>
          <a:lstStyle>
            <a:lvl1pPr marL="0" indent="0">
              <a:buNone/>
              <a:defRPr sz="1600" b="0">
                <a:solidFill>
                  <a:srgbClr val="FFFFFF"/>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2" name="Title 1">
            <a:extLst>
              <a:ext uri="{FF2B5EF4-FFF2-40B4-BE49-F238E27FC236}">
                <a16:creationId xmlns:a16="http://schemas.microsoft.com/office/drawing/2014/main" id="{1036477C-8D55-B4B8-85DD-DAF85A20D8C5}"/>
              </a:ext>
            </a:extLst>
          </p:cNvPr>
          <p:cNvSpPr>
            <a:spLocks noGrp="1"/>
          </p:cNvSpPr>
          <p:nvPr>
            <p:ph type="title"/>
          </p:nvPr>
        </p:nvSpPr>
        <p:spPr>
          <a:xfrm>
            <a:off x="5001817" y="844965"/>
            <a:ext cx="6602808" cy="1334770"/>
          </a:xfrm>
        </p:spPr>
        <p:txBody>
          <a:bodyPr anchor="t">
            <a:noAutofit/>
          </a:bodyPr>
          <a:lstStyle>
            <a:lvl1pPr>
              <a:defRPr>
                <a:solidFill>
                  <a:schemeClr val="tx1"/>
                </a:solidFill>
              </a:defRPr>
            </a:lvl1pPr>
          </a:lstStyle>
          <a:p>
            <a:r>
              <a:rPr lang="en-US" dirty="0"/>
              <a:t>Click to edit Master title style</a:t>
            </a:r>
            <a:endParaRPr lang="en-ID" dirty="0"/>
          </a:p>
        </p:txBody>
      </p:sp>
      <p:sp>
        <p:nvSpPr>
          <p:cNvPr id="11" name="Slide Number Placeholder 5">
            <a:extLst>
              <a:ext uri="{FF2B5EF4-FFF2-40B4-BE49-F238E27FC236}">
                <a16:creationId xmlns:a16="http://schemas.microsoft.com/office/drawing/2014/main" id="{752E3F75-A181-1CEF-4892-A00A828F0DEC}"/>
              </a:ext>
            </a:extLst>
          </p:cNvPr>
          <p:cNvSpPr>
            <a:spLocks noGrp="1"/>
          </p:cNvSpPr>
          <p:nvPr>
            <p:ph type="sldNum" sz="quarter" idx="4"/>
          </p:nvPr>
        </p:nvSpPr>
        <p:spPr>
          <a:xfrm>
            <a:off x="11058525" y="6409951"/>
            <a:ext cx="546100" cy="273799"/>
          </a:xfrm>
          <a:prstGeom prst="rect">
            <a:avLst/>
          </a:prstGeom>
        </p:spPr>
        <p:txBody>
          <a:bodyPr vert="horz" lIns="91440" tIns="45720" rIns="91440" bIns="45720" rtlCol="0" anchor="b"/>
          <a:lstStyle>
            <a:lvl1pPr algn="r">
              <a:defRPr sz="1200">
                <a:solidFill>
                  <a:schemeClr val="tx1"/>
                </a:solidFill>
                <a:latin typeface="+mn-lt"/>
              </a:defRPr>
            </a:lvl1pPr>
          </a:lstStyle>
          <a:p>
            <a:fld id="{5E0C3BBE-9543-48E5-A6E1-C646F9A01966}" type="slidenum">
              <a:rPr lang="en-ID" smtClean="0"/>
              <a:pPr/>
              <a:t>‹#›</a:t>
            </a:fld>
            <a:endParaRPr lang="en-ID" dirty="0"/>
          </a:p>
        </p:txBody>
      </p:sp>
      <p:sp>
        <p:nvSpPr>
          <p:cNvPr id="15" name="Picture Placeholder 11">
            <a:extLst>
              <a:ext uri="{FF2B5EF4-FFF2-40B4-BE49-F238E27FC236}">
                <a16:creationId xmlns:a16="http://schemas.microsoft.com/office/drawing/2014/main" id="{62F44640-A9EB-C412-36D2-BCAA7BA09086}"/>
              </a:ext>
            </a:extLst>
          </p:cNvPr>
          <p:cNvSpPr>
            <a:spLocks noGrp="1"/>
          </p:cNvSpPr>
          <p:nvPr>
            <p:ph type="pic" sz="quarter" idx="10"/>
          </p:nvPr>
        </p:nvSpPr>
        <p:spPr>
          <a:xfrm>
            <a:off x="0" y="962026"/>
            <a:ext cx="3962400" cy="4933948"/>
          </a:xfrm>
          <a:prstGeom prst="rect">
            <a:avLst/>
          </a:prstGeom>
          <a:solidFill>
            <a:schemeClr val="accent2">
              <a:lumMod val="20000"/>
              <a:lumOff val="80000"/>
            </a:schemeClr>
          </a:solidFill>
        </p:spPr>
        <p:txBody>
          <a:bodyPr anchor="ctr">
            <a:normAutofit/>
          </a:bodyPr>
          <a:lstStyle>
            <a:lvl1pPr marL="0" indent="0" algn="ctr">
              <a:buNone/>
              <a:defRPr sz="1333">
                <a:solidFill>
                  <a:schemeClr val="tx1"/>
                </a:solidFill>
              </a:defRPr>
            </a:lvl1pPr>
          </a:lstStyle>
          <a:p>
            <a:endParaRPr lang="en-ID"/>
          </a:p>
        </p:txBody>
      </p:sp>
      <p:cxnSp>
        <p:nvCxnSpPr>
          <p:cNvPr id="16" name="Straight Connector 15">
            <a:extLst>
              <a:ext uri="{FF2B5EF4-FFF2-40B4-BE49-F238E27FC236}">
                <a16:creationId xmlns:a16="http://schemas.microsoft.com/office/drawing/2014/main" id="{0657BBCF-CA9E-FB2C-CA76-82D2795FF965}"/>
              </a:ext>
            </a:extLst>
          </p:cNvPr>
          <p:cNvCxnSpPr>
            <a:cxnSpLocks/>
          </p:cNvCxnSpPr>
          <p:nvPr userDrawn="1"/>
        </p:nvCxnSpPr>
        <p:spPr>
          <a:xfrm>
            <a:off x="4857749" y="844550"/>
            <a:ext cx="0" cy="133560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Footer Placeholder 4">
            <a:extLst>
              <a:ext uri="{FF2B5EF4-FFF2-40B4-BE49-F238E27FC236}">
                <a16:creationId xmlns:a16="http://schemas.microsoft.com/office/drawing/2014/main" id="{FC465D62-3382-034B-3BC4-9FA6DDBCBF3D}"/>
              </a:ext>
            </a:extLst>
          </p:cNvPr>
          <p:cNvSpPr>
            <a:spLocks noGrp="1"/>
          </p:cNvSpPr>
          <p:nvPr>
            <p:ph type="ftr" sz="quarter" idx="3"/>
          </p:nvPr>
        </p:nvSpPr>
        <p:spPr>
          <a:xfrm>
            <a:off x="584200" y="6364288"/>
            <a:ext cx="5511800" cy="365125"/>
          </a:xfrm>
          <a:prstGeom prst="rect">
            <a:avLst/>
          </a:prstGeom>
        </p:spPr>
        <p:txBody>
          <a:bodyPr vert="horz" lIns="91440" tIns="45720" rIns="91440" bIns="45720" rtlCol="0" anchor="ctr"/>
          <a:lstStyle>
            <a:lvl1pPr algn="l">
              <a:defRPr lang="en-GB" sz="1200">
                <a:solidFill>
                  <a:schemeClr val="tx1"/>
                </a:solidFill>
              </a:defRPr>
            </a:lvl1pPr>
          </a:lstStyle>
          <a:p>
            <a:r>
              <a:rPr lang="en-US"/>
              <a:t>PRESENTATION TITLE</a:t>
            </a:r>
            <a:endParaRPr lang="en-US" dirty="0"/>
          </a:p>
        </p:txBody>
      </p:sp>
    </p:spTree>
    <p:extLst>
      <p:ext uri="{BB962C8B-B14F-4D97-AF65-F5344CB8AC3E}">
        <p14:creationId xmlns:p14="http://schemas.microsoft.com/office/powerpoint/2010/main" val="3474393961"/>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01V2">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A8251DF6-5AD2-ACA8-5899-43F743C66417}"/>
              </a:ext>
            </a:extLst>
          </p:cNvPr>
          <p:cNvSpPr/>
          <p:nvPr userDrawn="1"/>
        </p:nvSpPr>
        <p:spPr>
          <a:xfrm>
            <a:off x="0" y="0"/>
            <a:ext cx="12192000" cy="62357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Text Placeholder 29">
            <a:extLst>
              <a:ext uri="{FF2B5EF4-FFF2-40B4-BE49-F238E27FC236}">
                <a16:creationId xmlns:a16="http://schemas.microsoft.com/office/drawing/2014/main" id="{B67530F7-C043-4F2D-AA58-B8F8D1238C27}"/>
              </a:ext>
            </a:extLst>
          </p:cNvPr>
          <p:cNvSpPr>
            <a:spLocks noGrp="1"/>
          </p:cNvSpPr>
          <p:nvPr>
            <p:ph type="body" sz="quarter" idx="14"/>
          </p:nvPr>
        </p:nvSpPr>
        <p:spPr>
          <a:xfrm>
            <a:off x="731446" y="4614945"/>
            <a:ext cx="5074268" cy="707816"/>
          </a:xfrm>
          <a:prstGeom prst="rect">
            <a:avLst/>
          </a:prstGeom>
        </p:spPr>
        <p:txBody>
          <a:bodyPr>
            <a:noAutofit/>
          </a:bodyPr>
          <a:lstStyle>
            <a:lvl1pPr marL="0" indent="0">
              <a:buNone/>
              <a:defRPr sz="1800" b="0">
                <a:solidFill>
                  <a:schemeClr val="bg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4" name="Title 2">
            <a:extLst>
              <a:ext uri="{FF2B5EF4-FFF2-40B4-BE49-F238E27FC236}">
                <a16:creationId xmlns:a16="http://schemas.microsoft.com/office/drawing/2014/main" id="{6A0E0A3C-AF5E-BB75-6F0A-2D22B84E67BC}"/>
              </a:ext>
            </a:extLst>
          </p:cNvPr>
          <p:cNvSpPr>
            <a:spLocks noGrp="1"/>
          </p:cNvSpPr>
          <p:nvPr>
            <p:ph type="ctrTitle"/>
          </p:nvPr>
        </p:nvSpPr>
        <p:spPr>
          <a:xfrm>
            <a:off x="731446" y="1628775"/>
            <a:ext cx="10873179" cy="2468025"/>
          </a:xfrm>
        </p:spPr>
        <p:txBody>
          <a:bodyPr anchor="ctr">
            <a:noAutofit/>
          </a:bodyPr>
          <a:lstStyle>
            <a:lvl1pPr algn="l">
              <a:defRPr sz="5400">
                <a:solidFill>
                  <a:schemeClr val="bg1"/>
                </a:solidFill>
              </a:defRPr>
            </a:lvl1pPr>
          </a:lstStyle>
          <a:p>
            <a:endParaRPr lang="en-GB" dirty="0"/>
          </a:p>
        </p:txBody>
      </p:sp>
      <p:sp>
        <p:nvSpPr>
          <p:cNvPr id="8" name="Text Placeholder 29">
            <a:extLst>
              <a:ext uri="{FF2B5EF4-FFF2-40B4-BE49-F238E27FC236}">
                <a16:creationId xmlns:a16="http://schemas.microsoft.com/office/drawing/2014/main" id="{73E0654F-4709-9928-E09F-2A00AF8174F2}"/>
              </a:ext>
            </a:extLst>
          </p:cNvPr>
          <p:cNvSpPr>
            <a:spLocks noGrp="1"/>
          </p:cNvSpPr>
          <p:nvPr>
            <p:ph type="body" sz="quarter" idx="15"/>
          </p:nvPr>
        </p:nvSpPr>
        <p:spPr>
          <a:xfrm>
            <a:off x="6229350" y="4614945"/>
            <a:ext cx="5375274" cy="707816"/>
          </a:xfrm>
          <a:prstGeom prst="rect">
            <a:avLst/>
          </a:prstGeom>
        </p:spPr>
        <p:txBody>
          <a:bodyPr>
            <a:noAutofit/>
          </a:bodyPr>
          <a:lstStyle>
            <a:lvl1pPr marL="0" indent="0">
              <a:buNone/>
              <a:defRPr sz="1800" b="0">
                <a:solidFill>
                  <a:schemeClr val="bg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9" name="Slide Number Placeholder 5">
            <a:extLst>
              <a:ext uri="{FF2B5EF4-FFF2-40B4-BE49-F238E27FC236}">
                <a16:creationId xmlns:a16="http://schemas.microsoft.com/office/drawing/2014/main" id="{4FE027D9-E8BA-AB34-D226-FB323E4044D4}"/>
              </a:ext>
            </a:extLst>
          </p:cNvPr>
          <p:cNvSpPr>
            <a:spLocks noGrp="1"/>
          </p:cNvSpPr>
          <p:nvPr>
            <p:ph type="sldNum" sz="quarter" idx="4"/>
          </p:nvPr>
        </p:nvSpPr>
        <p:spPr>
          <a:xfrm>
            <a:off x="11058525" y="6409951"/>
            <a:ext cx="546100" cy="273799"/>
          </a:xfrm>
          <a:prstGeom prst="rect">
            <a:avLst/>
          </a:prstGeom>
        </p:spPr>
        <p:txBody>
          <a:bodyPr vert="horz" lIns="91440" tIns="45720" rIns="91440" bIns="45720" rtlCol="0" anchor="b"/>
          <a:lstStyle>
            <a:lvl1pPr algn="r">
              <a:defRPr sz="1200">
                <a:solidFill>
                  <a:schemeClr val="tx1"/>
                </a:solidFill>
                <a:latin typeface="+mn-lt"/>
              </a:defRPr>
            </a:lvl1pPr>
          </a:lstStyle>
          <a:p>
            <a:fld id="{5E0C3BBE-9543-48E5-A6E1-C646F9A01966}" type="slidenum">
              <a:rPr lang="en-ID" smtClean="0"/>
              <a:pPr/>
              <a:t>‹#›</a:t>
            </a:fld>
            <a:endParaRPr lang="en-ID" dirty="0"/>
          </a:p>
        </p:txBody>
      </p:sp>
      <p:sp>
        <p:nvSpPr>
          <p:cNvPr id="10" name="Footer Placeholder 4">
            <a:extLst>
              <a:ext uri="{FF2B5EF4-FFF2-40B4-BE49-F238E27FC236}">
                <a16:creationId xmlns:a16="http://schemas.microsoft.com/office/drawing/2014/main" id="{C0D6385D-654E-DC48-400B-090D33BE7FAD}"/>
              </a:ext>
            </a:extLst>
          </p:cNvPr>
          <p:cNvSpPr>
            <a:spLocks noGrp="1"/>
          </p:cNvSpPr>
          <p:nvPr>
            <p:ph type="ftr" sz="quarter" idx="3"/>
          </p:nvPr>
        </p:nvSpPr>
        <p:spPr>
          <a:xfrm>
            <a:off x="584200" y="6364288"/>
            <a:ext cx="5511800" cy="365125"/>
          </a:xfrm>
          <a:prstGeom prst="rect">
            <a:avLst/>
          </a:prstGeom>
        </p:spPr>
        <p:txBody>
          <a:bodyPr vert="horz" lIns="91440" tIns="45720" rIns="91440" bIns="45720" rtlCol="0" anchor="ctr"/>
          <a:lstStyle>
            <a:lvl1pPr algn="l">
              <a:defRPr lang="en-GB" sz="1200">
                <a:solidFill>
                  <a:schemeClr val="tx1"/>
                </a:solidFill>
              </a:defRPr>
            </a:lvl1pPr>
          </a:lstStyle>
          <a:p>
            <a:r>
              <a:rPr lang="en-US" dirty="0"/>
              <a:t>PRESENTATION TITLE</a:t>
            </a:r>
          </a:p>
        </p:txBody>
      </p:sp>
      <p:cxnSp>
        <p:nvCxnSpPr>
          <p:cNvPr id="2" name="Straight Connector 1">
            <a:extLst>
              <a:ext uri="{FF2B5EF4-FFF2-40B4-BE49-F238E27FC236}">
                <a16:creationId xmlns:a16="http://schemas.microsoft.com/office/drawing/2014/main" id="{2346FEE9-501A-3130-038F-1856FF3A6460}"/>
              </a:ext>
            </a:extLst>
          </p:cNvPr>
          <p:cNvCxnSpPr>
            <a:cxnSpLocks/>
          </p:cNvCxnSpPr>
          <p:nvPr userDrawn="1"/>
        </p:nvCxnSpPr>
        <p:spPr>
          <a:xfrm>
            <a:off x="587375" y="2194987"/>
            <a:ext cx="0" cy="133560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4311171"/>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 Text Box T20V4">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BD442C6-EECF-FD33-A672-5BDA5C831C7A}"/>
              </a:ext>
            </a:extLst>
          </p:cNvPr>
          <p:cNvSpPr/>
          <p:nvPr userDrawn="1"/>
        </p:nvSpPr>
        <p:spPr>
          <a:xfrm>
            <a:off x="587376" y="1394875"/>
            <a:ext cx="4558024" cy="406783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1" name="Slide Number Placeholder 5">
            <a:extLst>
              <a:ext uri="{FF2B5EF4-FFF2-40B4-BE49-F238E27FC236}">
                <a16:creationId xmlns:a16="http://schemas.microsoft.com/office/drawing/2014/main" id="{752E3F75-A181-1CEF-4892-A00A828F0DEC}"/>
              </a:ext>
            </a:extLst>
          </p:cNvPr>
          <p:cNvSpPr>
            <a:spLocks noGrp="1"/>
          </p:cNvSpPr>
          <p:nvPr>
            <p:ph type="sldNum" sz="quarter" idx="4"/>
          </p:nvPr>
        </p:nvSpPr>
        <p:spPr>
          <a:xfrm>
            <a:off x="11058525" y="6409951"/>
            <a:ext cx="546100" cy="273799"/>
          </a:xfrm>
          <a:prstGeom prst="rect">
            <a:avLst/>
          </a:prstGeom>
        </p:spPr>
        <p:txBody>
          <a:bodyPr vert="horz" lIns="91440" tIns="45720" rIns="91440" bIns="45720" rtlCol="0" anchor="b"/>
          <a:lstStyle>
            <a:lvl1pPr algn="r">
              <a:defRPr sz="1200">
                <a:solidFill>
                  <a:schemeClr val="tx1"/>
                </a:solidFill>
                <a:latin typeface="+mn-lt"/>
              </a:defRPr>
            </a:lvl1pPr>
          </a:lstStyle>
          <a:p>
            <a:fld id="{5E0C3BBE-9543-48E5-A6E1-C646F9A01966}" type="slidenum">
              <a:rPr lang="en-ID" smtClean="0"/>
              <a:pPr/>
              <a:t>‹#›</a:t>
            </a:fld>
            <a:endParaRPr lang="en-ID" dirty="0"/>
          </a:p>
        </p:txBody>
      </p:sp>
      <p:sp>
        <p:nvSpPr>
          <p:cNvPr id="15" name="Picture Placeholder 11">
            <a:extLst>
              <a:ext uri="{FF2B5EF4-FFF2-40B4-BE49-F238E27FC236}">
                <a16:creationId xmlns:a16="http://schemas.microsoft.com/office/drawing/2014/main" id="{62F44640-A9EB-C412-36D2-BCAA7BA09086}"/>
              </a:ext>
            </a:extLst>
          </p:cNvPr>
          <p:cNvSpPr>
            <a:spLocks noGrp="1"/>
          </p:cNvSpPr>
          <p:nvPr>
            <p:ph type="pic" sz="quarter" idx="10"/>
          </p:nvPr>
        </p:nvSpPr>
        <p:spPr>
          <a:xfrm>
            <a:off x="704849" y="1515531"/>
            <a:ext cx="4323075" cy="3826522"/>
          </a:xfrm>
          <a:prstGeom prst="rect">
            <a:avLst/>
          </a:prstGeom>
          <a:solidFill>
            <a:schemeClr val="accent2">
              <a:lumMod val="20000"/>
              <a:lumOff val="80000"/>
            </a:schemeClr>
          </a:solidFill>
        </p:spPr>
        <p:txBody>
          <a:bodyPr anchor="ctr">
            <a:normAutofit/>
          </a:bodyPr>
          <a:lstStyle>
            <a:lvl1pPr marL="0" indent="0" algn="ctr">
              <a:buNone/>
              <a:defRPr sz="1333">
                <a:solidFill>
                  <a:schemeClr val="tx1"/>
                </a:solidFill>
              </a:defRPr>
            </a:lvl1pPr>
          </a:lstStyle>
          <a:p>
            <a:endParaRPr lang="en-ID"/>
          </a:p>
        </p:txBody>
      </p:sp>
      <p:sp>
        <p:nvSpPr>
          <p:cNvPr id="21" name="Footer Placeholder 4">
            <a:extLst>
              <a:ext uri="{FF2B5EF4-FFF2-40B4-BE49-F238E27FC236}">
                <a16:creationId xmlns:a16="http://schemas.microsoft.com/office/drawing/2014/main" id="{FC465D62-3382-034B-3BC4-9FA6DDBCBF3D}"/>
              </a:ext>
            </a:extLst>
          </p:cNvPr>
          <p:cNvSpPr>
            <a:spLocks noGrp="1"/>
          </p:cNvSpPr>
          <p:nvPr>
            <p:ph type="ftr" sz="quarter" idx="3"/>
          </p:nvPr>
        </p:nvSpPr>
        <p:spPr>
          <a:xfrm>
            <a:off x="584200" y="6364288"/>
            <a:ext cx="5511800" cy="365125"/>
          </a:xfrm>
          <a:prstGeom prst="rect">
            <a:avLst/>
          </a:prstGeom>
        </p:spPr>
        <p:txBody>
          <a:bodyPr vert="horz" lIns="91440" tIns="45720" rIns="91440" bIns="45720" rtlCol="0" anchor="ctr"/>
          <a:lstStyle>
            <a:lvl1pPr algn="l">
              <a:defRPr lang="en-GB" sz="1200">
                <a:solidFill>
                  <a:schemeClr val="tx1"/>
                </a:solidFill>
              </a:defRPr>
            </a:lvl1pPr>
          </a:lstStyle>
          <a:p>
            <a:r>
              <a:rPr lang="en-US"/>
              <a:t>PRESENTATION TITLE</a:t>
            </a:r>
            <a:endParaRPr lang="en-US" dirty="0"/>
          </a:p>
        </p:txBody>
      </p:sp>
      <p:sp>
        <p:nvSpPr>
          <p:cNvPr id="14" name="Rectangle 13">
            <a:extLst>
              <a:ext uri="{FF2B5EF4-FFF2-40B4-BE49-F238E27FC236}">
                <a16:creationId xmlns:a16="http://schemas.microsoft.com/office/drawing/2014/main" id="{EF328576-5150-CD3D-CA2F-222FFB2D228B}"/>
              </a:ext>
            </a:extLst>
          </p:cNvPr>
          <p:cNvSpPr/>
          <p:nvPr userDrawn="1"/>
        </p:nvSpPr>
        <p:spPr>
          <a:xfrm>
            <a:off x="587375" y="2476293"/>
            <a:ext cx="117475" cy="1904998"/>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 name="Rectangle 2">
            <a:extLst>
              <a:ext uri="{FF2B5EF4-FFF2-40B4-BE49-F238E27FC236}">
                <a16:creationId xmlns:a16="http://schemas.microsoft.com/office/drawing/2014/main" id="{C0033A8B-FF98-1E02-BE1A-38B8A2DBADF2}"/>
              </a:ext>
            </a:extLst>
          </p:cNvPr>
          <p:cNvSpPr/>
          <p:nvPr userDrawn="1"/>
        </p:nvSpPr>
        <p:spPr>
          <a:xfrm>
            <a:off x="5027925" y="2476293"/>
            <a:ext cx="117475" cy="1904998"/>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8" name="Text Placeholder 29">
            <a:extLst>
              <a:ext uri="{FF2B5EF4-FFF2-40B4-BE49-F238E27FC236}">
                <a16:creationId xmlns:a16="http://schemas.microsoft.com/office/drawing/2014/main" id="{F28F550A-A637-E065-107C-7C7A9E6C01FA}"/>
              </a:ext>
            </a:extLst>
          </p:cNvPr>
          <p:cNvSpPr>
            <a:spLocks noGrp="1"/>
          </p:cNvSpPr>
          <p:nvPr>
            <p:ph type="body" sz="quarter" idx="39"/>
          </p:nvPr>
        </p:nvSpPr>
        <p:spPr>
          <a:xfrm>
            <a:off x="6240067" y="2573973"/>
            <a:ext cx="5364558" cy="610408"/>
          </a:xfrm>
          <a:prstGeom prst="rect">
            <a:avLst/>
          </a:prstGeom>
        </p:spPr>
        <p:txBody>
          <a:bodyPr tIns="0" bIns="0" anchor="b">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9" name="Text Placeholder 29">
            <a:extLst>
              <a:ext uri="{FF2B5EF4-FFF2-40B4-BE49-F238E27FC236}">
                <a16:creationId xmlns:a16="http://schemas.microsoft.com/office/drawing/2014/main" id="{1BDAC654-D9AC-B935-534C-0FF7A6BB04C7}"/>
              </a:ext>
            </a:extLst>
          </p:cNvPr>
          <p:cNvSpPr>
            <a:spLocks noGrp="1"/>
          </p:cNvSpPr>
          <p:nvPr>
            <p:ph type="body" sz="quarter" idx="40"/>
          </p:nvPr>
        </p:nvSpPr>
        <p:spPr>
          <a:xfrm>
            <a:off x="6240067" y="3256378"/>
            <a:ext cx="5364558" cy="2206331"/>
          </a:xfrm>
          <a:prstGeom prst="rect">
            <a:avLst/>
          </a:prstGeom>
        </p:spPr>
        <p:txBody>
          <a:bodyPr tIns="0" bIns="0">
            <a:noAutofit/>
          </a:bodyPr>
          <a:lstStyle>
            <a:lvl1pPr marL="0" indent="0">
              <a:buNone/>
              <a:defRPr sz="16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12" name="Title 1">
            <a:extLst>
              <a:ext uri="{FF2B5EF4-FFF2-40B4-BE49-F238E27FC236}">
                <a16:creationId xmlns:a16="http://schemas.microsoft.com/office/drawing/2014/main" id="{1036477C-8D55-B4B8-85DD-DAF85A20D8C5}"/>
              </a:ext>
            </a:extLst>
          </p:cNvPr>
          <p:cNvSpPr>
            <a:spLocks noGrp="1"/>
          </p:cNvSpPr>
          <p:nvPr>
            <p:ph type="title"/>
          </p:nvPr>
        </p:nvSpPr>
        <p:spPr>
          <a:xfrm>
            <a:off x="6240067" y="844965"/>
            <a:ext cx="5364557" cy="1334770"/>
          </a:xfrm>
        </p:spPr>
        <p:txBody>
          <a:bodyPr anchor="t">
            <a:noAutofit/>
          </a:bodyPr>
          <a:lstStyle>
            <a:lvl1pPr>
              <a:defRPr>
                <a:solidFill>
                  <a:schemeClr val="tx1"/>
                </a:solidFill>
              </a:defRPr>
            </a:lvl1pPr>
          </a:lstStyle>
          <a:p>
            <a:r>
              <a:rPr lang="en-US" dirty="0"/>
              <a:t>Click to edit Master title style</a:t>
            </a:r>
            <a:endParaRPr lang="en-ID" dirty="0"/>
          </a:p>
        </p:txBody>
      </p:sp>
      <p:cxnSp>
        <p:nvCxnSpPr>
          <p:cNvPr id="13" name="Straight Connector 12">
            <a:extLst>
              <a:ext uri="{FF2B5EF4-FFF2-40B4-BE49-F238E27FC236}">
                <a16:creationId xmlns:a16="http://schemas.microsoft.com/office/drawing/2014/main" id="{0657BBCF-CA9E-FB2C-CA76-82D2795FF965}"/>
              </a:ext>
            </a:extLst>
          </p:cNvPr>
          <p:cNvCxnSpPr>
            <a:cxnSpLocks/>
          </p:cNvCxnSpPr>
          <p:nvPr userDrawn="1"/>
        </p:nvCxnSpPr>
        <p:spPr>
          <a:xfrm>
            <a:off x="6095999" y="844550"/>
            <a:ext cx="0" cy="133560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7261975"/>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 Text Box T20V5">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B4AC0811-B538-6793-87C0-3D6ED1AC6059}"/>
              </a:ext>
            </a:extLst>
          </p:cNvPr>
          <p:cNvGrpSpPr/>
          <p:nvPr userDrawn="1"/>
        </p:nvGrpSpPr>
        <p:grpSpPr>
          <a:xfrm rot="16200000">
            <a:off x="1643620" y="1669495"/>
            <a:ext cx="2922586" cy="6209826"/>
            <a:chOff x="2224091" y="-1834672"/>
            <a:chExt cx="2922586" cy="6209826"/>
          </a:xfrm>
        </p:grpSpPr>
        <p:sp>
          <p:nvSpPr>
            <p:cNvPr id="5" name="Rectangle 4">
              <a:extLst>
                <a:ext uri="{FF2B5EF4-FFF2-40B4-BE49-F238E27FC236}">
                  <a16:creationId xmlns:a16="http://schemas.microsoft.com/office/drawing/2014/main" id="{49286371-865F-C37D-9350-2A89CD104834}"/>
                </a:ext>
              </a:extLst>
            </p:cNvPr>
            <p:cNvSpPr/>
            <p:nvPr userDrawn="1"/>
          </p:nvSpPr>
          <p:spPr>
            <a:xfrm>
              <a:off x="2224091" y="-1834672"/>
              <a:ext cx="2922582" cy="6209826"/>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8" name="Freeform: Shape 7">
              <a:extLst>
                <a:ext uri="{FF2B5EF4-FFF2-40B4-BE49-F238E27FC236}">
                  <a16:creationId xmlns:a16="http://schemas.microsoft.com/office/drawing/2014/main" id="{0C2FC66A-70C2-DBA2-3626-C933F4A5FF1E}"/>
                </a:ext>
              </a:extLst>
            </p:cNvPr>
            <p:cNvSpPr/>
            <p:nvPr userDrawn="1"/>
          </p:nvSpPr>
          <p:spPr>
            <a:xfrm rot="5400000">
              <a:off x="4191507" y="3419982"/>
              <a:ext cx="954001" cy="956339"/>
            </a:xfrm>
            <a:custGeom>
              <a:avLst/>
              <a:gdLst>
                <a:gd name="connsiteX0" fmla="*/ 0 w 954001"/>
                <a:gd name="connsiteY0" fmla="*/ 117476 h 956339"/>
                <a:gd name="connsiteX1" fmla="*/ 0 w 954001"/>
                <a:gd name="connsiteY1" fmla="*/ 0 h 956339"/>
                <a:gd name="connsiteX2" fmla="*/ 954001 w 954001"/>
                <a:gd name="connsiteY2" fmla="*/ 0 h 956339"/>
                <a:gd name="connsiteX3" fmla="*/ 954001 w 954001"/>
                <a:gd name="connsiteY3" fmla="*/ 117476 h 956339"/>
                <a:gd name="connsiteX4" fmla="*/ 954000 w 954001"/>
                <a:gd name="connsiteY4" fmla="*/ 117476 h 956339"/>
                <a:gd name="connsiteX5" fmla="*/ 954000 w 954001"/>
                <a:gd name="connsiteY5" fmla="*/ 956339 h 956339"/>
                <a:gd name="connsiteX6" fmla="*/ 836525 w 954001"/>
                <a:gd name="connsiteY6" fmla="*/ 956339 h 956339"/>
                <a:gd name="connsiteX7" fmla="*/ 836525 w 954001"/>
                <a:gd name="connsiteY7" fmla="*/ 117476 h 956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4001" h="956339">
                  <a:moveTo>
                    <a:pt x="0" y="117476"/>
                  </a:moveTo>
                  <a:lnTo>
                    <a:pt x="0" y="0"/>
                  </a:lnTo>
                  <a:lnTo>
                    <a:pt x="954001" y="0"/>
                  </a:lnTo>
                  <a:lnTo>
                    <a:pt x="954001" y="117476"/>
                  </a:lnTo>
                  <a:lnTo>
                    <a:pt x="954000" y="117476"/>
                  </a:lnTo>
                  <a:lnTo>
                    <a:pt x="954000" y="956339"/>
                  </a:lnTo>
                  <a:lnTo>
                    <a:pt x="836525" y="956339"/>
                  </a:lnTo>
                  <a:lnTo>
                    <a:pt x="836525" y="117476"/>
                  </a:ln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tx1"/>
                </a:solidFill>
              </a:endParaRPr>
            </a:p>
          </p:txBody>
        </p:sp>
      </p:grpSp>
      <p:sp>
        <p:nvSpPr>
          <p:cNvPr id="15" name="Picture Placeholder 11">
            <a:extLst>
              <a:ext uri="{FF2B5EF4-FFF2-40B4-BE49-F238E27FC236}">
                <a16:creationId xmlns:a16="http://schemas.microsoft.com/office/drawing/2014/main" id="{62F44640-A9EB-C412-36D2-BCAA7BA09086}"/>
              </a:ext>
            </a:extLst>
          </p:cNvPr>
          <p:cNvSpPr>
            <a:spLocks noGrp="1"/>
          </p:cNvSpPr>
          <p:nvPr>
            <p:ph type="pic" sz="quarter" idx="10"/>
          </p:nvPr>
        </p:nvSpPr>
        <p:spPr>
          <a:xfrm>
            <a:off x="0" y="3429000"/>
            <a:ext cx="6096000" cy="2806699"/>
          </a:xfrm>
          <a:prstGeom prst="rect">
            <a:avLst/>
          </a:prstGeom>
          <a:solidFill>
            <a:schemeClr val="accent2">
              <a:lumMod val="20000"/>
              <a:lumOff val="80000"/>
            </a:schemeClr>
          </a:solidFill>
        </p:spPr>
        <p:txBody>
          <a:bodyPr anchor="ctr">
            <a:normAutofit/>
          </a:bodyPr>
          <a:lstStyle>
            <a:lvl1pPr marL="0" indent="0" algn="ctr">
              <a:buNone/>
              <a:defRPr sz="1333">
                <a:solidFill>
                  <a:schemeClr val="tx1"/>
                </a:solidFill>
              </a:defRPr>
            </a:lvl1pPr>
          </a:lstStyle>
          <a:p>
            <a:endParaRPr lang="en-ID"/>
          </a:p>
        </p:txBody>
      </p:sp>
      <p:sp>
        <p:nvSpPr>
          <p:cNvPr id="10" name="Rectangle 9">
            <a:extLst>
              <a:ext uri="{FF2B5EF4-FFF2-40B4-BE49-F238E27FC236}">
                <a16:creationId xmlns:a16="http://schemas.microsoft.com/office/drawing/2014/main" id="{FBD442C6-EECF-FD33-A672-5BDA5C831C7A}"/>
              </a:ext>
            </a:extLst>
          </p:cNvPr>
          <p:cNvSpPr/>
          <p:nvPr userDrawn="1"/>
        </p:nvSpPr>
        <p:spPr>
          <a:xfrm>
            <a:off x="7105650" y="-1"/>
            <a:ext cx="5086349" cy="6235699"/>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6" name="Text Placeholder 29">
            <a:extLst>
              <a:ext uri="{FF2B5EF4-FFF2-40B4-BE49-F238E27FC236}">
                <a16:creationId xmlns:a16="http://schemas.microsoft.com/office/drawing/2014/main" id="{F28F550A-A637-E065-107C-7C7A9E6C01FA}"/>
              </a:ext>
            </a:extLst>
          </p:cNvPr>
          <p:cNvSpPr>
            <a:spLocks noGrp="1"/>
          </p:cNvSpPr>
          <p:nvPr>
            <p:ph type="body" sz="quarter" idx="39"/>
          </p:nvPr>
        </p:nvSpPr>
        <p:spPr>
          <a:xfrm>
            <a:off x="7414818" y="1558925"/>
            <a:ext cx="4189807" cy="875618"/>
          </a:xfrm>
          <a:prstGeom prst="rect">
            <a:avLst/>
          </a:prstGeom>
        </p:spPr>
        <p:txBody>
          <a:bodyPr tIns="0" bIns="0" anchor="b">
            <a:noAutofit/>
          </a:bodyPr>
          <a:lstStyle>
            <a:lvl1pPr marL="0" indent="0">
              <a:buNone/>
              <a:defRPr sz="1800" b="1">
                <a:solidFill>
                  <a:srgbClr val="FFFFFF"/>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marL="0" marR="0" lvl="0" indent="0" algn="l" defTabSz="914446"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Click to edit Master text styles</a:t>
            </a:r>
            <a:endParaRPr lang="en-ID" dirty="0"/>
          </a:p>
        </p:txBody>
      </p:sp>
      <p:sp>
        <p:nvSpPr>
          <p:cNvPr id="7" name="Text Placeholder 29">
            <a:extLst>
              <a:ext uri="{FF2B5EF4-FFF2-40B4-BE49-F238E27FC236}">
                <a16:creationId xmlns:a16="http://schemas.microsoft.com/office/drawing/2014/main" id="{1BDAC654-D9AC-B935-534C-0FF7A6BB04C7}"/>
              </a:ext>
            </a:extLst>
          </p:cNvPr>
          <p:cNvSpPr>
            <a:spLocks noGrp="1"/>
          </p:cNvSpPr>
          <p:nvPr>
            <p:ph type="body" sz="quarter" idx="40"/>
          </p:nvPr>
        </p:nvSpPr>
        <p:spPr>
          <a:xfrm>
            <a:off x="7414818" y="2506539"/>
            <a:ext cx="4189807" cy="2792536"/>
          </a:xfrm>
          <a:prstGeom prst="rect">
            <a:avLst/>
          </a:prstGeom>
        </p:spPr>
        <p:txBody>
          <a:bodyPr tIns="0" bIns="0">
            <a:noAutofit/>
          </a:bodyPr>
          <a:lstStyle>
            <a:lvl1pPr marL="0" indent="0">
              <a:buNone/>
              <a:defRPr sz="1600" b="0">
                <a:solidFill>
                  <a:srgbClr val="FFFFFF"/>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2" name="Title 1">
            <a:extLst>
              <a:ext uri="{FF2B5EF4-FFF2-40B4-BE49-F238E27FC236}">
                <a16:creationId xmlns:a16="http://schemas.microsoft.com/office/drawing/2014/main" id="{1036477C-8D55-B4B8-85DD-DAF85A20D8C5}"/>
              </a:ext>
            </a:extLst>
          </p:cNvPr>
          <p:cNvSpPr>
            <a:spLocks noGrp="1"/>
          </p:cNvSpPr>
          <p:nvPr>
            <p:ph type="title"/>
          </p:nvPr>
        </p:nvSpPr>
        <p:spPr>
          <a:xfrm>
            <a:off x="731443" y="844965"/>
            <a:ext cx="5364557" cy="1334770"/>
          </a:xfrm>
        </p:spPr>
        <p:txBody>
          <a:bodyPr anchor="t">
            <a:noAutofit/>
          </a:bodyPr>
          <a:lstStyle>
            <a:lvl1pPr>
              <a:defRPr>
                <a:solidFill>
                  <a:schemeClr val="tx1"/>
                </a:solidFill>
              </a:defRPr>
            </a:lvl1pPr>
          </a:lstStyle>
          <a:p>
            <a:r>
              <a:rPr lang="en-US" dirty="0"/>
              <a:t>Click to edit Master title style</a:t>
            </a:r>
            <a:endParaRPr lang="en-ID" dirty="0"/>
          </a:p>
        </p:txBody>
      </p:sp>
      <p:sp>
        <p:nvSpPr>
          <p:cNvPr id="11" name="Slide Number Placeholder 5">
            <a:extLst>
              <a:ext uri="{FF2B5EF4-FFF2-40B4-BE49-F238E27FC236}">
                <a16:creationId xmlns:a16="http://schemas.microsoft.com/office/drawing/2014/main" id="{752E3F75-A181-1CEF-4892-A00A828F0DEC}"/>
              </a:ext>
            </a:extLst>
          </p:cNvPr>
          <p:cNvSpPr>
            <a:spLocks noGrp="1"/>
          </p:cNvSpPr>
          <p:nvPr>
            <p:ph type="sldNum" sz="quarter" idx="4"/>
          </p:nvPr>
        </p:nvSpPr>
        <p:spPr>
          <a:xfrm>
            <a:off x="11058525" y="6409951"/>
            <a:ext cx="546100" cy="273799"/>
          </a:xfrm>
          <a:prstGeom prst="rect">
            <a:avLst/>
          </a:prstGeom>
        </p:spPr>
        <p:txBody>
          <a:bodyPr vert="horz" lIns="91440" tIns="45720" rIns="91440" bIns="45720" rtlCol="0" anchor="b"/>
          <a:lstStyle>
            <a:lvl1pPr algn="r">
              <a:defRPr sz="1200">
                <a:solidFill>
                  <a:schemeClr val="tx1"/>
                </a:solidFill>
                <a:latin typeface="+mn-lt"/>
              </a:defRPr>
            </a:lvl1pPr>
          </a:lstStyle>
          <a:p>
            <a:fld id="{5E0C3BBE-9543-48E5-A6E1-C646F9A01966}" type="slidenum">
              <a:rPr lang="en-ID" smtClean="0"/>
              <a:pPr/>
              <a:t>‹#›</a:t>
            </a:fld>
            <a:endParaRPr lang="en-ID" dirty="0"/>
          </a:p>
        </p:txBody>
      </p:sp>
      <p:cxnSp>
        <p:nvCxnSpPr>
          <p:cNvPr id="16" name="Straight Connector 15">
            <a:extLst>
              <a:ext uri="{FF2B5EF4-FFF2-40B4-BE49-F238E27FC236}">
                <a16:creationId xmlns:a16="http://schemas.microsoft.com/office/drawing/2014/main" id="{0657BBCF-CA9E-FB2C-CA76-82D2795FF965}"/>
              </a:ext>
            </a:extLst>
          </p:cNvPr>
          <p:cNvCxnSpPr>
            <a:cxnSpLocks/>
          </p:cNvCxnSpPr>
          <p:nvPr userDrawn="1"/>
        </p:nvCxnSpPr>
        <p:spPr>
          <a:xfrm>
            <a:off x="587375" y="844550"/>
            <a:ext cx="0" cy="133560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Footer Placeholder 4">
            <a:extLst>
              <a:ext uri="{FF2B5EF4-FFF2-40B4-BE49-F238E27FC236}">
                <a16:creationId xmlns:a16="http://schemas.microsoft.com/office/drawing/2014/main" id="{FC465D62-3382-034B-3BC4-9FA6DDBCBF3D}"/>
              </a:ext>
            </a:extLst>
          </p:cNvPr>
          <p:cNvSpPr>
            <a:spLocks noGrp="1"/>
          </p:cNvSpPr>
          <p:nvPr>
            <p:ph type="ftr" sz="quarter" idx="3"/>
          </p:nvPr>
        </p:nvSpPr>
        <p:spPr>
          <a:xfrm>
            <a:off x="584200" y="6364288"/>
            <a:ext cx="5511800" cy="365125"/>
          </a:xfrm>
          <a:prstGeom prst="rect">
            <a:avLst/>
          </a:prstGeom>
        </p:spPr>
        <p:txBody>
          <a:bodyPr vert="horz" lIns="91440" tIns="45720" rIns="91440" bIns="45720" rtlCol="0" anchor="ctr"/>
          <a:lstStyle>
            <a:lvl1pPr algn="l">
              <a:defRPr lang="en-GB" sz="1200">
                <a:solidFill>
                  <a:schemeClr val="tx1"/>
                </a:solidFill>
              </a:defRPr>
            </a:lvl1pPr>
          </a:lstStyle>
          <a:p>
            <a:r>
              <a:rPr lang="en-US"/>
              <a:t>PRESENTATION TITLE</a:t>
            </a:r>
            <a:endParaRPr lang="en-US" dirty="0"/>
          </a:p>
        </p:txBody>
      </p:sp>
    </p:spTree>
    <p:extLst>
      <p:ext uri="{BB962C8B-B14F-4D97-AF65-F5344CB8AC3E}">
        <p14:creationId xmlns:p14="http://schemas.microsoft.com/office/powerpoint/2010/main" val="1459153313"/>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 Text Box T20V6">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B4AC0811-B538-6793-87C0-3D6ED1AC6059}"/>
              </a:ext>
            </a:extLst>
          </p:cNvPr>
          <p:cNvGrpSpPr/>
          <p:nvPr userDrawn="1"/>
        </p:nvGrpSpPr>
        <p:grpSpPr>
          <a:xfrm rot="5400000">
            <a:off x="7629704" y="-1647525"/>
            <a:ext cx="2922586" cy="6217636"/>
            <a:chOff x="2224091" y="-1842482"/>
            <a:chExt cx="2922586" cy="6217636"/>
          </a:xfrm>
        </p:grpSpPr>
        <p:sp>
          <p:nvSpPr>
            <p:cNvPr id="5" name="Rectangle 4">
              <a:extLst>
                <a:ext uri="{FF2B5EF4-FFF2-40B4-BE49-F238E27FC236}">
                  <a16:creationId xmlns:a16="http://schemas.microsoft.com/office/drawing/2014/main" id="{49286371-865F-C37D-9350-2A89CD104834}"/>
                </a:ext>
              </a:extLst>
            </p:cNvPr>
            <p:cNvSpPr/>
            <p:nvPr userDrawn="1"/>
          </p:nvSpPr>
          <p:spPr>
            <a:xfrm>
              <a:off x="2224091" y="-1842482"/>
              <a:ext cx="2922582" cy="6217636"/>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8" name="Freeform: Shape 7">
              <a:extLst>
                <a:ext uri="{FF2B5EF4-FFF2-40B4-BE49-F238E27FC236}">
                  <a16:creationId xmlns:a16="http://schemas.microsoft.com/office/drawing/2014/main" id="{0C2FC66A-70C2-DBA2-3626-C933F4A5FF1E}"/>
                </a:ext>
              </a:extLst>
            </p:cNvPr>
            <p:cNvSpPr/>
            <p:nvPr userDrawn="1"/>
          </p:nvSpPr>
          <p:spPr>
            <a:xfrm rot="5400000">
              <a:off x="4191507" y="3419982"/>
              <a:ext cx="954001" cy="956339"/>
            </a:xfrm>
            <a:custGeom>
              <a:avLst/>
              <a:gdLst>
                <a:gd name="connsiteX0" fmla="*/ 0 w 954001"/>
                <a:gd name="connsiteY0" fmla="*/ 117476 h 956339"/>
                <a:gd name="connsiteX1" fmla="*/ 0 w 954001"/>
                <a:gd name="connsiteY1" fmla="*/ 0 h 956339"/>
                <a:gd name="connsiteX2" fmla="*/ 954001 w 954001"/>
                <a:gd name="connsiteY2" fmla="*/ 0 h 956339"/>
                <a:gd name="connsiteX3" fmla="*/ 954001 w 954001"/>
                <a:gd name="connsiteY3" fmla="*/ 117476 h 956339"/>
                <a:gd name="connsiteX4" fmla="*/ 954000 w 954001"/>
                <a:gd name="connsiteY4" fmla="*/ 117476 h 956339"/>
                <a:gd name="connsiteX5" fmla="*/ 954000 w 954001"/>
                <a:gd name="connsiteY5" fmla="*/ 956339 h 956339"/>
                <a:gd name="connsiteX6" fmla="*/ 836525 w 954001"/>
                <a:gd name="connsiteY6" fmla="*/ 956339 h 956339"/>
                <a:gd name="connsiteX7" fmla="*/ 836525 w 954001"/>
                <a:gd name="connsiteY7" fmla="*/ 117476 h 956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4001" h="956339">
                  <a:moveTo>
                    <a:pt x="0" y="117476"/>
                  </a:moveTo>
                  <a:lnTo>
                    <a:pt x="0" y="0"/>
                  </a:lnTo>
                  <a:lnTo>
                    <a:pt x="954001" y="0"/>
                  </a:lnTo>
                  <a:lnTo>
                    <a:pt x="954001" y="117476"/>
                  </a:lnTo>
                  <a:lnTo>
                    <a:pt x="954000" y="117476"/>
                  </a:lnTo>
                  <a:lnTo>
                    <a:pt x="954000" y="956339"/>
                  </a:lnTo>
                  <a:lnTo>
                    <a:pt x="836525" y="956339"/>
                  </a:lnTo>
                  <a:lnTo>
                    <a:pt x="836525" y="117476"/>
                  </a:ln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tx1"/>
                </a:solidFill>
              </a:endParaRPr>
            </a:p>
          </p:txBody>
        </p:sp>
      </p:grpSp>
      <p:sp>
        <p:nvSpPr>
          <p:cNvPr id="10" name="Rectangle 9">
            <a:extLst>
              <a:ext uri="{FF2B5EF4-FFF2-40B4-BE49-F238E27FC236}">
                <a16:creationId xmlns:a16="http://schemas.microsoft.com/office/drawing/2014/main" id="{FBD442C6-EECF-FD33-A672-5BDA5C831C7A}"/>
              </a:ext>
            </a:extLst>
          </p:cNvPr>
          <p:cNvSpPr/>
          <p:nvPr userDrawn="1"/>
        </p:nvSpPr>
        <p:spPr>
          <a:xfrm>
            <a:off x="0" y="-1"/>
            <a:ext cx="5086349" cy="565544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6" name="Text Placeholder 29">
            <a:extLst>
              <a:ext uri="{FF2B5EF4-FFF2-40B4-BE49-F238E27FC236}">
                <a16:creationId xmlns:a16="http://schemas.microsoft.com/office/drawing/2014/main" id="{F28F550A-A637-E065-107C-7C7A9E6C01FA}"/>
              </a:ext>
            </a:extLst>
          </p:cNvPr>
          <p:cNvSpPr>
            <a:spLocks noGrp="1"/>
          </p:cNvSpPr>
          <p:nvPr>
            <p:ph type="body" sz="quarter" idx="39"/>
          </p:nvPr>
        </p:nvSpPr>
        <p:spPr>
          <a:xfrm>
            <a:off x="309168" y="584200"/>
            <a:ext cx="4189807" cy="875618"/>
          </a:xfrm>
          <a:prstGeom prst="rect">
            <a:avLst/>
          </a:prstGeom>
        </p:spPr>
        <p:txBody>
          <a:bodyPr tIns="0" bIns="0" anchor="b">
            <a:noAutofit/>
          </a:bodyPr>
          <a:lstStyle>
            <a:lvl1pPr marL="0" indent="0">
              <a:buNone/>
              <a:defRPr sz="1800" b="1">
                <a:solidFill>
                  <a:srgbClr val="FFFFFF"/>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marL="0" marR="0" lvl="0" indent="0" algn="l" defTabSz="914446"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Click to edit Master text styles</a:t>
            </a:r>
            <a:endParaRPr lang="en-ID" dirty="0"/>
          </a:p>
        </p:txBody>
      </p:sp>
      <p:sp>
        <p:nvSpPr>
          <p:cNvPr id="7" name="Text Placeholder 29">
            <a:extLst>
              <a:ext uri="{FF2B5EF4-FFF2-40B4-BE49-F238E27FC236}">
                <a16:creationId xmlns:a16="http://schemas.microsoft.com/office/drawing/2014/main" id="{1BDAC654-D9AC-B935-534C-0FF7A6BB04C7}"/>
              </a:ext>
            </a:extLst>
          </p:cNvPr>
          <p:cNvSpPr>
            <a:spLocks noGrp="1"/>
          </p:cNvSpPr>
          <p:nvPr>
            <p:ph type="body" sz="quarter" idx="40"/>
          </p:nvPr>
        </p:nvSpPr>
        <p:spPr>
          <a:xfrm>
            <a:off x="309168" y="1531814"/>
            <a:ext cx="4189807" cy="2788441"/>
          </a:xfrm>
          <a:prstGeom prst="rect">
            <a:avLst/>
          </a:prstGeom>
        </p:spPr>
        <p:txBody>
          <a:bodyPr tIns="0" bIns="0">
            <a:noAutofit/>
          </a:bodyPr>
          <a:lstStyle>
            <a:lvl1pPr marL="0" indent="0">
              <a:buNone/>
              <a:defRPr sz="1600" b="0">
                <a:solidFill>
                  <a:srgbClr val="FFFFFF"/>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11" name="Slide Number Placeholder 5">
            <a:extLst>
              <a:ext uri="{FF2B5EF4-FFF2-40B4-BE49-F238E27FC236}">
                <a16:creationId xmlns:a16="http://schemas.microsoft.com/office/drawing/2014/main" id="{752E3F75-A181-1CEF-4892-A00A828F0DEC}"/>
              </a:ext>
            </a:extLst>
          </p:cNvPr>
          <p:cNvSpPr>
            <a:spLocks noGrp="1"/>
          </p:cNvSpPr>
          <p:nvPr>
            <p:ph type="sldNum" sz="quarter" idx="4"/>
          </p:nvPr>
        </p:nvSpPr>
        <p:spPr>
          <a:xfrm>
            <a:off x="11058525" y="6409951"/>
            <a:ext cx="546100" cy="273799"/>
          </a:xfrm>
          <a:prstGeom prst="rect">
            <a:avLst/>
          </a:prstGeom>
        </p:spPr>
        <p:txBody>
          <a:bodyPr vert="horz" lIns="91440" tIns="45720" rIns="91440" bIns="45720" rtlCol="0" anchor="b"/>
          <a:lstStyle>
            <a:lvl1pPr algn="r">
              <a:defRPr sz="1200">
                <a:solidFill>
                  <a:schemeClr val="tx1"/>
                </a:solidFill>
                <a:latin typeface="+mn-lt"/>
              </a:defRPr>
            </a:lvl1pPr>
          </a:lstStyle>
          <a:p>
            <a:fld id="{5E0C3BBE-9543-48E5-A6E1-C646F9A01966}" type="slidenum">
              <a:rPr lang="en-ID" smtClean="0"/>
              <a:pPr/>
              <a:t>‹#›</a:t>
            </a:fld>
            <a:endParaRPr lang="en-ID" dirty="0"/>
          </a:p>
        </p:txBody>
      </p:sp>
      <p:sp>
        <p:nvSpPr>
          <p:cNvPr id="21" name="Footer Placeholder 4">
            <a:extLst>
              <a:ext uri="{FF2B5EF4-FFF2-40B4-BE49-F238E27FC236}">
                <a16:creationId xmlns:a16="http://schemas.microsoft.com/office/drawing/2014/main" id="{FC465D62-3382-034B-3BC4-9FA6DDBCBF3D}"/>
              </a:ext>
            </a:extLst>
          </p:cNvPr>
          <p:cNvSpPr>
            <a:spLocks noGrp="1"/>
          </p:cNvSpPr>
          <p:nvPr>
            <p:ph type="ftr" sz="quarter" idx="3"/>
          </p:nvPr>
        </p:nvSpPr>
        <p:spPr>
          <a:xfrm>
            <a:off x="584200" y="6364288"/>
            <a:ext cx="5511800" cy="365125"/>
          </a:xfrm>
          <a:prstGeom prst="rect">
            <a:avLst/>
          </a:prstGeom>
        </p:spPr>
        <p:txBody>
          <a:bodyPr vert="horz" lIns="91440" tIns="45720" rIns="91440" bIns="45720" rtlCol="0" anchor="ctr"/>
          <a:lstStyle>
            <a:lvl1pPr algn="l">
              <a:defRPr lang="en-GB" sz="1200">
                <a:solidFill>
                  <a:schemeClr val="tx1"/>
                </a:solidFill>
              </a:defRPr>
            </a:lvl1pPr>
          </a:lstStyle>
          <a:p>
            <a:r>
              <a:rPr lang="en-US"/>
              <a:t>PRESENTATION TITLE</a:t>
            </a:r>
            <a:endParaRPr lang="en-US" dirty="0"/>
          </a:p>
        </p:txBody>
      </p:sp>
      <p:sp>
        <p:nvSpPr>
          <p:cNvPr id="3" name="Title 1">
            <a:extLst>
              <a:ext uri="{FF2B5EF4-FFF2-40B4-BE49-F238E27FC236}">
                <a16:creationId xmlns:a16="http://schemas.microsoft.com/office/drawing/2014/main" id="{1036477C-8D55-B4B8-85DD-DAF85A20D8C5}"/>
              </a:ext>
            </a:extLst>
          </p:cNvPr>
          <p:cNvSpPr>
            <a:spLocks noGrp="1"/>
          </p:cNvSpPr>
          <p:nvPr>
            <p:ph type="title"/>
          </p:nvPr>
        </p:nvSpPr>
        <p:spPr>
          <a:xfrm>
            <a:off x="6240068" y="4320670"/>
            <a:ext cx="5364557" cy="1334770"/>
          </a:xfrm>
        </p:spPr>
        <p:txBody>
          <a:bodyPr anchor="t">
            <a:noAutofit/>
          </a:bodyPr>
          <a:lstStyle>
            <a:lvl1pPr>
              <a:defRPr>
                <a:solidFill>
                  <a:schemeClr val="tx1"/>
                </a:solidFill>
              </a:defRPr>
            </a:lvl1pPr>
          </a:lstStyle>
          <a:p>
            <a:r>
              <a:rPr lang="en-US" dirty="0"/>
              <a:t>Click to edit Master title style</a:t>
            </a:r>
            <a:endParaRPr lang="en-ID" dirty="0"/>
          </a:p>
        </p:txBody>
      </p:sp>
      <p:cxnSp>
        <p:nvCxnSpPr>
          <p:cNvPr id="4" name="Straight Connector 3">
            <a:extLst>
              <a:ext uri="{FF2B5EF4-FFF2-40B4-BE49-F238E27FC236}">
                <a16:creationId xmlns:a16="http://schemas.microsoft.com/office/drawing/2014/main" id="{0657BBCF-CA9E-FB2C-CA76-82D2795FF965}"/>
              </a:ext>
            </a:extLst>
          </p:cNvPr>
          <p:cNvCxnSpPr>
            <a:cxnSpLocks/>
          </p:cNvCxnSpPr>
          <p:nvPr userDrawn="1"/>
        </p:nvCxnSpPr>
        <p:spPr>
          <a:xfrm>
            <a:off x="6096000" y="4320255"/>
            <a:ext cx="0" cy="133560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Picture Placeholder 11">
            <a:extLst>
              <a:ext uri="{FF2B5EF4-FFF2-40B4-BE49-F238E27FC236}">
                <a16:creationId xmlns:a16="http://schemas.microsoft.com/office/drawing/2014/main" id="{62F44640-A9EB-C412-36D2-BCAA7BA09086}"/>
              </a:ext>
            </a:extLst>
          </p:cNvPr>
          <p:cNvSpPr>
            <a:spLocks noGrp="1"/>
          </p:cNvSpPr>
          <p:nvPr>
            <p:ph type="pic" sz="quarter" idx="10"/>
          </p:nvPr>
        </p:nvSpPr>
        <p:spPr>
          <a:xfrm>
            <a:off x="6096000" y="0"/>
            <a:ext cx="6096000" cy="2806699"/>
          </a:xfrm>
          <a:prstGeom prst="rect">
            <a:avLst/>
          </a:prstGeom>
          <a:solidFill>
            <a:schemeClr val="accent2">
              <a:lumMod val="20000"/>
              <a:lumOff val="80000"/>
            </a:schemeClr>
          </a:solidFill>
        </p:spPr>
        <p:txBody>
          <a:bodyPr anchor="ctr">
            <a:normAutofit/>
          </a:bodyPr>
          <a:lstStyle>
            <a:lvl1pPr marL="0" indent="0" algn="ctr">
              <a:buNone/>
              <a:defRPr sz="1333">
                <a:solidFill>
                  <a:schemeClr val="tx1"/>
                </a:solidFill>
              </a:defRPr>
            </a:lvl1pPr>
          </a:lstStyle>
          <a:p>
            <a:endParaRPr lang="en-ID"/>
          </a:p>
        </p:txBody>
      </p:sp>
    </p:spTree>
    <p:extLst>
      <p:ext uri="{BB962C8B-B14F-4D97-AF65-F5344CB8AC3E}">
        <p14:creationId xmlns:p14="http://schemas.microsoft.com/office/powerpoint/2010/main" val="2285404791"/>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Text Boxes T21V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EE13754-AAF2-AD15-CFAE-7AA7F2563720}"/>
              </a:ext>
            </a:extLst>
          </p:cNvPr>
          <p:cNvSpPr/>
          <p:nvPr userDrawn="1"/>
        </p:nvSpPr>
        <p:spPr>
          <a:xfrm>
            <a:off x="-2378" y="-4761"/>
            <a:ext cx="5146674" cy="437515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1" name="Slide Number Placeholder 5">
            <a:extLst>
              <a:ext uri="{FF2B5EF4-FFF2-40B4-BE49-F238E27FC236}">
                <a16:creationId xmlns:a16="http://schemas.microsoft.com/office/drawing/2014/main" id="{752E3F75-A181-1CEF-4892-A00A828F0DEC}"/>
              </a:ext>
            </a:extLst>
          </p:cNvPr>
          <p:cNvSpPr>
            <a:spLocks noGrp="1"/>
          </p:cNvSpPr>
          <p:nvPr>
            <p:ph type="sldNum" sz="quarter" idx="4"/>
          </p:nvPr>
        </p:nvSpPr>
        <p:spPr>
          <a:xfrm>
            <a:off x="11058525" y="6409951"/>
            <a:ext cx="546100" cy="273799"/>
          </a:xfrm>
          <a:prstGeom prst="rect">
            <a:avLst/>
          </a:prstGeom>
        </p:spPr>
        <p:txBody>
          <a:bodyPr vert="horz" lIns="91440" tIns="45720" rIns="91440" bIns="45720" rtlCol="0" anchor="b"/>
          <a:lstStyle>
            <a:lvl1pPr algn="r">
              <a:defRPr sz="1200">
                <a:solidFill>
                  <a:schemeClr val="tx1"/>
                </a:solidFill>
                <a:latin typeface="+mn-lt"/>
              </a:defRPr>
            </a:lvl1pPr>
          </a:lstStyle>
          <a:p>
            <a:fld id="{5E0C3BBE-9543-48E5-A6E1-C646F9A01966}" type="slidenum">
              <a:rPr lang="en-ID" smtClean="0"/>
              <a:pPr/>
              <a:t>‹#›</a:t>
            </a:fld>
            <a:endParaRPr lang="en-ID" dirty="0"/>
          </a:p>
        </p:txBody>
      </p:sp>
      <p:sp>
        <p:nvSpPr>
          <p:cNvPr id="15" name="Picture Placeholder 11">
            <a:extLst>
              <a:ext uri="{FF2B5EF4-FFF2-40B4-BE49-F238E27FC236}">
                <a16:creationId xmlns:a16="http://schemas.microsoft.com/office/drawing/2014/main" id="{62F44640-A9EB-C412-36D2-BCAA7BA09086}"/>
              </a:ext>
            </a:extLst>
          </p:cNvPr>
          <p:cNvSpPr>
            <a:spLocks noGrp="1"/>
          </p:cNvSpPr>
          <p:nvPr>
            <p:ph type="pic" sz="quarter" idx="10"/>
          </p:nvPr>
        </p:nvSpPr>
        <p:spPr>
          <a:xfrm>
            <a:off x="1" y="0"/>
            <a:ext cx="5021579" cy="4251521"/>
          </a:xfrm>
          <a:prstGeom prst="rect">
            <a:avLst/>
          </a:prstGeom>
          <a:solidFill>
            <a:schemeClr val="accent2">
              <a:lumMod val="20000"/>
              <a:lumOff val="80000"/>
            </a:schemeClr>
          </a:solidFill>
        </p:spPr>
        <p:txBody>
          <a:bodyPr anchor="ctr">
            <a:normAutofit/>
          </a:bodyPr>
          <a:lstStyle>
            <a:lvl1pPr marL="0" indent="0" algn="ctr">
              <a:buNone/>
              <a:defRPr sz="1333">
                <a:solidFill>
                  <a:schemeClr val="tx1"/>
                </a:solidFill>
              </a:defRPr>
            </a:lvl1pPr>
          </a:lstStyle>
          <a:p>
            <a:endParaRPr lang="en-ID"/>
          </a:p>
        </p:txBody>
      </p:sp>
      <p:sp>
        <p:nvSpPr>
          <p:cNvPr id="21" name="Footer Placeholder 4">
            <a:extLst>
              <a:ext uri="{FF2B5EF4-FFF2-40B4-BE49-F238E27FC236}">
                <a16:creationId xmlns:a16="http://schemas.microsoft.com/office/drawing/2014/main" id="{FC465D62-3382-034B-3BC4-9FA6DDBCBF3D}"/>
              </a:ext>
            </a:extLst>
          </p:cNvPr>
          <p:cNvSpPr>
            <a:spLocks noGrp="1"/>
          </p:cNvSpPr>
          <p:nvPr>
            <p:ph type="ftr" sz="quarter" idx="3"/>
          </p:nvPr>
        </p:nvSpPr>
        <p:spPr>
          <a:xfrm>
            <a:off x="584200" y="6364288"/>
            <a:ext cx="5511800" cy="365125"/>
          </a:xfrm>
          <a:prstGeom prst="rect">
            <a:avLst/>
          </a:prstGeom>
        </p:spPr>
        <p:txBody>
          <a:bodyPr vert="horz" lIns="91440" tIns="45720" rIns="91440" bIns="45720" rtlCol="0" anchor="ctr"/>
          <a:lstStyle>
            <a:lvl1pPr algn="l">
              <a:defRPr lang="en-GB" sz="1200">
                <a:solidFill>
                  <a:schemeClr val="tx1"/>
                </a:solidFill>
              </a:defRPr>
            </a:lvl1pPr>
          </a:lstStyle>
          <a:p>
            <a:r>
              <a:rPr lang="en-US"/>
              <a:t>PRESENTATION TITLE</a:t>
            </a:r>
            <a:endParaRPr lang="en-US" dirty="0"/>
          </a:p>
        </p:txBody>
      </p:sp>
      <p:sp>
        <p:nvSpPr>
          <p:cNvPr id="3" name="Text Placeholder 29">
            <a:extLst>
              <a:ext uri="{FF2B5EF4-FFF2-40B4-BE49-F238E27FC236}">
                <a16:creationId xmlns:a16="http://schemas.microsoft.com/office/drawing/2014/main" id="{F28F550A-A637-E065-107C-7C7A9E6C01FA}"/>
              </a:ext>
            </a:extLst>
          </p:cNvPr>
          <p:cNvSpPr>
            <a:spLocks noGrp="1"/>
          </p:cNvSpPr>
          <p:nvPr>
            <p:ph type="body" sz="quarter" idx="39"/>
          </p:nvPr>
        </p:nvSpPr>
        <p:spPr>
          <a:xfrm>
            <a:off x="6240067" y="2812098"/>
            <a:ext cx="5364558" cy="324500"/>
          </a:xfrm>
          <a:prstGeom prst="rect">
            <a:avLst/>
          </a:prstGeom>
        </p:spPr>
        <p:txBody>
          <a:bodyPr tIns="0" bIns="0" anchor="ctr">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4" name="Text Placeholder 29">
            <a:extLst>
              <a:ext uri="{FF2B5EF4-FFF2-40B4-BE49-F238E27FC236}">
                <a16:creationId xmlns:a16="http://schemas.microsoft.com/office/drawing/2014/main" id="{1BDAC654-D9AC-B935-534C-0FF7A6BB04C7}"/>
              </a:ext>
            </a:extLst>
          </p:cNvPr>
          <p:cNvSpPr>
            <a:spLocks noGrp="1"/>
          </p:cNvSpPr>
          <p:nvPr>
            <p:ph type="body" sz="quarter" idx="40"/>
          </p:nvPr>
        </p:nvSpPr>
        <p:spPr>
          <a:xfrm>
            <a:off x="6240067" y="3208595"/>
            <a:ext cx="5364558" cy="1042926"/>
          </a:xfrm>
          <a:prstGeom prst="rect">
            <a:avLst/>
          </a:prstGeom>
        </p:spPr>
        <p:txBody>
          <a:bodyPr tIns="0" bIns="0">
            <a:noAutofit/>
          </a:bodyPr>
          <a:lstStyle>
            <a:lvl1pPr marL="0" indent="0">
              <a:buNone/>
              <a:defRPr sz="16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5" name="Title 1">
            <a:extLst>
              <a:ext uri="{FF2B5EF4-FFF2-40B4-BE49-F238E27FC236}">
                <a16:creationId xmlns:a16="http://schemas.microsoft.com/office/drawing/2014/main" id="{1036477C-8D55-B4B8-85DD-DAF85A20D8C5}"/>
              </a:ext>
            </a:extLst>
          </p:cNvPr>
          <p:cNvSpPr>
            <a:spLocks noGrp="1"/>
          </p:cNvSpPr>
          <p:nvPr>
            <p:ph type="title"/>
          </p:nvPr>
        </p:nvSpPr>
        <p:spPr>
          <a:xfrm>
            <a:off x="6240067" y="584200"/>
            <a:ext cx="5364557" cy="1833660"/>
          </a:xfrm>
        </p:spPr>
        <p:txBody>
          <a:bodyPr anchor="b">
            <a:noAutofit/>
          </a:bodyPr>
          <a:lstStyle>
            <a:lvl1pPr>
              <a:defRPr>
                <a:solidFill>
                  <a:schemeClr val="tx1"/>
                </a:solidFill>
              </a:defRPr>
            </a:lvl1pPr>
          </a:lstStyle>
          <a:p>
            <a:r>
              <a:rPr lang="en-US" dirty="0"/>
              <a:t>Click to edit Master title style</a:t>
            </a:r>
            <a:endParaRPr lang="en-ID" dirty="0"/>
          </a:p>
        </p:txBody>
      </p:sp>
      <p:cxnSp>
        <p:nvCxnSpPr>
          <p:cNvPr id="8" name="Straight Connector 7">
            <a:extLst>
              <a:ext uri="{FF2B5EF4-FFF2-40B4-BE49-F238E27FC236}">
                <a16:creationId xmlns:a16="http://schemas.microsoft.com/office/drawing/2014/main" id="{0657BBCF-CA9E-FB2C-CA76-82D2795FF965}"/>
              </a:ext>
            </a:extLst>
          </p:cNvPr>
          <p:cNvCxnSpPr>
            <a:cxnSpLocks/>
          </p:cNvCxnSpPr>
          <p:nvPr userDrawn="1"/>
        </p:nvCxnSpPr>
        <p:spPr>
          <a:xfrm>
            <a:off x="6095999" y="584200"/>
            <a:ext cx="0" cy="183366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Freeform: Shape 18">
            <a:extLst>
              <a:ext uri="{FF2B5EF4-FFF2-40B4-BE49-F238E27FC236}">
                <a16:creationId xmlns:a16="http://schemas.microsoft.com/office/drawing/2014/main" id="{62D270A3-A429-F424-E73F-8C35CF7A6C40}"/>
              </a:ext>
            </a:extLst>
          </p:cNvPr>
          <p:cNvSpPr/>
          <p:nvPr userDrawn="1"/>
        </p:nvSpPr>
        <p:spPr>
          <a:xfrm rot="5400000">
            <a:off x="4189126" y="3415220"/>
            <a:ext cx="954001" cy="956339"/>
          </a:xfrm>
          <a:custGeom>
            <a:avLst/>
            <a:gdLst>
              <a:gd name="connsiteX0" fmla="*/ 0 w 954001"/>
              <a:gd name="connsiteY0" fmla="*/ 117476 h 956339"/>
              <a:gd name="connsiteX1" fmla="*/ 0 w 954001"/>
              <a:gd name="connsiteY1" fmla="*/ 0 h 956339"/>
              <a:gd name="connsiteX2" fmla="*/ 954001 w 954001"/>
              <a:gd name="connsiteY2" fmla="*/ 0 h 956339"/>
              <a:gd name="connsiteX3" fmla="*/ 954001 w 954001"/>
              <a:gd name="connsiteY3" fmla="*/ 117476 h 956339"/>
              <a:gd name="connsiteX4" fmla="*/ 954000 w 954001"/>
              <a:gd name="connsiteY4" fmla="*/ 117476 h 956339"/>
              <a:gd name="connsiteX5" fmla="*/ 954000 w 954001"/>
              <a:gd name="connsiteY5" fmla="*/ 956339 h 956339"/>
              <a:gd name="connsiteX6" fmla="*/ 836525 w 954001"/>
              <a:gd name="connsiteY6" fmla="*/ 956339 h 956339"/>
              <a:gd name="connsiteX7" fmla="*/ 836525 w 954001"/>
              <a:gd name="connsiteY7" fmla="*/ 117476 h 956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4001" h="956339">
                <a:moveTo>
                  <a:pt x="0" y="117476"/>
                </a:moveTo>
                <a:lnTo>
                  <a:pt x="0" y="0"/>
                </a:lnTo>
                <a:lnTo>
                  <a:pt x="954001" y="0"/>
                </a:lnTo>
                <a:lnTo>
                  <a:pt x="954001" y="117476"/>
                </a:lnTo>
                <a:lnTo>
                  <a:pt x="954000" y="117476"/>
                </a:lnTo>
                <a:lnTo>
                  <a:pt x="954000" y="956339"/>
                </a:lnTo>
                <a:lnTo>
                  <a:pt x="836525" y="956339"/>
                </a:lnTo>
                <a:lnTo>
                  <a:pt x="836525" y="117476"/>
                </a:ln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tx1"/>
              </a:solidFill>
            </a:endParaRPr>
          </a:p>
        </p:txBody>
      </p:sp>
      <p:sp>
        <p:nvSpPr>
          <p:cNvPr id="20" name="Text Placeholder 29">
            <a:extLst>
              <a:ext uri="{FF2B5EF4-FFF2-40B4-BE49-F238E27FC236}">
                <a16:creationId xmlns:a16="http://schemas.microsoft.com/office/drawing/2014/main" id="{7420A28C-E135-C56E-F79F-F283CD6B60DF}"/>
              </a:ext>
            </a:extLst>
          </p:cNvPr>
          <p:cNvSpPr>
            <a:spLocks noGrp="1"/>
          </p:cNvSpPr>
          <p:nvPr>
            <p:ph type="body" sz="quarter" idx="41"/>
          </p:nvPr>
        </p:nvSpPr>
        <p:spPr>
          <a:xfrm>
            <a:off x="594188" y="4528281"/>
            <a:ext cx="11010435" cy="324500"/>
          </a:xfrm>
          <a:prstGeom prst="rect">
            <a:avLst/>
          </a:prstGeom>
        </p:spPr>
        <p:txBody>
          <a:bodyPr tIns="0" bIns="0" anchor="ctr">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22" name="Text Placeholder 29">
            <a:extLst>
              <a:ext uri="{FF2B5EF4-FFF2-40B4-BE49-F238E27FC236}">
                <a16:creationId xmlns:a16="http://schemas.microsoft.com/office/drawing/2014/main" id="{2AC36E79-BCA0-C596-D321-2B6E38193C55}"/>
              </a:ext>
            </a:extLst>
          </p:cNvPr>
          <p:cNvSpPr>
            <a:spLocks noGrp="1"/>
          </p:cNvSpPr>
          <p:nvPr>
            <p:ph type="body" sz="quarter" idx="42"/>
          </p:nvPr>
        </p:nvSpPr>
        <p:spPr>
          <a:xfrm>
            <a:off x="594188" y="4924777"/>
            <a:ext cx="11010435" cy="1166557"/>
          </a:xfrm>
          <a:prstGeom prst="rect">
            <a:avLst/>
          </a:prstGeom>
        </p:spPr>
        <p:txBody>
          <a:bodyPr tIns="0" bIns="0">
            <a:noAutofit/>
          </a:bodyPr>
          <a:lstStyle>
            <a:lvl1pPr marL="0" indent="0">
              <a:buNone/>
              <a:defRPr sz="16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Tree>
    <p:extLst>
      <p:ext uri="{BB962C8B-B14F-4D97-AF65-F5344CB8AC3E}">
        <p14:creationId xmlns:p14="http://schemas.microsoft.com/office/powerpoint/2010/main" val="1774813262"/>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Text Boxes T21V2">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752E3F75-A181-1CEF-4892-A00A828F0DEC}"/>
              </a:ext>
            </a:extLst>
          </p:cNvPr>
          <p:cNvSpPr>
            <a:spLocks noGrp="1"/>
          </p:cNvSpPr>
          <p:nvPr>
            <p:ph type="sldNum" sz="quarter" idx="4"/>
          </p:nvPr>
        </p:nvSpPr>
        <p:spPr>
          <a:xfrm>
            <a:off x="11058525" y="6409951"/>
            <a:ext cx="546100" cy="273799"/>
          </a:xfrm>
          <a:prstGeom prst="rect">
            <a:avLst/>
          </a:prstGeom>
        </p:spPr>
        <p:txBody>
          <a:bodyPr vert="horz" lIns="91440" tIns="45720" rIns="91440" bIns="45720" rtlCol="0" anchor="b"/>
          <a:lstStyle>
            <a:lvl1pPr algn="r">
              <a:defRPr sz="1200">
                <a:solidFill>
                  <a:schemeClr val="tx1"/>
                </a:solidFill>
                <a:latin typeface="+mn-lt"/>
              </a:defRPr>
            </a:lvl1pPr>
          </a:lstStyle>
          <a:p>
            <a:fld id="{5E0C3BBE-9543-48E5-A6E1-C646F9A01966}" type="slidenum">
              <a:rPr lang="en-ID" smtClean="0"/>
              <a:pPr/>
              <a:t>‹#›</a:t>
            </a:fld>
            <a:endParaRPr lang="en-ID" dirty="0"/>
          </a:p>
        </p:txBody>
      </p:sp>
      <p:sp>
        <p:nvSpPr>
          <p:cNvPr id="21" name="Footer Placeholder 4">
            <a:extLst>
              <a:ext uri="{FF2B5EF4-FFF2-40B4-BE49-F238E27FC236}">
                <a16:creationId xmlns:a16="http://schemas.microsoft.com/office/drawing/2014/main" id="{FC465D62-3382-034B-3BC4-9FA6DDBCBF3D}"/>
              </a:ext>
            </a:extLst>
          </p:cNvPr>
          <p:cNvSpPr>
            <a:spLocks noGrp="1"/>
          </p:cNvSpPr>
          <p:nvPr>
            <p:ph type="ftr" sz="quarter" idx="3"/>
          </p:nvPr>
        </p:nvSpPr>
        <p:spPr>
          <a:xfrm>
            <a:off x="584200" y="6364288"/>
            <a:ext cx="5511800" cy="365125"/>
          </a:xfrm>
          <a:prstGeom prst="rect">
            <a:avLst/>
          </a:prstGeom>
        </p:spPr>
        <p:txBody>
          <a:bodyPr vert="horz" lIns="91440" tIns="45720" rIns="91440" bIns="45720" rtlCol="0" anchor="ctr"/>
          <a:lstStyle>
            <a:lvl1pPr algn="l">
              <a:defRPr lang="en-GB" sz="1200">
                <a:solidFill>
                  <a:schemeClr val="tx1"/>
                </a:solidFill>
              </a:defRPr>
            </a:lvl1pPr>
          </a:lstStyle>
          <a:p>
            <a:r>
              <a:rPr lang="en-US"/>
              <a:t>PRESENTATION TITLE</a:t>
            </a:r>
            <a:endParaRPr lang="en-US" dirty="0"/>
          </a:p>
        </p:txBody>
      </p:sp>
      <p:sp>
        <p:nvSpPr>
          <p:cNvPr id="5" name="Title 1">
            <a:extLst>
              <a:ext uri="{FF2B5EF4-FFF2-40B4-BE49-F238E27FC236}">
                <a16:creationId xmlns:a16="http://schemas.microsoft.com/office/drawing/2014/main" id="{1036477C-8D55-B4B8-85DD-DAF85A20D8C5}"/>
              </a:ext>
            </a:extLst>
          </p:cNvPr>
          <p:cNvSpPr>
            <a:spLocks noGrp="1"/>
          </p:cNvSpPr>
          <p:nvPr>
            <p:ph type="title"/>
          </p:nvPr>
        </p:nvSpPr>
        <p:spPr>
          <a:xfrm>
            <a:off x="731444" y="1485900"/>
            <a:ext cx="4354906" cy="3886200"/>
          </a:xfrm>
        </p:spPr>
        <p:txBody>
          <a:bodyPr anchor="ctr">
            <a:noAutofit/>
          </a:bodyPr>
          <a:lstStyle>
            <a:lvl1pPr>
              <a:defRPr>
                <a:solidFill>
                  <a:schemeClr val="tx1"/>
                </a:solidFill>
              </a:defRPr>
            </a:lvl1pPr>
          </a:lstStyle>
          <a:p>
            <a:r>
              <a:rPr lang="en-US" dirty="0"/>
              <a:t>Click to edit Master title style</a:t>
            </a:r>
            <a:endParaRPr lang="en-ID" dirty="0"/>
          </a:p>
        </p:txBody>
      </p:sp>
      <p:cxnSp>
        <p:nvCxnSpPr>
          <p:cNvPr id="8" name="Straight Connector 7">
            <a:extLst>
              <a:ext uri="{FF2B5EF4-FFF2-40B4-BE49-F238E27FC236}">
                <a16:creationId xmlns:a16="http://schemas.microsoft.com/office/drawing/2014/main" id="{0657BBCF-CA9E-FB2C-CA76-82D2795FF965}"/>
              </a:ext>
            </a:extLst>
          </p:cNvPr>
          <p:cNvCxnSpPr>
            <a:cxnSpLocks/>
          </p:cNvCxnSpPr>
          <p:nvPr userDrawn="1"/>
        </p:nvCxnSpPr>
        <p:spPr>
          <a:xfrm>
            <a:off x="587375" y="2512170"/>
            <a:ext cx="0" cy="183366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ext Placeholder 29">
            <a:extLst>
              <a:ext uri="{FF2B5EF4-FFF2-40B4-BE49-F238E27FC236}">
                <a16:creationId xmlns:a16="http://schemas.microsoft.com/office/drawing/2014/main" id="{7127DC28-28A8-3A98-B7FB-41B0888536BE}"/>
              </a:ext>
            </a:extLst>
          </p:cNvPr>
          <p:cNvSpPr>
            <a:spLocks noGrp="1"/>
          </p:cNvSpPr>
          <p:nvPr>
            <p:ph type="body" sz="quarter" idx="39"/>
          </p:nvPr>
        </p:nvSpPr>
        <p:spPr>
          <a:xfrm>
            <a:off x="6095999" y="818485"/>
            <a:ext cx="5508625" cy="610408"/>
          </a:xfrm>
          <a:prstGeom prst="rect">
            <a:avLst/>
          </a:prstGeom>
        </p:spPr>
        <p:txBody>
          <a:bodyPr tIns="0" bIns="0" anchor="b">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9" name="Text Placeholder 29">
            <a:extLst>
              <a:ext uri="{FF2B5EF4-FFF2-40B4-BE49-F238E27FC236}">
                <a16:creationId xmlns:a16="http://schemas.microsoft.com/office/drawing/2014/main" id="{8C38966B-9C0F-01D5-79F5-8D32825F662C}"/>
              </a:ext>
            </a:extLst>
          </p:cNvPr>
          <p:cNvSpPr>
            <a:spLocks noGrp="1"/>
          </p:cNvSpPr>
          <p:nvPr>
            <p:ph type="body" sz="quarter" idx="40"/>
          </p:nvPr>
        </p:nvSpPr>
        <p:spPr>
          <a:xfrm>
            <a:off x="6095999" y="1500890"/>
            <a:ext cx="5508625" cy="1679796"/>
          </a:xfrm>
          <a:prstGeom prst="rect">
            <a:avLst/>
          </a:prstGeom>
        </p:spPr>
        <p:txBody>
          <a:bodyPr tIns="0" bIns="0">
            <a:noAutofit/>
          </a:bodyPr>
          <a:lstStyle>
            <a:lvl1pPr marL="0" indent="0">
              <a:buNone/>
              <a:defRPr sz="16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12" name="Text Placeholder 29">
            <a:extLst>
              <a:ext uri="{FF2B5EF4-FFF2-40B4-BE49-F238E27FC236}">
                <a16:creationId xmlns:a16="http://schemas.microsoft.com/office/drawing/2014/main" id="{10E6AACB-9199-C0B7-282D-52AE821B16C9}"/>
              </a:ext>
            </a:extLst>
          </p:cNvPr>
          <p:cNvSpPr>
            <a:spLocks noGrp="1"/>
          </p:cNvSpPr>
          <p:nvPr>
            <p:ph type="body" sz="quarter" idx="41"/>
          </p:nvPr>
        </p:nvSpPr>
        <p:spPr>
          <a:xfrm>
            <a:off x="6095999" y="3663285"/>
            <a:ext cx="5508625" cy="610408"/>
          </a:xfrm>
          <a:prstGeom prst="rect">
            <a:avLst/>
          </a:prstGeom>
        </p:spPr>
        <p:txBody>
          <a:bodyPr tIns="0" bIns="0" anchor="b">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13" name="Text Placeholder 29">
            <a:extLst>
              <a:ext uri="{FF2B5EF4-FFF2-40B4-BE49-F238E27FC236}">
                <a16:creationId xmlns:a16="http://schemas.microsoft.com/office/drawing/2014/main" id="{103CFF70-7DC7-B43D-57C7-3C6435517D60}"/>
              </a:ext>
            </a:extLst>
          </p:cNvPr>
          <p:cNvSpPr>
            <a:spLocks noGrp="1"/>
          </p:cNvSpPr>
          <p:nvPr>
            <p:ph type="body" sz="quarter" idx="42"/>
          </p:nvPr>
        </p:nvSpPr>
        <p:spPr>
          <a:xfrm>
            <a:off x="6095999" y="4345690"/>
            <a:ext cx="5508625" cy="1679796"/>
          </a:xfrm>
          <a:prstGeom prst="rect">
            <a:avLst/>
          </a:prstGeom>
        </p:spPr>
        <p:txBody>
          <a:bodyPr tIns="0" bIns="0">
            <a:noAutofit/>
          </a:bodyPr>
          <a:lstStyle>
            <a:lvl1pPr marL="0" indent="0">
              <a:buNone/>
              <a:defRPr sz="16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Tree>
    <p:extLst>
      <p:ext uri="{BB962C8B-B14F-4D97-AF65-F5344CB8AC3E}">
        <p14:creationId xmlns:p14="http://schemas.microsoft.com/office/powerpoint/2010/main" val="2535422851"/>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Text Boxes T22V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5AF6E62-3413-1570-07FF-4E66972B963F}"/>
              </a:ext>
            </a:extLst>
          </p:cNvPr>
          <p:cNvSpPr/>
          <p:nvPr userDrawn="1"/>
        </p:nvSpPr>
        <p:spPr>
          <a:xfrm>
            <a:off x="0" y="0"/>
            <a:ext cx="12191999" cy="286226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1" name="Slide Number Placeholder 5">
            <a:extLst>
              <a:ext uri="{FF2B5EF4-FFF2-40B4-BE49-F238E27FC236}">
                <a16:creationId xmlns:a16="http://schemas.microsoft.com/office/drawing/2014/main" id="{752E3F75-A181-1CEF-4892-A00A828F0DEC}"/>
              </a:ext>
            </a:extLst>
          </p:cNvPr>
          <p:cNvSpPr>
            <a:spLocks noGrp="1"/>
          </p:cNvSpPr>
          <p:nvPr>
            <p:ph type="sldNum" sz="quarter" idx="4"/>
          </p:nvPr>
        </p:nvSpPr>
        <p:spPr>
          <a:xfrm>
            <a:off x="11058525" y="6409951"/>
            <a:ext cx="546100" cy="273799"/>
          </a:xfrm>
          <a:prstGeom prst="rect">
            <a:avLst/>
          </a:prstGeom>
        </p:spPr>
        <p:txBody>
          <a:bodyPr vert="horz" lIns="91440" tIns="45720" rIns="91440" bIns="45720" rtlCol="0" anchor="b"/>
          <a:lstStyle>
            <a:lvl1pPr algn="r">
              <a:defRPr sz="1200">
                <a:solidFill>
                  <a:schemeClr val="tx1"/>
                </a:solidFill>
                <a:latin typeface="+mn-lt"/>
              </a:defRPr>
            </a:lvl1pPr>
          </a:lstStyle>
          <a:p>
            <a:fld id="{5E0C3BBE-9543-48E5-A6E1-C646F9A01966}" type="slidenum">
              <a:rPr lang="en-ID" smtClean="0"/>
              <a:pPr/>
              <a:t>‹#›</a:t>
            </a:fld>
            <a:endParaRPr lang="en-ID" dirty="0"/>
          </a:p>
        </p:txBody>
      </p:sp>
      <p:sp>
        <p:nvSpPr>
          <p:cNvPr id="21" name="Footer Placeholder 4">
            <a:extLst>
              <a:ext uri="{FF2B5EF4-FFF2-40B4-BE49-F238E27FC236}">
                <a16:creationId xmlns:a16="http://schemas.microsoft.com/office/drawing/2014/main" id="{FC465D62-3382-034B-3BC4-9FA6DDBCBF3D}"/>
              </a:ext>
            </a:extLst>
          </p:cNvPr>
          <p:cNvSpPr>
            <a:spLocks noGrp="1"/>
          </p:cNvSpPr>
          <p:nvPr>
            <p:ph type="ftr" sz="quarter" idx="3"/>
          </p:nvPr>
        </p:nvSpPr>
        <p:spPr>
          <a:xfrm>
            <a:off x="584200" y="6364288"/>
            <a:ext cx="5511800" cy="365125"/>
          </a:xfrm>
          <a:prstGeom prst="rect">
            <a:avLst/>
          </a:prstGeom>
        </p:spPr>
        <p:txBody>
          <a:bodyPr vert="horz" lIns="91440" tIns="45720" rIns="91440" bIns="45720" rtlCol="0" anchor="ctr"/>
          <a:lstStyle>
            <a:lvl1pPr algn="l">
              <a:defRPr lang="en-GB" sz="1200">
                <a:solidFill>
                  <a:schemeClr val="tx1"/>
                </a:solidFill>
              </a:defRPr>
            </a:lvl1pPr>
          </a:lstStyle>
          <a:p>
            <a:r>
              <a:rPr lang="en-US"/>
              <a:t>PRESENTATION TITLE</a:t>
            </a:r>
            <a:endParaRPr lang="en-US" dirty="0"/>
          </a:p>
        </p:txBody>
      </p:sp>
      <p:sp>
        <p:nvSpPr>
          <p:cNvPr id="5" name="Title 1">
            <a:extLst>
              <a:ext uri="{FF2B5EF4-FFF2-40B4-BE49-F238E27FC236}">
                <a16:creationId xmlns:a16="http://schemas.microsoft.com/office/drawing/2014/main" id="{1036477C-8D55-B4B8-85DD-DAF85A20D8C5}"/>
              </a:ext>
            </a:extLst>
          </p:cNvPr>
          <p:cNvSpPr>
            <a:spLocks noGrp="1"/>
          </p:cNvSpPr>
          <p:nvPr>
            <p:ph type="title"/>
          </p:nvPr>
        </p:nvSpPr>
        <p:spPr>
          <a:xfrm>
            <a:off x="731444" y="584200"/>
            <a:ext cx="10873180" cy="1833660"/>
          </a:xfrm>
        </p:spPr>
        <p:txBody>
          <a:bodyPr anchor="ctr">
            <a:noAutofit/>
          </a:bodyPr>
          <a:lstStyle>
            <a:lvl1pPr>
              <a:defRPr>
                <a:solidFill>
                  <a:srgbClr val="FFFFFF"/>
                </a:solidFill>
              </a:defRPr>
            </a:lvl1pPr>
          </a:lstStyle>
          <a:p>
            <a:r>
              <a:rPr lang="en-US" dirty="0"/>
              <a:t>Click to edit Master title style</a:t>
            </a:r>
            <a:endParaRPr lang="en-ID" dirty="0"/>
          </a:p>
        </p:txBody>
      </p:sp>
      <p:cxnSp>
        <p:nvCxnSpPr>
          <p:cNvPr id="8" name="Straight Connector 7">
            <a:extLst>
              <a:ext uri="{FF2B5EF4-FFF2-40B4-BE49-F238E27FC236}">
                <a16:creationId xmlns:a16="http://schemas.microsoft.com/office/drawing/2014/main" id="{0657BBCF-CA9E-FB2C-CA76-82D2795FF965}"/>
              </a:ext>
            </a:extLst>
          </p:cNvPr>
          <p:cNvCxnSpPr>
            <a:cxnSpLocks/>
          </p:cNvCxnSpPr>
          <p:nvPr userDrawn="1"/>
        </p:nvCxnSpPr>
        <p:spPr>
          <a:xfrm>
            <a:off x="587375" y="584200"/>
            <a:ext cx="0" cy="183366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7" name="Text Placeholder 29">
            <a:extLst>
              <a:ext uri="{FF2B5EF4-FFF2-40B4-BE49-F238E27FC236}">
                <a16:creationId xmlns:a16="http://schemas.microsoft.com/office/drawing/2014/main" id="{7127DC28-28A8-3A98-B7FB-41B0888536BE}"/>
              </a:ext>
            </a:extLst>
          </p:cNvPr>
          <p:cNvSpPr>
            <a:spLocks noGrp="1"/>
          </p:cNvSpPr>
          <p:nvPr>
            <p:ph type="body" sz="quarter" idx="39"/>
          </p:nvPr>
        </p:nvSpPr>
        <p:spPr>
          <a:xfrm>
            <a:off x="584200" y="3432175"/>
            <a:ext cx="3035925" cy="610408"/>
          </a:xfrm>
          <a:prstGeom prst="rect">
            <a:avLst/>
          </a:prstGeom>
        </p:spPr>
        <p:txBody>
          <a:bodyPr tIns="0" bIns="0" anchor="b">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9" name="Text Placeholder 29">
            <a:extLst>
              <a:ext uri="{FF2B5EF4-FFF2-40B4-BE49-F238E27FC236}">
                <a16:creationId xmlns:a16="http://schemas.microsoft.com/office/drawing/2014/main" id="{8C38966B-9C0F-01D5-79F5-8D32825F662C}"/>
              </a:ext>
            </a:extLst>
          </p:cNvPr>
          <p:cNvSpPr>
            <a:spLocks noGrp="1"/>
          </p:cNvSpPr>
          <p:nvPr>
            <p:ph type="body" sz="quarter" idx="40"/>
          </p:nvPr>
        </p:nvSpPr>
        <p:spPr>
          <a:xfrm>
            <a:off x="584200" y="4114580"/>
            <a:ext cx="3035925" cy="1679796"/>
          </a:xfrm>
          <a:prstGeom prst="rect">
            <a:avLst/>
          </a:prstGeom>
        </p:spPr>
        <p:txBody>
          <a:bodyPr tIns="0" bIns="0">
            <a:noAutofit/>
          </a:bodyPr>
          <a:lstStyle>
            <a:lvl1pPr marL="0" indent="0">
              <a:buNone/>
              <a:defRPr sz="16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6" name="Text Placeholder 29">
            <a:extLst>
              <a:ext uri="{FF2B5EF4-FFF2-40B4-BE49-F238E27FC236}">
                <a16:creationId xmlns:a16="http://schemas.microsoft.com/office/drawing/2014/main" id="{A80A793C-55DC-602B-758B-1FA03A818170}"/>
              </a:ext>
            </a:extLst>
          </p:cNvPr>
          <p:cNvSpPr>
            <a:spLocks noGrp="1"/>
          </p:cNvSpPr>
          <p:nvPr>
            <p:ph type="body" sz="quarter" idx="41"/>
          </p:nvPr>
        </p:nvSpPr>
        <p:spPr>
          <a:xfrm>
            <a:off x="4578037" y="3432175"/>
            <a:ext cx="3035925" cy="610408"/>
          </a:xfrm>
          <a:prstGeom prst="rect">
            <a:avLst/>
          </a:prstGeom>
        </p:spPr>
        <p:txBody>
          <a:bodyPr tIns="0" bIns="0" anchor="b">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10" name="Text Placeholder 29">
            <a:extLst>
              <a:ext uri="{FF2B5EF4-FFF2-40B4-BE49-F238E27FC236}">
                <a16:creationId xmlns:a16="http://schemas.microsoft.com/office/drawing/2014/main" id="{F448C94B-AA7A-7262-4B9F-836462086A78}"/>
              </a:ext>
            </a:extLst>
          </p:cNvPr>
          <p:cNvSpPr>
            <a:spLocks noGrp="1"/>
          </p:cNvSpPr>
          <p:nvPr>
            <p:ph type="body" sz="quarter" idx="42"/>
          </p:nvPr>
        </p:nvSpPr>
        <p:spPr>
          <a:xfrm>
            <a:off x="4578037" y="4114580"/>
            <a:ext cx="3035925" cy="1679796"/>
          </a:xfrm>
          <a:prstGeom prst="rect">
            <a:avLst/>
          </a:prstGeom>
        </p:spPr>
        <p:txBody>
          <a:bodyPr tIns="0" bIns="0">
            <a:noAutofit/>
          </a:bodyPr>
          <a:lstStyle>
            <a:lvl1pPr marL="0" indent="0">
              <a:buNone/>
              <a:defRPr sz="16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14" name="Text Placeholder 29">
            <a:extLst>
              <a:ext uri="{FF2B5EF4-FFF2-40B4-BE49-F238E27FC236}">
                <a16:creationId xmlns:a16="http://schemas.microsoft.com/office/drawing/2014/main" id="{8E844AFC-B10F-3963-60E2-0CBF59257982}"/>
              </a:ext>
            </a:extLst>
          </p:cNvPr>
          <p:cNvSpPr>
            <a:spLocks noGrp="1"/>
          </p:cNvSpPr>
          <p:nvPr>
            <p:ph type="body" sz="quarter" idx="43"/>
          </p:nvPr>
        </p:nvSpPr>
        <p:spPr>
          <a:xfrm>
            <a:off x="8571874" y="3432175"/>
            <a:ext cx="3035925" cy="610408"/>
          </a:xfrm>
          <a:prstGeom prst="rect">
            <a:avLst/>
          </a:prstGeom>
        </p:spPr>
        <p:txBody>
          <a:bodyPr tIns="0" bIns="0" anchor="b">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15" name="Text Placeholder 29">
            <a:extLst>
              <a:ext uri="{FF2B5EF4-FFF2-40B4-BE49-F238E27FC236}">
                <a16:creationId xmlns:a16="http://schemas.microsoft.com/office/drawing/2014/main" id="{290D6F4A-B1FF-50CB-37C9-67C24FF49AE0}"/>
              </a:ext>
            </a:extLst>
          </p:cNvPr>
          <p:cNvSpPr>
            <a:spLocks noGrp="1"/>
          </p:cNvSpPr>
          <p:nvPr>
            <p:ph type="body" sz="quarter" idx="44"/>
          </p:nvPr>
        </p:nvSpPr>
        <p:spPr>
          <a:xfrm>
            <a:off x="8571874" y="4114580"/>
            <a:ext cx="3035925" cy="1679796"/>
          </a:xfrm>
          <a:prstGeom prst="rect">
            <a:avLst/>
          </a:prstGeom>
        </p:spPr>
        <p:txBody>
          <a:bodyPr tIns="0" bIns="0">
            <a:noAutofit/>
          </a:bodyPr>
          <a:lstStyle>
            <a:lvl1pPr marL="0" indent="0">
              <a:buNone/>
              <a:defRPr sz="16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Tree>
    <p:extLst>
      <p:ext uri="{BB962C8B-B14F-4D97-AF65-F5344CB8AC3E}">
        <p14:creationId xmlns:p14="http://schemas.microsoft.com/office/powerpoint/2010/main" val="3999656802"/>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 Text Boxes T23V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5AF6E62-3413-1570-07FF-4E66972B963F}"/>
              </a:ext>
            </a:extLst>
          </p:cNvPr>
          <p:cNvSpPr/>
          <p:nvPr userDrawn="1"/>
        </p:nvSpPr>
        <p:spPr>
          <a:xfrm>
            <a:off x="0" y="1"/>
            <a:ext cx="12191999" cy="21336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1" name="Slide Number Placeholder 5">
            <a:extLst>
              <a:ext uri="{FF2B5EF4-FFF2-40B4-BE49-F238E27FC236}">
                <a16:creationId xmlns:a16="http://schemas.microsoft.com/office/drawing/2014/main" id="{752E3F75-A181-1CEF-4892-A00A828F0DEC}"/>
              </a:ext>
            </a:extLst>
          </p:cNvPr>
          <p:cNvSpPr>
            <a:spLocks noGrp="1"/>
          </p:cNvSpPr>
          <p:nvPr>
            <p:ph type="sldNum" sz="quarter" idx="4"/>
          </p:nvPr>
        </p:nvSpPr>
        <p:spPr>
          <a:xfrm>
            <a:off x="11058525" y="6409951"/>
            <a:ext cx="546100" cy="273799"/>
          </a:xfrm>
          <a:prstGeom prst="rect">
            <a:avLst/>
          </a:prstGeom>
        </p:spPr>
        <p:txBody>
          <a:bodyPr vert="horz" lIns="91440" tIns="45720" rIns="91440" bIns="45720" rtlCol="0" anchor="b"/>
          <a:lstStyle>
            <a:lvl1pPr algn="r">
              <a:defRPr sz="1200">
                <a:solidFill>
                  <a:schemeClr val="tx1"/>
                </a:solidFill>
                <a:latin typeface="+mn-lt"/>
              </a:defRPr>
            </a:lvl1pPr>
          </a:lstStyle>
          <a:p>
            <a:fld id="{5E0C3BBE-9543-48E5-A6E1-C646F9A01966}" type="slidenum">
              <a:rPr lang="en-ID" smtClean="0"/>
              <a:pPr/>
              <a:t>‹#›</a:t>
            </a:fld>
            <a:endParaRPr lang="en-ID" dirty="0"/>
          </a:p>
        </p:txBody>
      </p:sp>
      <p:sp>
        <p:nvSpPr>
          <p:cNvPr id="21" name="Footer Placeholder 4">
            <a:extLst>
              <a:ext uri="{FF2B5EF4-FFF2-40B4-BE49-F238E27FC236}">
                <a16:creationId xmlns:a16="http://schemas.microsoft.com/office/drawing/2014/main" id="{FC465D62-3382-034B-3BC4-9FA6DDBCBF3D}"/>
              </a:ext>
            </a:extLst>
          </p:cNvPr>
          <p:cNvSpPr>
            <a:spLocks noGrp="1"/>
          </p:cNvSpPr>
          <p:nvPr>
            <p:ph type="ftr" sz="quarter" idx="3"/>
          </p:nvPr>
        </p:nvSpPr>
        <p:spPr>
          <a:xfrm>
            <a:off x="584200" y="6364288"/>
            <a:ext cx="5511800" cy="365125"/>
          </a:xfrm>
          <a:prstGeom prst="rect">
            <a:avLst/>
          </a:prstGeom>
        </p:spPr>
        <p:txBody>
          <a:bodyPr vert="horz" lIns="91440" tIns="45720" rIns="91440" bIns="45720" rtlCol="0" anchor="ctr"/>
          <a:lstStyle>
            <a:lvl1pPr algn="l">
              <a:defRPr lang="en-GB" sz="1200">
                <a:solidFill>
                  <a:schemeClr val="tx1"/>
                </a:solidFill>
              </a:defRPr>
            </a:lvl1pPr>
          </a:lstStyle>
          <a:p>
            <a:r>
              <a:rPr lang="en-US"/>
              <a:t>PRESENTATION TITLE</a:t>
            </a:r>
            <a:endParaRPr lang="en-US" dirty="0"/>
          </a:p>
        </p:txBody>
      </p:sp>
      <p:sp>
        <p:nvSpPr>
          <p:cNvPr id="5" name="Title 1">
            <a:extLst>
              <a:ext uri="{FF2B5EF4-FFF2-40B4-BE49-F238E27FC236}">
                <a16:creationId xmlns:a16="http://schemas.microsoft.com/office/drawing/2014/main" id="{1036477C-8D55-B4B8-85DD-DAF85A20D8C5}"/>
              </a:ext>
            </a:extLst>
          </p:cNvPr>
          <p:cNvSpPr>
            <a:spLocks noGrp="1"/>
          </p:cNvSpPr>
          <p:nvPr>
            <p:ph type="title"/>
          </p:nvPr>
        </p:nvSpPr>
        <p:spPr>
          <a:xfrm>
            <a:off x="731444" y="584200"/>
            <a:ext cx="10873180" cy="1301750"/>
          </a:xfrm>
        </p:spPr>
        <p:txBody>
          <a:bodyPr anchor="ctr">
            <a:noAutofit/>
          </a:bodyPr>
          <a:lstStyle>
            <a:lvl1pPr>
              <a:defRPr>
                <a:solidFill>
                  <a:srgbClr val="FFFFFF"/>
                </a:solidFill>
              </a:defRPr>
            </a:lvl1pPr>
          </a:lstStyle>
          <a:p>
            <a:r>
              <a:rPr lang="en-US" dirty="0"/>
              <a:t>Click to edit Master title style</a:t>
            </a:r>
            <a:endParaRPr lang="en-ID" dirty="0"/>
          </a:p>
        </p:txBody>
      </p:sp>
      <p:cxnSp>
        <p:nvCxnSpPr>
          <p:cNvPr id="8" name="Straight Connector 7">
            <a:extLst>
              <a:ext uri="{FF2B5EF4-FFF2-40B4-BE49-F238E27FC236}">
                <a16:creationId xmlns:a16="http://schemas.microsoft.com/office/drawing/2014/main" id="{0657BBCF-CA9E-FB2C-CA76-82D2795FF965}"/>
              </a:ext>
            </a:extLst>
          </p:cNvPr>
          <p:cNvCxnSpPr>
            <a:cxnSpLocks/>
          </p:cNvCxnSpPr>
          <p:nvPr userDrawn="1"/>
        </p:nvCxnSpPr>
        <p:spPr>
          <a:xfrm>
            <a:off x="587375" y="584200"/>
            <a:ext cx="0" cy="130175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7" name="Text Placeholder 29">
            <a:extLst>
              <a:ext uri="{FF2B5EF4-FFF2-40B4-BE49-F238E27FC236}">
                <a16:creationId xmlns:a16="http://schemas.microsoft.com/office/drawing/2014/main" id="{7127DC28-28A8-3A98-B7FB-41B0888536BE}"/>
              </a:ext>
            </a:extLst>
          </p:cNvPr>
          <p:cNvSpPr>
            <a:spLocks noGrp="1"/>
          </p:cNvSpPr>
          <p:nvPr>
            <p:ph type="body" sz="quarter" idx="39"/>
          </p:nvPr>
        </p:nvSpPr>
        <p:spPr>
          <a:xfrm>
            <a:off x="584200" y="2432049"/>
            <a:ext cx="4502148" cy="540557"/>
          </a:xfrm>
          <a:prstGeom prst="rect">
            <a:avLst/>
          </a:prstGeom>
        </p:spPr>
        <p:txBody>
          <a:bodyPr tIns="0" bIns="0" anchor="b">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marL="0" marR="0" lvl="0" indent="0" algn="l" defTabSz="914446"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Click to edit Master text styles</a:t>
            </a:r>
            <a:endParaRPr lang="en-ID" dirty="0"/>
          </a:p>
        </p:txBody>
      </p:sp>
      <p:sp>
        <p:nvSpPr>
          <p:cNvPr id="9" name="Text Placeholder 29">
            <a:extLst>
              <a:ext uri="{FF2B5EF4-FFF2-40B4-BE49-F238E27FC236}">
                <a16:creationId xmlns:a16="http://schemas.microsoft.com/office/drawing/2014/main" id="{8C38966B-9C0F-01D5-79F5-8D32825F662C}"/>
              </a:ext>
            </a:extLst>
          </p:cNvPr>
          <p:cNvSpPr>
            <a:spLocks noGrp="1"/>
          </p:cNvSpPr>
          <p:nvPr>
            <p:ph type="body" sz="quarter" idx="40"/>
          </p:nvPr>
        </p:nvSpPr>
        <p:spPr>
          <a:xfrm>
            <a:off x="584200" y="3044604"/>
            <a:ext cx="4502148" cy="1060671"/>
          </a:xfrm>
          <a:prstGeom prst="rect">
            <a:avLst/>
          </a:prstGeom>
        </p:spPr>
        <p:txBody>
          <a:bodyPr tIns="0" bIns="0">
            <a:noAutofit/>
          </a:bodyPr>
          <a:lstStyle>
            <a:lvl1pPr marL="0" indent="0">
              <a:buNone/>
              <a:defRPr sz="16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13" name="Text Placeholder 29">
            <a:extLst>
              <a:ext uri="{FF2B5EF4-FFF2-40B4-BE49-F238E27FC236}">
                <a16:creationId xmlns:a16="http://schemas.microsoft.com/office/drawing/2014/main" id="{BF29A8C4-E01C-8823-3D21-FBEB0A37FD9D}"/>
              </a:ext>
            </a:extLst>
          </p:cNvPr>
          <p:cNvSpPr>
            <a:spLocks noGrp="1"/>
          </p:cNvSpPr>
          <p:nvPr>
            <p:ph type="body" sz="quarter" idx="41"/>
          </p:nvPr>
        </p:nvSpPr>
        <p:spPr>
          <a:xfrm>
            <a:off x="584200" y="4392614"/>
            <a:ext cx="4502148" cy="540557"/>
          </a:xfrm>
          <a:prstGeom prst="rect">
            <a:avLst/>
          </a:prstGeom>
        </p:spPr>
        <p:txBody>
          <a:bodyPr tIns="0" bIns="0" anchor="b">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marL="0" marR="0" lvl="0" indent="0" algn="l" defTabSz="914446"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Click to edit Master text styles</a:t>
            </a:r>
            <a:endParaRPr lang="en-ID" dirty="0"/>
          </a:p>
        </p:txBody>
      </p:sp>
      <p:sp>
        <p:nvSpPr>
          <p:cNvPr id="16" name="Text Placeholder 29">
            <a:extLst>
              <a:ext uri="{FF2B5EF4-FFF2-40B4-BE49-F238E27FC236}">
                <a16:creationId xmlns:a16="http://schemas.microsoft.com/office/drawing/2014/main" id="{36007328-114D-AECE-99A6-016A4CFBB612}"/>
              </a:ext>
            </a:extLst>
          </p:cNvPr>
          <p:cNvSpPr>
            <a:spLocks noGrp="1"/>
          </p:cNvSpPr>
          <p:nvPr>
            <p:ph type="body" sz="quarter" idx="42"/>
          </p:nvPr>
        </p:nvSpPr>
        <p:spPr>
          <a:xfrm>
            <a:off x="584200" y="5005169"/>
            <a:ext cx="4502148" cy="1060671"/>
          </a:xfrm>
          <a:prstGeom prst="rect">
            <a:avLst/>
          </a:prstGeom>
        </p:spPr>
        <p:txBody>
          <a:bodyPr tIns="0" bIns="0">
            <a:noAutofit/>
          </a:bodyPr>
          <a:lstStyle>
            <a:lvl1pPr marL="0" indent="0">
              <a:buNone/>
              <a:defRPr sz="16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17" name="Text Placeholder 29">
            <a:extLst>
              <a:ext uri="{FF2B5EF4-FFF2-40B4-BE49-F238E27FC236}">
                <a16:creationId xmlns:a16="http://schemas.microsoft.com/office/drawing/2014/main" id="{2142D811-C93D-9F9B-677A-5ADF7CD3A81A}"/>
              </a:ext>
            </a:extLst>
          </p:cNvPr>
          <p:cNvSpPr>
            <a:spLocks noGrp="1"/>
          </p:cNvSpPr>
          <p:nvPr>
            <p:ph type="body" sz="quarter" idx="43"/>
          </p:nvPr>
        </p:nvSpPr>
        <p:spPr>
          <a:xfrm>
            <a:off x="7105654" y="2432049"/>
            <a:ext cx="4502148" cy="540557"/>
          </a:xfrm>
          <a:prstGeom prst="rect">
            <a:avLst/>
          </a:prstGeom>
        </p:spPr>
        <p:txBody>
          <a:bodyPr tIns="0" bIns="0" anchor="b">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marL="0" marR="0" lvl="0" indent="0" algn="l" defTabSz="914446"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Click to edit Master text styles</a:t>
            </a:r>
            <a:endParaRPr lang="en-ID" dirty="0"/>
          </a:p>
        </p:txBody>
      </p:sp>
      <p:sp>
        <p:nvSpPr>
          <p:cNvPr id="18" name="Text Placeholder 29">
            <a:extLst>
              <a:ext uri="{FF2B5EF4-FFF2-40B4-BE49-F238E27FC236}">
                <a16:creationId xmlns:a16="http://schemas.microsoft.com/office/drawing/2014/main" id="{0B048665-3CE8-1449-AE80-5C39685B7BA3}"/>
              </a:ext>
            </a:extLst>
          </p:cNvPr>
          <p:cNvSpPr>
            <a:spLocks noGrp="1"/>
          </p:cNvSpPr>
          <p:nvPr>
            <p:ph type="body" sz="quarter" idx="44"/>
          </p:nvPr>
        </p:nvSpPr>
        <p:spPr>
          <a:xfrm>
            <a:off x="7105654" y="3044604"/>
            <a:ext cx="4502148" cy="1060671"/>
          </a:xfrm>
          <a:prstGeom prst="rect">
            <a:avLst/>
          </a:prstGeom>
        </p:spPr>
        <p:txBody>
          <a:bodyPr tIns="0" bIns="0">
            <a:noAutofit/>
          </a:bodyPr>
          <a:lstStyle>
            <a:lvl1pPr marL="0" indent="0">
              <a:buNone/>
              <a:defRPr sz="16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19" name="Text Placeholder 29">
            <a:extLst>
              <a:ext uri="{FF2B5EF4-FFF2-40B4-BE49-F238E27FC236}">
                <a16:creationId xmlns:a16="http://schemas.microsoft.com/office/drawing/2014/main" id="{337177BD-61D7-4610-6C2F-89A1FACFC2A5}"/>
              </a:ext>
            </a:extLst>
          </p:cNvPr>
          <p:cNvSpPr>
            <a:spLocks noGrp="1"/>
          </p:cNvSpPr>
          <p:nvPr>
            <p:ph type="body" sz="quarter" idx="45"/>
          </p:nvPr>
        </p:nvSpPr>
        <p:spPr>
          <a:xfrm>
            <a:off x="7105654" y="4392614"/>
            <a:ext cx="4502148" cy="540557"/>
          </a:xfrm>
          <a:prstGeom prst="rect">
            <a:avLst/>
          </a:prstGeom>
        </p:spPr>
        <p:txBody>
          <a:bodyPr tIns="0" bIns="0" anchor="b">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marL="0" marR="0" lvl="0" indent="0" algn="l" defTabSz="914446"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Click to edit Master text styles</a:t>
            </a:r>
            <a:endParaRPr lang="en-ID" dirty="0"/>
          </a:p>
        </p:txBody>
      </p:sp>
      <p:sp>
        <p:nvSpPr>
          <p:cNvPr id="20" name="Text Placeholder 29">
            <a:extLst>
              <a:ext uri="{FF2B5EF4-FFF2-40B4-BE49-F238E27FC236}">
                <a16:creationId xmlns:a16="http://schemas.microsoft.com/office/drawing/2014/main" id="{EAACD5B2-3311-26B6-AFCF-4FD5DEBF7494}"/>
              </a:ext>
            </a:extLst>
          </p:cNvPr>
          <p:cNvSpPr>
            <a:spLocks noGrp="1"/>
          </p:cNvSpPr>
          <p:nvPr>
            <p:ph type="body" sz="quarter" idx="46"/>
          </p:nvPr>
        </p:nvSpPr>
        <p:spPr>
          <a:xfrm>
            <a:off x="7105654" y="5005169"/>
            <a:ext cx="4502148" cy="1060671"/>
          </a:xfrm>
          <a:prstGeom prst="rect">
            <a:avLst/>
          </a:prstGeom>
        </p:spPr>
        <p:txBody>
          <a:bodyPr tIns="0" bIns="0">
            <a:noAutofit/>
          </a:bodyPr>
          <a:lstStyle>
            <a:lvl1pPr marL="0" indent="0">
              <a:buNone/>
              <a:defRPr sz="16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Tree>
    <p:extLst>
      <p:ext uri="{BB962C8B-B14F-4D97-AF65-F5344CB8AC3E}">
        <p14:creationId xmlns:p14="http://schemas.microsoft.com/office/powerpoint/2010/main" val="2153376647"/>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able with Contents C40V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6477C-8D55-B4B8-85DD-DAF85A20D8C5}"/>
              </a:ext>
            </a:extLst>
          </p:cNvPr>
          <p:cNvSpPr>
            <a:spLocks noGrp="1"/>
          </p:cNvSpPr>
          <p:nvPr>
            <p:ph type="title"/>
          </p:nvPr>
        </p:nvSpPr>
        <p:spPr>
          <a:xfrm>
            <a:off x="731443" y="586105"/>
            <a:ext cx="10873182" cy="709295"/>
          </a:xfrm>
        </p:spPr>
        <p:txBody>
          <a:bodyPr anchor="t">
            <a:noAutofit/>
          </a:bodyPr>
          <a:lstStyle>
            <a:lvl1pPr>
              <a:defRPr>
                <a:solidFill>
                  <a:schemeClr val="tx1"/>
                </a:solidFill>
              </a:defRPr>
            </a:lvl1pPr>
          </a:lstStyle>
          <a:p>
            <a:r>
              <a:rPr lang="en-US" dirty="0"/>
              <a:t>Click to edit Master title style</a:t>
            </a:r>
            <a:endParaRPr lang="en-ID" dirty="0"/>
          </a:p>
        </p:txBody>
      </p:sp>
      <p:sp>
        <p:nvSpPr>
          <p:cNvPr id="11" name="Slide Number Placeholder 5">
            <a:extLst>
              <a:ext uri="{FF2B5EF4-FFF2-40B4-BE49-F238E27FC236}">
                <a16:creationId xmlns:a16="http://schemas.microsoft.com/office/drawing/2014/main" id="{752E3F75-A181-1CEF-4892-A00A828F0DEC}"/>
              </a:ext>
            </a:extLst>
          </p:cNvPr>
          <p:cNvSpPr>
            <a:spLocks noGrp="1"/>
          </p:cNvSpPr>
          <p:nvPr>
            <p:ph type="sldNum" sz="quarter" idx="4"/>
          </p:nvPr>
        </p:nvSpPr>
        <p:spPr>
          <a:xfrm>
            <a:off x="11058525" y="6409951"/>
            <a:ext cx="546100" cy="273799"/>
          </a:xfrm>
          <a:prstGeom prst="rect">
            <a:avLst/>
          </a:prstGeom>
        </p:spPr>
        <p:txBody>
          <a:bodyPr vert="horz" lIns="91440" tIns="45720" rIns="91440" bIns="45720" rtlCol="0" anchor="b"/>
          <a:lstStyle>
            <a:lvl1pPr algn="r">
              <a:defRPr sz="1200">
                <a:solidFill>
                  <a:schemeClr val="tx1"/>
                </a:solidFill>
                <a:latin typeface="+mn-lt"/>
              </a:defRPr>
            </a:lvl1pPr>
          </a:lstStyle>
          <a:p>
            <a:fld id="{5E0C3BBE-9543-48E5-A6E1-C646F9A01966}" type="slidenum">
              <a:rPr lang="en-ID" smtClean="0"/>
              <a:pPr/>
              <a:t>‹#›</a:t>
            </a:fld>
            <a:endParaRPr lang="en-ID" dirty="0"/>
          </a:p>
        </p:txBody>
      </p:sp>
      <p:cxnSp>
        <p:nvCxnSpPr>
          <p:cNvPr id="16" name="Straight Connector 15">
            <a:extLst>
              <a:ext uri="{FF2B5EF4-FFF2-40B4-BE49-F238E27FC236}">
                <a16:creationId xmlns:a16="http://schemas.microsoft.com/office/drawing/2014/main" id="{0657BBCF-CA9E-FB2C-CA76-82D2795FF965}"/>
              </a:ext>
            </a:extLst>
          </p:cNvPr>
          <p:cNvCxnSpPr>
            <a:cxnSpLocks/>
          </p:cNvCxnSpPr>
          <p:nvPr userDrawn="1"/>
        </p:nvCxnSpPr>
        <p:spPr>
          <a:xfrm>
            <a:off x="587375" y="585690"/>
            <a:ext cx="0" cy="70971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Footer Placeholder 4">
            <a:extLst>
              <a:ext uri="{FF2B5EF4-FFF2-40B4-BE49-F238E27FC236}">
                <a16:creationId xmlns:a16="http://schemas.microsoft.com/office/drawing/2014/main" id="{FC465D62-3382-034B-3BC4-9FA6DDBCBF3D}"/>
              </a:ext>
            </a:extLst>
          </p:cNvPr>
          <p:cNvSpPr>
            <a:spLocks noGrp="1"/>
          </p:cNvSpPr>
          <p:nvPr>
            <p:ph type="ftr" sz="quarter" idx="3"/>
          </p:nvPr>
        </p:nvSpPr>
        <p:spPr>
          <a:xfrm>
            <a:off x="584200" y="6364288"/>
            <a:ext cx="5511800" cy="365125"/>
          </a:xfrm>
          <a:prstGeom prst="rect">
            <a:avLst/>
          </a:prstGeom>
        </p:spPr>
        <p:txBody>
          <a:bodyPr vert="horz" lIns="91440" tIns="45720" rIns="91440" bIns="45720" rtlCol="0" anchor="ctr"/>
          <a:lstStyle>
            <a:lvl1pPr algn="l">
              <a:defRPr lang="en-GB" sz="1200">
                <a:solidFill>
                  <a:schemeClr val="tx1"/>
                </a:solidFill>
              </a:defRPr>
            </a:lvl1pPr>
          </a:lstStyle>
          <a:p>
            <a:r>
              <a:rPr lang="en-US"/>
              <a:t>PRESENTATION TITLE</a:t>
            </a:r>
            <a:endParaRPr lang="en-US" dirty="0"/>
          </a:p>
        </p:txBody>
      </p:sp>
      <p:sp>
        <p:nvSpPr>
          <p:cNvPr id="4" name="Table Placeholder 3">
            <a:extLst>
              <a:ext uri="{FF2B5EF4-FFF2-40B4-BE49-F238E27FC236}">
                <a16:creationId xmlns:a16="http://schemas.microsoft.com/office/drawing/2014/main" id="{9DD2B053-49CB-EC30-CB40-BD5B5A83362E}"/>
              </a:ext>
            </a:extLst>
          </p:cNvPr>
          <p:cNvSpPr>
            <a:spLocks noGrp="1"/>
          </p:cNvSpPr>
          <p:nvPr>
            <p:ph type="tbl" sz="quarter" idx="10"/>
          </p:nvPr>
        </p:nvSpPr>
        <p:spPr>
          <a:xfrm>
            <a:off x="587375" y="2793172"/>
            <a:ext cx="11017250" cy="3196466"/>
          </a:xfrm>
        </p:spPr>
        <p:txBody>
          <a:bodyPr/>
          <a:lstStyle>
            <a:lvl1pPr algn="ctr">
              <a:defRPr b="0">
                <a:solidFill>
                  <a:schemeClr val="tx1"/>
                </a:solidFill>
              </a:defRPr>
            </a:lvl1pPr>
          </a:lstStyle>
          <a:p>
            <a:endParaRPr lang="en-GB" dirty="0"/>
          </a:p>
        </p:txBody>
      </p:sp>
      <p:sp>
        <p:nvSpPr>
          <p:cNvPr id="17" name="Text Placeholder 29">
            <a:extLst>
              <a:ext uri="{FF2B5EF4-FFF2-40B4-BE49-F238E27FC236}">
                <a16:creationId xmlns:a16="http://schemas.microsoft.com/office/drawing/2014/main" id="{C88A6C4B-DACE-AD62-1602-DB64BFC7F7D9}"/>
              </a:ext>
            </a:extLst>
          </p:cNvPr>
          <p:cNvSpPr>
            <a:spLocks noGrp="1"/>
          </p:cNvSpPr>
          <p:nvPr>
            <p:ph type="body" sz="quarter" idx="40"/>
          </p:nvPr>
        </p:nvSpPr>
        <p:spPr>
          <a:xfrm>
            <a:off x="731443" y="1689638"/>
            <a:ext cx="10873182" cy="709296"/>
          </a:xfrm>
          <a:prstGeom prst="rect">
            <a:avLst/>
          </a:prstGeom>
        </p:spPr>
        <p:txBody>
          <a:bodyPr tIns="0" bIns="0">
            <a:noAutofit/>
          </a:bodyPr>
          <a:lstStyle>
            <a:lvl1pPr marL="0" indent="0">
              <a:buNone/>
              <a:defRPr sz="16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marL="0" marR="0" lvl="0" indent="0" algn="l" defTabSz="914446"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Click to edit Master text styles</a:t>
            </a:r>
            <a:endParaRPr lang="en-ID" dirty="0"/>
          </a:p>
        </p:txBody>
      </p:sp>
    </p:spTree>
    <p:extLst>
      <p:ext uri="{BB962C8B-B14F-4D97-AF65-F5344CB8AC3E}">
        <p14:creationId xmlns:p14="http://schemas.microsoft.com/office/powerpoint/2010/main" val="1917585566"/>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Radial Bars C41V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6477C-8D55-B4B8-85DD-DAF85A20D8C5}"/>
              </a:ext>
            </a:extLst>
          </p:cNvPr>
          <p:cNvSpPr>
            <a:spLocks noGrp="1"/>
          </p:cNvSpPr>
          <p:nvPr>
            <p:ph type="title"/>
          </p:nvPr>
        </p:nvSpPr>
        <p:spPr>
          <a:xfrm>
            <a:off x="731443" y="586105"/>
            <a:ext cx="10873182" cy="709295"/>
          </a:xfrm>
        </p:spPr>
        <p:txBody>
          <a:bodyPr anchor="t">
            <a:noAutofit/>
          </a:bodyPr>
          <a:lstStyle>
            <a:lvl1pPr>
              <a:defRPr>
                <a:solidFill>
                  <a:schemeClr val="tx1"/>
                </a:solidFill>
              </a:defRPr>
            </a:lvl1pPr>
          </a:lstStyle>
          <a:p>
            <a:r>
              <a:rPr lang="en-US" dirty="0"/>
              <a:t>Click to edit Master title style</a:t>
            </a:r>
            <a:endParaRPr lang="en-ID" dirty="0"/>
          </a:p>
        </p:txBody>
      </p:sp>
      <p:sp>
        <p:nvSpPr>
          <p:cNvPr id="11" name="Slide Number Placeholder 5">
            <a:extLst>
              <a:ext uri="{FF2B5EF4-FFF2-40B4-BE49-F238E27FC236}">
                <a16:creationId xmlns:a16="http://schemas.microsoft.com/office/drawing/2014/main" id="{752E3F75-A181-1CEF-4892-A00A828F0DEC}"/>
              </a:ext>
            </a:extLst>
          </p:cNvPr>
          <p:cNvSpPr>
            <a:spLocks noGrp="1"/>
          </p:cNvSpPr>
          <p:nvPr>
            <p:ph type="sldNum" sz="quarter" idx="4"/>
          </p:nvPr>
        </p:nvSpPr>
        <p:spPr>
          <a:xfrm>
            <a:off x="11058525" y="6409951"/>
            <a:ext cx="546100" cy="273799"/>
          </a:xfrm>
          <a:prstGeom prst="rect">
            <a:avLst/>
          </a:prstGeom>
        </p:spPr>
        <p:txBody>
          <a:bodyPr vert="horz" lIns="91440" tIns="45720" rIns="91440" bIns="45720" rtlCol="0" anchor="b"/>
          <a:lstStyle>
            <a:lvl1pPr algn="r">
              <a:defRPr sz="1200">
                <a:solidFill>
                  <a:schemeClr val="tx1"/>
                </a:solidFill>
                <a:latin typeface="+mn-lt"/>
              </a:defRPr>
            </a:lvl1pPr>
          </a:lstStyle>
          <a:p>
            <a:fld id="{5E0C3BBE-9543-48E5-A6E1-C646F9A01966}" type="slidenum">
              <a:rPr lang="en-ID" smtClean="0"/>
              <a:pPr/>
              <a:t>‹#›</a:t>
            </a:fld>
            <a:endParaRPr lang="en-ID" dirty="0"/>
          </a:p>
        </p:txBody>
      </p:sp>
      <p:cxnSp>
        <p:nvCxnSpPr>
          <p:cNvPr id="16" name="Straight Connector 15">
            <a:extLst>
              <a:ext uri="{FF2B5EF4-FFF2-40B4-BE49-F238E27FC236}">
                <a16:creationId xmlns:a16="http://schemas.microsoft.com/office/drawing/2014/main" id="{0657BBCF-CA9E-FB2C-CA76-82D2795FF965}"/>
              </a:ext>
            </a:extLst>
          </p:cNvPr>
          <p:cNvCxnSpPr>
            <a:cxnSpLocks/>
          </p:cNvCxnSpPr>
          <p:nvPr userDrawn="1"/>
        </p:nvCxnSpPr>
        <p:spPr>
          <a:xfrm>
            <a:off x="587375" y="585690"/>
            <a:ext cx="0" cy="70971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Footer Placeholder 4">
            <a:extLst>
              <a:ext uri="{FF2B5EF4-FFF2-40B4-BE49-F238E27FC236}">
                <a16:creationId xmlns:a16="http://schemas.microsoft.com/office/drawing/2014/main" id="{FC465D62-3382-034B-3BC4-9FA6DDBCBF3D}"/>
              </a:ext>
            </a:extLst>
          </p:cNvPr>
          <p:cNvSpPr>
            <a:spLocks noGrp="1"/>
          </p:cNvSpPr>
          <p:nvPr>
            <p:ph type="ftr" sz="quarter" idx="3"/>
          </p:nvPr>
        </p:nvSpPr>
        <p:spPr>
          <a:xfrm>
            <a:off x="584200" y="6364288"/>
            <a:ext cx="5511800" cy="365125"/>
          </a:xfrm>
          <a:prstGeom prst="rect">
            <a:avLst/>
          </a:prstGeom>
        </p:spPr>
        <p:txBody>
          <a:bodyPr vert="horz" lIns="91440" tIns="45720" rIns="91440" bIns="45720" rtlCol="0" anchor="ctr"/>
          <a:lstStyle>
            <a:lvl1pPr algn="l">
              <a:defRPr lang="en-GB" sz="1200">
                <a:solidFill>
                  <a:schemeClr val="tx1"/>
                </a:solidFill>
              </a:defRPr>
            </a:lvl1pPr>
          </a:lstStyle>
          <a:p>
            <a:r>
              <a:rPr lang="en-US"/>
              <a:t>PRESENTATION TITLE</a:t>
            </a:r>
            <a:endParaRPr lang="en-US" dirty="0"/>
          </a:p>
        </p:txBody>
      </p:sp>
      <p:sp>
        <p:nvSpPr>
          <p:cNvPr id="3" name="Oval 2">
            <a:extLst>
              <a:ext uri="{FF2B5EF4-FFF2-40B4-BE49-F238E27FC236}">
                <a16:creationId xmlns:a16="http://schemas.microsoft.com/office/drawing/2014/main" id="{3BBD3D9D-E2D7-5928-9ACE-BC305ADE7015}"/>
              </a:ext>
            </a:extLst>
          </p:cNvPr>
          <p:cNvSpPr/>
          <p:nvPr userDrawn="1"/>
        </p:nvSpPr>
        <p:spPr>
          <a:xfrm>
            <a:off x="5305353" y="1735993"/>
            <a:ext cx="1581292" cy="1581292"/>
          </a:xfrm>
          <a:prstGeom prst="ellipse">
            <a:avLst/>
          </a:prstGeom>
          <a:noFill/>
          <a:ln w="762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 name="Text Placeholder 14">
            <a:extLst>
              <a:ext uri="{FF2B5EF4-FFF2-40B4-BE49-F238E27FC236}">
                <a16:creationId xmlns:a16="http://schemas.microsoft.com/office/drawing/2014/main" id="{6B6F7D80-7AE5-EF7E-CA93-91FFC8961EAC}"/>
              </a:ext>
            </a:extLst>
          </p:cNvPr>
          <p:cNvSpPr>
            <a:spLocks noGrp="1"/>
          </p:cNvSpPr>
          <p:nvPr>
            <p:ph type="body" sz="quarter" idx="34" hasCustomPrompt="1"/>
          </p:nvPr>
        </p:nvSpPr>
        <p:spPr>
          <a:xfrm>
            <a:off x="5305353" y="1735993"/>
            <a:ext cx="1581292" cy="1581292"/>
          </a:xfrm>
          <a:prstGeom prst="arc">
            <a:avLst>
              <a:gd name="adj1" fmla="val 16200000"/>
              <a:gd name="adj2" fmla="val 13391445"/>
            </a:avLst>
          </a:prstGeom>
          <a:noFill/>
          <a:ln w="762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algn="ctr">
              <a:defRPr lang="en-GB" sz="1000" dirty="0">
                <a:solidFill>
                  <a:schemeClr val="tx1"/>
                </a:solidFill>
              </a:defRPr>
            </a:lvl1pPr>
          </a:lstStyle>
          <a:p>
            <a:pPr lvl="0" algn="ctr" defTabSz="914400"/>
            <a:r>
              <a:rPr lang="en-US" dirty="0"/>
              <a:t> </a:t>
            </a:r>
            <a:endParaRPr lang="en-GB" dirty="0"/>
          </a:p>
        </p:txBody>
      </p:sp>
      <p:sp>
        <p:nvSpPr>
          <p:cNvPr id="6" name="Text Placeholder 6">
            <a:extLst>
              <a:ext uri="{FF2B5EF4-FFF2-40B4-BE49-F238E27FC236}">
                <a16:creationId xmlns:a16="http://schemas.microsoft.com/office/drawing/2014/main" id="{40FC2368-512D-2676-8BCC-4005ACA137B2}"/>
              </a:ext>
            </a:extLst>
          </p:cNvPr>
          <p:cNvSpPr>
            <a:spLocks noGrp="1"/>
          </p:cNvSpPr>
          <p:nvPr>
            <p:ph type="body" sz="quarter" idx="35" hasCustomPrompt="1"/>
          </p:nvPr>
        </p:nvSpPr>
        <p:spPr>
          <a:xfrm>
            <a:off x="5466419" y="2156298"/>
            <a:ext cx="1259160" cy="760184"/>
          </a:xfrm>
        </p:spPr>
        <p:txBody>
          <a:bodyPr anchor="ctr">
            <a:noAutofit/>
          </a:bodyPr>
          <a:lstStyle>
            <a:lvl1pPr marL="0" indent="0" algn="ctr">
              <a:buNone/>
              <a:defRPr sz="2800" b="1">
                <a:solidFill>
                  <a:schemeClr val="tx1"/>
                </a:solidFill>
                <a:latin typeface="+mj-lt"/>
              </a:defRPr>
            </a:lvl1pPr>
          </a:lstStyle>
          <a:p>
            <a:pPr lvl="0"/>
            <a:r>
              <a:rPr lang="en-US" dirty="0"/>
              <a:t>xx%</a:t>
            </a:r>
          </a:p>
        </p:txBody>
      </p:sp>
      <p:sp>
        <p:nvSpPr>
          <p:cNvPr id="8" name="Text Placeholder 29">
            <a:extLst>
              <a:ext uri="{FF2B5EF4-FFF2-40B4-BE49-F238E27FC236}">
                <a16:creationId xmlns:a16="http://schemas.microsoft.com/office/drawing/2014/main" id="{2DDCCD52-4493-F59D-7027-7C212038D4AF}"/>
              </a:ext>
            </a:extLst>
          </p:cNvPr>
          <p:cNvSpPr>
            <a:spLocks noGrp="1"/>
          </p:cNvSpPr>
          <p:nvPr>
            <p:ph type="body" sz="quarter" idx="33"/>
          </p:nvPr>
        </p:nvSpPr>
        <p:spPr>
          <a:xfrm>
            <a:off x="4555119" y="3566635"/>
            <a:ext cx="3081762" cy="553099"/>
          </a:xfrm>
          <a:prstGeom prst="rect">
            <a:avLst/>
          </a:prstGeom>
        </p:spPr>
        <p:txBody>
          <a:bodyPr tIns="0" bIns="0" anchor="b">
            <a:noAutofit/>
          </a:bodyPr>
          <a:lstStyle>
            <a:lvl1pPr marL="0" indent="0" algn="ctr">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9" name="Text Placeholder 29">
            <a:extLst>
              <a:ext uri="{FF2B5EF4-FFF2-40B4-BE49-F238E27FC236}">
                <a16:creationId xmlns:a16="http://schemas.microsoft.com/office/drawing/2014/main" id="{C7EF7556-5224-47F1-49F3-0572DF21F2EE}"/>
              </a:ext>
            </a:extLst>
          </p:cNvPr>
          <p:cNvSpPr>
            <a:spLocks noGrp="1"/>
          </p:cNvSpPr>
          <p:nvPr>
            <p:ph type="body" sz="quarter" idx="36"/>
          </p:nvPr>
        </p:nvSpPr>
        <p:spPr>
          <a:xfrm>
            <a:off x="4555119" y="4191734"/>
            <a:ext cx="3081762" cy="1512248"/>
          </a:xfrm>
          <a:prstGeom prst="rect">
            <a:avLst/>
          </a:prstGeom>
        </p:spPr>
        <p:txBody>
          <a:bodyPr tIns="0" bIns="0">
            <a:noAutofit/>
          </a:bodyPr>
          <a:lstStyle>
            <a:lvl1pPr marL="0" indent="0" algn="ctr">
              <a:buNone/>
              <a:defRPr sz="16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19" name="Oval 18">
            <a:extLst>
              <a:ext uri="{FF2B5EF4-FFF2-40B4-BE49-F238E27FC236}">
                <a16:creationId xmlns:a16="http://schemas.microsoft.com/office/drawing/2014/main" id="{705E8CF0-45DA-C681-8618-12E9EAF903D4}"/>
              </a:ext>
            </a:extLst>
          </p:cNvPr>
          <p:cNvSpPr/>
          <p:nvPr userDrawn="1"/>
        </p:nvSpPr>
        <p:spPr>
          <a:xfrm>
            <a:off x="9273097" y="1735993"/>
            <a:ext cx="1581292" cy="1581292"/>
          </a:xfrm>
          <a:prstGeom prst="ellipse">
            <a:avLst/>
          </a:prstGeom>
          <a:noFill/>
          <a:ln w="762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 name="Text Placeholder 14">
            <a:extLst>
              <a:ext uri="{FF2B5EF4-FFF2-40B4-BE49-F238E27FC236}">
                <a16:creationId xmlns:a16="http://schemas.microsoft.com/office/drawing/2014/main" id="{0BDF54D5-341A-BDB8-70D5-1D271A33068B}"/>
              </a:ext>
            </a:extLst>
          </p:cNvPr>
          <p:cNvSpPr>
            <a:spLocks noGrp="1"/>
          </p:cNvSpPr>
          <p:nvPr>
            <p:ph type="body" sz="quarter" idx="37" hasCustomPrompt="1"/>
          </p:nvPr>
        </p:nvSpPr>
        <p:spPr>
          <a:xfrm>
            <a:off x="9273097" y="1735993"/>
            <a:ext cx="1581292" cy="1581292"/>
          </a:xfrm>
          <a:prstGeom prst="arc">
            <a:avLst>
              <a:gd name="adj1" fmla="val 16200000"/>
              <a:gd name="adj2" fmla="val 13391445"/>
            </a:avLst>
          </a:prstGeom>
          <a:noFill/>
          <a:ln w="762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algn="ctr">
              <a:defRPr lang="en-GB" sz="1000" dirty="0">
                <a:solidFill>
                  <a:schemeClr val="tx1"/>
                </a:solidFill>
              </a:defRPr>
            </a:lvl1pPr>
          </a:lstStyle>
          <a:p>
            <a:pPr lvl="0" algn="ctr" defTabSz="914400"/>
            <a:r>
              <a:rPr lang="en-US" dirty="0"/>
              <a:t> </a:t>
            </a:r>
            <a:endParaRPr lang="en-GB" dirty="0"/>
          </a:p>
        </p:txBody>
      </p:sp>
      <p:sp>
        <p:nvSpPr>
          <p:cNvPr id="22" name="Text Placeholder 6">
            <a:extLst>
              <a:ext uri="{FF2B5EF4-FFF2-40B4-BE49-F238E27FC236}">
                <a16:creationId xmlns:a16="http://schemas.microsoft.com/office/drawing/2014/main" id="{E42ED014-DC96-68EC-18BA-293A5537638C}"/>
              </a:ext>
            </a:extLst>
          </p:cNvPr>
          <p:cNvSpPr>
            <a:spLocks noGrp="1"/>
          </p:cNvSpPr>
          <p:nvPr>
            <p:ph type="body" sz="quarter" idx="38" hasCustomPrompt="1"/>
          </p:nvPr>
        </p:nvSpPr>
        <p:spPr>
          <a:xfrm>
            <a:off x="9434163" y="2156298"/>
            <a:ext cx="1259160" cy="760184"/>
          </a:xfrm>
        </p:spPr>
        <p:txBody>
          <a:bodyPr anchor="ctr">
            <a:noAutofit/>
          </a:bodyPr>
          <a:lstStyle>
            <a:lvl1pPr marL="0" indent="0" algn="ctr">
              <a:buNone/>
              <a:defRPr sz="2800" b="1">
                <a:solidFill>
                  <a:schemeClr val="tx1"/>
                </a:solidFill>
                <a:latin typeface="+mj-lt"/>
              </a:defRPr>
            </a:lvl1pPr>
          </a:lstStyle>
          <a:p>
            <a:pPr lvl="0"/>
            <a:r>
              <a:rPr lang="en-US" dirty="0"/>
              <a:t>xx%</a:t>
            </a:r>
          </a:p>
        </p:txBody>
      </p:sp>
      <p:sp>
        <p:nvSpPr>
          <p:cNvPr id="23" name="Text Placeholder 29">
            <a:extLst>
              <a:ext uri="{FF2B5EF4-FFF2-40B4-BE49-F238E27FC236}">
                <a16:creationId xmlns:a16="http://schemas.microsoft.com/office/drawing/2014/main" id="{C94D2F51-651E-57C6-669A-9421CC548657}"/>
              </a:ext>
            </a:extLst>
          </p:cNvPr>
          <p:cNvSpPr>
            <a:spLocks noGrp="1"/>
          </p:cNvSpPr>
          <p:nvPr>
            <p:ph type="body" sz="quarter" idx="39"/>
          </p:nvPr>
        </p:nvSpPr>
        <p:spPr>
          <a:xfrm>
            <a:off x="8522863" y="3566635"/>
            <a:ext cx="3081762" cy="553099"/>
          </a:xfrm>
          <a:prstGeom prst="rect">
            <a:avLst/>
          </a:prstGeom>
        </p:spPr>
        <p:txBody>
          <a:bodyPr tIns="0" bIns="0" anchor="b">
            <a:noAutofit/>
          </a:bodyPr>
          <a:lstStyle>
            <a:lvl1pPr marL="0" indent="0" algn="ctr">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24" name="Text Placeholder 29">
            <a:extLst>
              <a:ext uri="{FF2B5EF4-FFF2-40B4-BE49-F238E27FC236}">
                <a16:creationId xmlns:a16="http://schemas.microsoft.com/office/drawing/2014/main" id="{F189AE72-78C6-B559-D0A6-2C7C78AB19A4}"/>
              </a:ext>
            </a:extLst>
          </p:cNvPr>
          <p:cNvSpPr>
            <a:spLocks noGrp="1"/>
          </p:cNvSpPr>
          <p:nvPr>
            <p:ph type="body" sz="quarter" idx="40"/>
          </p:nvPr>
        </p:nvSpPr>
        <p:spPr>
          <a:xfrm>
            <a:off x="8522863" y="4191734"/>
            <a:ext cx="3081762" cy="1512248"/>
          </a:xfrm>
          <a:prstGeom prst="rect">
            <a:avLst/>
          </a:prstGeom>
        </p:spPr>
        <p:txBody>
          <a:bodyPr tIns="0" bIns="0">
            <a:noAutofit/>
          </a:bodyPr>
          <a:lstStyle>
            <a:lvl1pPr marL="0" indent="0" algn="ctr">
              <a:buNone/>
              <a:defRPr sz="16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25" name="Rectangle 24">
            <a:extLst>
              <a:ext uri="{FF2B5EF4-FFF2-40B4-BE49-F238E27FC236}">
                <a16:creationId xmlns:a16="http://schemas.microsoft.com/office/drawing/2014/main" id="{411B19D0-9F0D-EC21-F087-8B275D7C6526}"/>
              </a:ext>
            </a:extLst>
          </p:cNvPr>
          <p:cNvSpPr/>
          <p:nvPr userDrawn="1"/>
        </p:nvSpPr>
        <p:spPr>
          <a:xfrm>
            <a:off x="-1" y="1636148"/>
            <a:ext cx="4114905" cy="406783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6" name="Picture Placeholder 11">
            <a:extLst>
              <a:ext uri="{FF2B5EF4-FFF2-40B4-BE49-F238E27FC236}">
                <a16:creationId xmlns:a16="http://schemas.microsoft.com/office/drawing/2014/main" id="{C53EE9AC-019F-1A80-298A-9207C2D4513E}"/>
              </a:ext>
            </a:extLst>
          </p:cNvPr>
          <p:cNvSpPr>
            <a:spLocks noGrp="1"/>
          </p:cNvSpPr>
          <p:nvPr>
            <p:ph type="pic" sz="quarter" idx="10"/>
          </p:nvPr>
        </p:nvSpPr>
        <p:spPr>
          <a:xfrm>
            <a:off x="-1" y="1756804"/>
            <a:ext cx="3997431" cy="3826522"/>
          </a:xfrm>
          <a:prstGeom prst="rect">
            <a:avLst/>
          </a:prstGeom>
          <a:solidFill>
            <a:schemeClr val="accent2">
              <a:lumMod val="20000"/>
              <a:lumOff val="80000"/>
            </a:schemeClr>
          </a:solidFill>
        </p:spPr>
        <p:txBody>
          <a:bodyPr anchor="ctr">
            <a:normAutofit/>
          </a:bodyPr>
          <a:lstStyle>
            <a:lvl1pPr marL="0" indent="0" algn="ctr">
              <a:buNone/>
              <a:defRPr sz="1333">
                <a:solidFill>
                  <a:schemeClr val="tx1"/>
                </a:solidFill>
              </a:defRPr>
            </a:lvl1pPr>
          </a:lstStyle>
          <a:p>
            <a:endParaRPr lang="en-ID"/>
          </a:p>
        </p:txBody>
      </p:sp>
      <p:sp>
        <p:nvSpPr>
          <p:cNvPr id="28" name="Rectangle 27">
            <a:extLst>
              <a:ext uri="{FF2B5EF4-FFF2-40B4-BE49-F238E27FC236}">
                <a16:creationId xmlns:a16="http://schemas.microsoft.com/office/drawing/2014/main" id="{0E2D268C-F2F5-0F07-54EC-3F1273607340}"/>
              </a:ext>
            </a:extLst>
          </p:cNvPr>
          <p:cNvSpPr/>
          <p:nvPr userDrawn="1"/>
        </p:nvSpPr>
        <p:spPr>
          <a:xfrm>
            <a:off x="3997430" y="2717566"/>
            <a:ext cx="117475" cy="1904998"/>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387986896"/>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Radial Bars C42V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6477C-8D55-B4B8-85DD-DAF85A20D8C5}"/>
              </a:ext>
            </a:extLst>
          </p:cNvPr>
          <p:cNvSpPr>
            <a:spLocks noGrp="1"/>
          </p:cNvSpPr>
          <p:nvPr>
            <p:ph type="title"/>
          </p:nvPr>
        </p:nvSpPr>
        <p:spPr>
          <a:xfrm>
            <a:off x="731443" y="586105"/>
            <a:ext cx="10873182" cy="709295"/>
          </a:xfrm>
        </p:spPr>
        <p:txBody>
          <a:bodyPr anchor="t">
            <a:noAutofit/>
          </a:bodyPr>
          <a:lstStyle>
            <a:lvl1pPr>
              <a:defRPr>
                <a:solidFill>
                  <a:schemeClr val="tx1"/>
                </a:solidFill>
              </a:defRPr>
            </a:lvl1pPr>
          </a:lstStyle>
          <a:p>
            <a:r>
              <a:rPr lang="en-US" dirty="0"/>
              <a:t>Click to edit Master title style</a:t>
            </a:r>
            <a:endParaRPr lang="en-ID" dirty="0"/>
          </a:p>
        </p:txBody>
      </p:sp>
      <p:sp>
        <p:nvSpPr>
          <p:cNvPr id="11" name="Slide Number Placeholder 5">
            <a:extLst>
              <a:ext uri="{FF2B5EF4-FFF2-40B4-BE49-F238E27FC236}">
                <a16:creationId xmlns:a16="http://schemas.microsoft.com/office/drawing/2014/main" id="{752E3F75-A181-1CEF-4892-A00A828F0DEC}"/>
              </a:ext>
            </a:extLst>
          </p:cNvPr>
          <p:cNvSpPr>
            <a:spLocks noGrp="1"/>
          </p:cNvSpPr>
          <p:nvPr>
            <p:ph type="sldNum" sz="quarter" idx="4"/>
          </p:nvPr>
        </p:nvSpPr>
        <p:spPr>
          <a:xfrm>
            <a:off x="11058525" y="6409951"/>
            <a:ext cx="546100" cy="273799"/>
          </a:xfrm>
          <a:prstGeom prst="rect">
            <a:avLst/>
          </a:prstGeom>
        </p:spPr>
        <p:txBody>
          <a:bodyPr vert="horz" lIns="91440" tIns="45720" rIns="91440" bIns="45720" rtlCol="0" anchor="b"/>
          <a:lstStyle>
            <a:lvl1pPr algn="r">
              <a:defRPr sz="1200">
                <a:solidFill>
                  <a:schemeClr val="tx1"/>
                </a:solidFill>
                <a:latin typeface="+mn-lt"/>
              </a:defRPr>
            </a:lvl1pPr>
          </a:lstStyle>
          <a:p>
            <a:fld id="{5E0C3BBE-9543-48E5-A6E1-C646F9A01966}" type="slidenum">
              <a:rPr lang="en-ID" smtClean="0"/>
              <a:pPr/>
              <a:t>‹#›</a:t>
            </a:fld>
            <a:endParaRPr lang="en-ID" dirty="0"/>
          </a:p>
        </p:txBody>
      </p:sp>
      <p:cxnSp>
        <p:nvCxnSpPr>
          <p:cNvPr id="16" name="Straight Connector 15">
            <a:extLst>
              <a:ext uri="{FF2B5EF4-FFF2-40B4-BE49-F238E27FC236}">
                <a16:creationId xmlns:a16="http://schemas.microsoft.com/office/drawing/2014/main" id="{0657BBCF-CA9E-FB2C-CA76-82D2795FF965}"/>
              </a:ext>
            </a:extLst>
          </p:cNvPr>
          <p:cNvCxnSpPr>
            <a:cxnSpLocks/>
          </p:cNvCxnSpPr>
          <p:nvPr userDrawn="1"/>
        </p:nvCxnSpPr>
        <p:spPr>
          <a:xfrm>
            <a:off x="587375" y="585690"/>
            <a:ext cx="0" cy="70971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Footer Placeholder 4">
            <a:extLst>
              <a:ext uri="{FF2B5EF4-FFF2-40B4-BE49-F238E27FC236}">
                <a16:creationId xmlns:a16="http://schemas.microsoft.com/office/drawing/2014/main" id="{FC465D62-3382-034B-3BC4-9FA6DDBCBF3D}"/>
              </a:ext>
            </a:extLst>
          </p:cNvPr>
          <p:cNvSpPr>
            <a:spLocks noGrp="1"/>
          </p:cNvSpPr>
          <p:nvPr>
            <p:ph type="ftr" sz="quarter" idx="3"/>
          </p:nvPr>
        </p:nvSpPr>
        <p:spPr>
          <a:xfrm>
            <a:off x="584200" y="6364288"/>
            <a:ext cx="5511800" cy="365125"/>
          </a:xfrm>
          <a:prstGeom prst="rect">
            <a:avLst/>
          </a:prstGeom>
        </p:spPr>
        <p:txBody>
          <a:bodyPr vert="horz" lIns="91440" tIns="45720" rIns="91440" bIns="45720" rtlCol="0" anchor="ctr"/>
          <a:lstStyle>
            <a:lvl1pPr algn="l">
              <a:defRPr lang="en-GB" sz="1200">
                <a:solidFill>
                  <a:schemeClr val="tx1"/>
                </a:solidFill>
              </a:defRPr>
            </a:lvl1pPr>
          </a:lstStyle>
          <a:p>
            <a:r>
              <a:rPr lang="en-US"/>
              <a:t>PRESENTATION TITLE</a:t>
            </a:r>
            <a:endParaRPr lang="en-US" dirty="0"/>
          </a:p>
        </p:txBody>
      </p:sp>
      <p:sp>
        <p:nvSpPr>
          <p:cNvPr id="3" name="Oval 2">
            <a:extLst>
              <a:ext uri="{FF2B5EF4-FFF2-40B4-BE49-F238E27FC236}">
                <a16:creationId xmlns:a16="http://schemas.microsoft.com/office/drawing/2014/main" id="{3BBD3D9D-E2D7-5928-9ACE-BC305ADE7015}"/>
              </a:ext>
            </a:extLst>
          </p:cNvPr>
          <p:cNvSpPr/>
          <p:nvPr userDrawn="1"/>
        </p:nvSpPr>
        <p:spPr>
          <a:xfrm>
            <a:off x="5305353" y="1735993"/>
            <a:ext cx="1581292" cy="1581292"/>
          </a:xfrm>
          <a:prstGeom prst="ellipse">
            <a:avLst/>
          </a:prstGeom>
          <a:noFill/>
          <a:ln w="762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 name="Text Placeholder 14">
            <a:extLst>
              <a:ext uri="{FF2B5EF4-FFF2-40B4-BE49-F238E27FC236}">
                <a16:creationId xmlns:a16="http://schemas.microsoft.com/office/drawing/2014/main" id="{6B6F7D80-7AE5-EF7E-CA93-91FFC8961EAC}"/>
              </a:ext>
            </a:extLst>
          </p:cNvPr>
          <p:cNvSpPr>
            <a:spLocks noGrp="1"/>
          </p:cNvSpPr>
          <p:nvPr>
            <p:ph type="body" sz="quarter" idx="34" hasCustomPrompt="1"/>
          </p:nvPr>
        </p:nvSpPr>
        <p:spPr>
          <a:xfrm>
            <a:off x="5305353" y="1735993"/>
            <a:ext cx="1581292" cy="1581292"/>
          </a:xfrm>
          <a:prstGeom prst="arc">
            <a:avLst>
              <a:gd name="adj1" fmla="val 16200000"/>
              <a:gd name="adj2" fmla="val 13391445"/>
            </a:avLst>
          </a:prstGeom>
          <a:noFill/>
          <a:ln w="762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algn="ctr">
              <a:defRPr lang="en-GB" sz="1000" dirty="0">
                <a:solidFill>
                  <a:schemeClr val="tx1"/>
                </a:solidFill>
              </a:defRPr>
            </a:lvl1pPr>
          </a:lstStyle>
          <a:p>
            <a:pPr lvl="0" algn="ctr" defTabSz="914400"/>
            <a:r>
              <a:rPr lang="en-US" dirty="0"/>
              <a:t> </a:t>
            </a:r>
            <a:endParaRPr lang="en-GB" dirty="0"/>
          </a:p>
        </p:txBody>
      </p:sp>
      <p:sp>
        <p:nvSpPr>
          <p:cNvPr id="6" name="Text Placeholder 6">
            <a:extLst>
              <a:ext uri="{FF2B5EF4-FFF2-40B4-BE49-F238E27FC236}">
                <a16:creationId xmlns:a16="http://schemas.microsoft.com/office/drawing/2014/main" id="{40FC2368-512D-2676-8BCC-4005ACA137B2}"/>
              </a:ext>
            </a:extLst>
          </p:cNvPr>
          <p:cNvSpPr>
            <a:spLocks noGrp="1"/>
          </p:cNvSpPr>
          <p:nvPr>
            <p:ph type="body" sz="quarter" idx="35" hasCustomPrompt="1"/>
          </p:nvPr>
        </p:nvSpPr>
        <p:spPr>
          <a:xfrm>
            <a:off x="5466419" y="2156298"/>
            <a:ext cx="1259160" cy="760184"/>
          </a:xfrm>
        </p:spPr>
        <p:txBody>
          <a:bodyPr anchor="ctr">
            <a:noAutofit/>
          </a:bodyPr>
          <a:lstStyle>
            <a:lvl1pPr marL="0" indent="0" algn="ctr">
              <a:buNone/>
              <a:defRPr sz="2800" b="1">
                <a:solidFill>
                  <a:schemeClr val="tx1"/>
                </a:solidFill>
                <a:latin typeface="+mj-lt"/>
              </a:defRPr>
            </a:lvl1pPr>
          </a:lstStyle>
          <a:p>
            <a:pPr lvl="0"/>
            <a:r>
              <a:rPr lang="en-US" dirty="0"/>
              <a:t>xx%</a:t>
            </a:r>
          </a:p>
        </p:txBody>
      </p:sp>
      <p:sp>
        <p:nvSpPr>
          <p:cNvPr id="8" name="Text Placeholder 29">
            <a:extLst>
              <a:ext uri="{FF2B5EF4-FFF2-40B4-BE49-F238E27FC236}">
                <a16:creationId xmlns:a16="http://schemas.microsoft.com/office/drawing/2014/main" id="{2DDCCD52-4493-F59D-7027-7C212038D4AF}"/>
              </a:ext>
            </a:extLst>
          </p:cNvPr>
          <p:cNvSpPr>
            <a:spLocks noGrp="1"/>
          </p:cNvSpPr>
          <p:nvPr>
            <p:ph type="body" sz="quarter" idx="33"/>
          </p:nvPr>
        </p:nvSpPr>
        <p:spPr>
          <a:xfrm>
            <a:off x="4555119" y="3566635"/>
            <a:ext cx="3081762" cy="553099"/>
          </a:xfrm>
          <a:prstGeom prst="rect">
            <a:avLst/>
          </a:prstGeom>
        </p:spPr>
        <p:txBody>
          <a:bodyPr tIns="0" bIns="0" anchor="b">
            <a:noAutofit/>
          </a:bodyPr>
          <a:lstStyle>
            <a:lvl1pPr marL="0" indent="0" algn="ctr">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9" name="Text Placeholder 29">
            <a:extLst>
              <a:ext uri="{FF2B5EF4-FFF2-40B4-BE49-F238E27FC236}">
                <a16:creationId xmlns:a16="http://schemas.microsoft.com/office/drawing/2014/main" id="{C7EF7556-5224-47F1-49F3-0572DF21F2EE}"/>
              </a:ext>
            </a:extLst>
          </p:cNvPr>
          <p:cNvSpPr>
            <a:spLocks noGrp="1"/>
          </p:cNvSpPr>
          <p:nvPr>
            <p:ph type="body" sz="quarter" idx="36"/>
          </p:nvPr>
        </p:nvSpPr>
        <p:spPr>
          <a:xfrm>
            <a:off x="4555119" y="4191734"/>
            <a:ext cx="3081762" cy="1512248"/>
          </a:xfrm>
          <a:prstGeom prst="rect">
            <a:avLst/>
          </a:prstGeom>
        </p:spPr>
        <p:txBody>
          <a:bodyPr tIns="0" bIns="0">
            <a:noAutofit/>
          </a:bodyPr>
          <a:lstStyle>
            <a:lvl1pPr marL="0" indent="0" algn="ctr">
              <a:buNone/>
              <a:defRPr sz="16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19" name="Oval 18">
            <a:extLst>
              <a:ext uri="{FF2B5EF4-FFF2-40B4-BE49-F238E27FC236}">
                <a16:creationId xmlns:a16="http://schemas.microsoft.com/office/drawing/2014/main" id="{705E8CF0-45DA-C681-8618-12E9EAF903D4}"/>
              </a:ext>
            </a:extLst>
          </p:cNvPr>
          <p:cNvSpPr/>
          <p:nvPr userDrawn="1"/>
        </p:nvSpPr>
        <p:spPr>
          <a:xfrm>
            <a:off x="9273097" y="1735993"/>
            <a:ext cx="1581292" cy="1581292"/>
          </a:xfrm>
          <a:prstGeom prst="ellipse">
            <a:avLst/>
          </a:prstGeom>
          <a:noFill/>
          <a:ln w="762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 name="Text Placeholder 14">
            <a:extLst>
              <a:ext uri="{FF2B5EF4-FFF2-40B4-BE49-F238E27FC236}">
                <a16:creationId xmlns:a16="http://schemas.microsoft.com/office/drawing/2014/main" id="{0BDF54D5-341A-BDB8-70D5-1D271A33068B}"/>
              </a:ext>
            </a:extLst>
          </p:cNvPr>
          <p:cNvSpPr>
            <a:spLocks noGrp="1"/>
          </p:cNvSpPr>
          <p:nvPr>
            <p:ph type="body" sz="quarter" idx="37" hasCustomPrompt="1"/>
          </p:nvPr>
        </p:nvSpPr>
        <p:spPr>
          <a:xfrm>
            <a:off x="9273097" y="1735993"/>
            <a:ext cx="1581292" cy="1581292"/>
          </a:xfrm>
          <a:prstGeom prst="arc">
            <a:avLst>
              <a:gd name="adj1" fmla="val 16200000"/>
              <a:gd name="adj2" fmla="val 13391445"/>
            </a:avLst>
          </a:prstGeom>
          <a:noFill/>
          <a:ln w="762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algn="ctr">
              <a:defRPr lang="en-GB" sz="1000" dirty="0">
                <a:solidFill>
                  <a:schemeClr val="tx1"/>
                </a:solidFill>
              </a:defRPr>
            </a:lvl1pPr>
          </a:lstStyle>
          <a:p>
            <a:pPr lvl="0" algn="ctr" defTabSz="914400"/>
            <a:r>
              <a:rPr lang="en-US" dirty="0"/>
              <a:t> </a:t>
            </a:r>
            <a:endParaRPr lang="en-GB" dirty="0"/>
          </a:p>
        </p:txBody>
      </p:sp>
      <p:sp>
        <p:nvSpPr>
          <p:cNvPr id="22" name="Text Placeholder 6">
            <a:extLst>
              <a:ext uri="{FF2B5EF4-FFF2-40B4-BE49-F238E27FC236}">
                <a16:creationId xmlns:a16="http://schemas.microsoft.com/office/drawing/2014/main" id="{E42ED014-DC96-68EC-18BA-293A5537638C}"/>
              </a:ext>
            </a:extLst>
          </p:cNvPr>
          <p:cNvSpPr>
            <a:spLocks noGrp="1"/>
          </p:cNvSpPr>
          <p:nvPr>
            <p:ph type="body" sz="quarter" idx="38" hasCustomPrompt="1"/>
          </p:nvPr>
        </p:nvSpPr>
        <p:spPr>
          <a:xfrm>
            <a:off x="9434163" y="2156298"/>
            <a:ext cx="1259160" cy="760184"/>
          </a:xfrm>
        </p:spPr>
        <p:txBody>
          <a:bodyPr anchor="ctr">
            <a:noAutofit/>
          </a:bodyPr>
          <a:lstStyle>
            <a:lvl1pPr marL="0" indent="0" algn="ctr">
              <a:buNone/>
              <a:defRPr sz="2800" b="1">
                <a:solidFill>
                  <a:schemeClr val="tx1"/>
                </a:solidFill>
                <a:latin typeface="+mj-lt"/>
              </a:defRPr>
            </a:lvl1pPr>
          </a:lstStyle>
          <a:p>
            <a:pPr lvl="0"/>
            <a:r>
              <a:rPr lang="en-US" dirty="0"/>
              <a:t>xx%</a:t>
            </a:r>
          </a:p>
        </p:txBody>
      </p:sp>
      <p:sp>
        <p:nvSpPr>
          <p:cNvPr id="23" name="Text Placeholder 29">
            <a:extLst>
              <a:ext uri="{FF2B5EF4-FFF2-40B4-BE49-F238E27FC236}">
                <a16:creationId xmlns:a16="http://schemas.microsoft.com/office/drawing/2014/main" id="{C94D2F51-651E-57C6-669A-9421CC548657}"/>
              </a:ext>
            </a:extLst>
          </p:cNvPr>
          <p:cNvSpPr>
            <a:spLocks noGrp="1"/>
          </p:cNvSpPr>
          <p:nvPr>
            <p:ph type="body" sz="quarter" idx="39"/>
          </p:nvPr>
        </p:nvSpPr>
        <p:spPr>
          <a:xfrm>
            <a:off x="8522863" y="3566635"/>
            <a:ext cx="3081762" cy="553099"/>
          </a:xfrm>
          <a:prstGeom prst="rect">
            <a:avLst/>
          </a:prstGeom>
        </p:spPr>
        <p:txBody>
          <a:bodyPr tIns="0" bIns="0" anchor="b">
            <a:noAutofit/>
          </a:bodyPr>
          <a:lstStyle>
            <a:lvl1pPr marL="0" indent="0" algn="ctr">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24" name="Text Placeholder 29">
            <a:extLst>
              <a:ext uri="{FF2B5EF4-FFF2-40B4-BE49-F238E27FC236}">
                <a16:creationId xmlns:a16="http://schemas.microsoft.com/office/drawing/2014/main" id="{F189AE72-78C6-B559-D0A6-2C7C78AB19A4}"/>
              </a:ext>
            </a:extLst>
          </p:cNvPr>
          <p:cNvSpPr>
            <a:spLocks noGrp="1"/>
          </p:cNvSpPr>
          <p:nvPr>
            <p:ph type="body" sz="quarter" idx="40"/>
          </p:nvPr>
        </p:nvSpPr>
        <p:spPr>
          <a:xfrm>
            <a:off x="8522863" y="4191734"/>
            <a:ext cx="3081762" cy="1512248"/>
          </a:xfrm>
          <a:prstGeom prst="rect">
            <a:avLst/>
          </a:prstGeom>
        </p:spPr>
        <p:txBody>
          <a:bodyPr tIns="0" bIns="0">
            <a:noAutofit/>
          </a:bodyPr>
          <a:lstStyle>
            <a:lvl1pPr marL="0" indent="0" algn="ctr">
              <a:buNone/>
              <a:defRPr sz="16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4" name="Oval 3">
            <a:extLst>
              <a:ext uri="{FF2B5EF4-FFF2-40B4-BE49-F238E27FC236}">
                <a16:creationId xmlns:a16="http://schemas.microsoft.com/office/drawing/2014/main" id="{FD38544B-21D2-262C-C981-1D7DCCEB5D14}"/>
              </a:ext>
            </a:extLst>
          </p:cNvPr>
          <p:cNvSpPr/>
          <p:nvPr userDrawn="1"/>
        </p:nvSpPr>
        <p:spPr>
          <a:xfrm>
            <a:off x="1337611" y="1735993"/>
            <a:ext cx="1581292" cy="1581292"/>
          </a:xfrm>
          <a:prstGeom prst="ellipse">
            <a:avLst/>
          </a:prstGeom>
          <a:noFill/>
          <a:ln w="762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7" name="Text Placeholder 14">
            <a:extLst>
              <a:ext uri="{FF2B5EF4-FFF2-40B4-BE49-F238E27FC236}">
                <a16:creationId xmlns:a16="http://schemas.microsoft.com/office/drawing/2014/main" id="{C8D65A88-3D58-17DC-77F6-8AE7BB2AECE9}"/>
              </a:ext>
            </a:extLst>
          </p:cNvPr>
          <p:cNvSpPr>
            <a:spLocks noGrp="1"/>
          </p:cNvSpPr>
          <p:nvPr>
            <p:ph type="body" sz="quarter" idx="41" hasCustomPrompt="1"/>
          </p:nvPr>
        </p:nvSpPr>
        <p:spPr>
          <a:xfrm>
            <a:off x="1337611" y="1735993"/>
            <a:ext cx="1581292" cy="1581292"/>
          </a:xfrm>
          <a:prstGeom prst="arc">
            <a:avLst>
              <a:gd name="adj1" fmla="val 16200000"/>
              <a:gd name="adj2" fmla="val 13391445"/>
            </a:avLst>
          </a:prstGeom>
          <a:noFill/>
          <a:ln w="762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algn="ctr">
              <a:defRPr lang="en-GB" sz="1000" dirty="0">
                <a:solidFill>
                  <a:schemeClr val="tx1"/>
                </a:solidFill>
              </a:defRPr>
            </a:lvl1pPr>
          </a:lstStyle>
          <a:p>
            <a:pPr lvl="0" algn="ctr" defTabSz="914400"/>
            <a:r>
              <a:rPr lang="en-US" dirty="0"/>
              <a:t> </a:t>
            </a:r>
            <a:endParaRPr lang="en-GB" dirty="0"/>
          </a:p>
        </p:txBody>
      </p:sp>
      <p:sp>
        <p:nvSpPr>
          <p:cNvPr id="10" name="Text Placeholder 6">
            <a:extLst>
              <a:ext uri="{FF2B5EF4-FFF2-40B4-BE49-F238E27FC236}">
                <a16:creationId xmlns:a16="http://schemas.microsoft.com/office/drawing/2014/main" id="{569FB8B4-3C26-2BE2-C003-404C8606A6EE}"/>
              </a:ext>
            </a:extLst>
          </p:cNvPr>
          <p:cNvSpPr>
            <a:spLocks noGrp="1"/>
          </p:cNvSpPr>
          <p:nvPr>
            <p:ph type="body" sz="quarter" idx="42" hasCustomPrompt="1"/>
          </p:nvPr>
        </p:nvSpPr>
        <p:spPr>
          <a:xfrm>
            <a:off x="1498677" y="2156298"/>
            <a:ext cx="1259160" cy="760184"/>
          </a:xfrm>
        </p:spPr>
        <p:txBody>
          <a:bodyPr anchor="ctr">
            <a:noAutofit/>
          </a:bodyPr>
          <a:lstStyle>
            <a:lvl1pPr marL="0" indent="0" algn="ctr">
              <a:buNone/>
              <a:defRPr sz="2800" b="1">
                <a:solidFill>
                  <a:schemeClr val="tx1"/>
                </a:solidFill>
                <a:latin typeface="+mj-lt"/>
              </a:defRPr>
            </a:lvl1pPr>
          </a:lstStyle>
          <a:p>
            <a:pPr lvl="0"/>
            <a:r>
              <a:rPr lang="en-US" dirty="0"/>
              <a:t>xx%</a:t>
            </a:r>
          </a:p>
        </p:txBody>
      </p:sp>
      <p:sp>
        <p:nvSpPr>
          <p:cNvPr id="12" name="Text Placeholder 29">
            <a:extLst>
              <a:ext uri="{FF2B5EF4-FFF2-40B4-BE49-F238E27FC236}">
                <a16:creationId xmlns:a16="http://schemas.microsoft.com/office/drawing/2014/main" id="{242A120D-BDA9-915C-DCD1-0AFC1BFF099D}"/>
              </a:ext>
            </a:extLst>
          </p:cNvPr>
          <p:cNvSpPr>
            <a:spLocks noGrp="1"/>
          </p:cNvSpPr>
          <p:nvPr>
            <p:ph type="body" sz="quarter" idx="43"/>
          </p:nvPr>
        </p:nvSpPr>
        <p:spPr>
          <a:xfrm>
            <a:off x="587377" y="3566635"/>
            <a:ext cx="3081762" cy="553099"/>
          </a:xfrm>
          <a:prstGeom prst="rect">
            <a:avLst/>
          </a:prstGeom>
        </p:spPr>
        <p:txBody>
          <a:bodyPr tIns="0" bIns="0" anchor="b">
            <a:noAutofit/>
          </a:bodyPr>
          <a:lstStyle>
            <a:lvl1pPr marL="0" indent="0" algn="ctr">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13" name="Text Placeholder 29">
            <a:extLst>
              <a:ext uri="{FF2B5EF4-FFF2-40B4-BE49-F238E27FC236}">
                <a16:creationId xmlns:a16="http://schemas.microsoft.com/office/drawing/2014/main" id="{EB823991-32C7-EBE3-826D-F3860C4B1F23}"/>
              </a:ext>
            </a:extLst>
          </p:cNvPr>
          <p:cNvSpPr>
            <a:spLocks noGrp="1"/>
          </p:cNvSpPr>
          <p:nvPr>
            <p:ph type="body" sz="quarter" idx="44"/>
          </p:nvPr>
        </p:nvSpPr>
        <p:spPr>
          <a:xfrm>
            <a:off x="587377" y="4191734"/>
            <a:ext cx="3081762" cy="1512248"/>
          </a:xfrm>
          <a:prstGeom prst="rect">
            <a:avLst/>
          </a:prstGeom>
        </p:spPr>
        <p:txBody>
          <a:bodyPr tIns="0" bIns="0">
            <a:noAutofit/>
          </a:bodyPr>
          <a:lstStyle>
            <a:lvl1pPr marL="0" indent="0" algn="ctr">
              <a:buNone/>
              <a:defRPr sz="16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Tree>
    <p:extLst>
      <p:ext uri="{BB962C8B-B14F-4D97-AF65-F5344CB8AC3E}">
        <p14:creationId xmlns:p14="http://schemas.microsoft.com/office/powerpoint/2010/main" val="2920560110"/>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01V3">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A8251DF6-5AD2-ACA8-5899-43F743C66417}"/>
              </a:ext>
            </a:extLst>
          </p:cNvPr>
          <p:cNvSpPr/>
          <p:nvPr userDrawn="1"/>
        </p:nvSpPr>
        <p:spPr>
          <a:xfrm>
            <a:off x="0" y="0"/>
            <a:ext cx="12192000" cy="419054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Text Placeholder 29">
            <a:extLst>
              <a:ext uri="{FF2B5EF4-FFF2-40B4-BE49-F238E27FC236}">
                <a16:creationId xmlns:a16="http://schemas.microsoft.com/office/drawing/2014/main" id="{B67530F7-C043-4F2D-AA58-B8F8D1238C27}"/>
              </a:ext>
            </a:extLst>
          </p:cNvPr>
          <p:cNvSpPr>
            <a:spLocks noGrp="1"/>
          </p:cNvSpPr>
          <p:nvPr>
            <p:ph type="body" sz="quarter" idx="14"/>
          </p:nvPr>
        </p:nvSpPr>
        <p:spPr>
          <a:xfrm>
            <a:off x="731446" y="4614945"/>
            <a:ext cx="5074268" cy="707816"/>
          </a:xfrm>
          <a:prstGeom prst="rect">
            <a:avLst/>
          </a:prstGeom>
        </p:spPr>
        <p:txBody>
          <a:bodyPr>
            <a:noAutofit/>
          </a:bodyPr>
          <a:lstStyle>
            <a:lvl1pPr marL="0" indent="0">
              <a:buNone/>
              <a:defRPr sz="18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4" name="Title 2">
            <a:extLst>
              <a:ext uri="{FF2B5EF4-FFF2-40B4-BE49-F238E27FC236}">
                <a16:creationId xmlns:a16="http://schemas.microsoft.com/office/drawing/2014/main" id="{6A0E0A3C-AF5E-BB75-6F0A-2D22B84E67BC}"/>
              </a:ext>
            </a:extLst>
          </p:cNvPr>
          <p:cNvSpPr>
            <a:spLocks noGrp="1"/>
          </p:cNvSpPr>
          <p:nvPr>
            <p:ph type="ctrTitle"/>
          </p:nvPr>
        </p:nvSpPr>
        <p:spPr>
          <a:xfrm>
            <a:off x="731446" y="584204"/>
            <a:ext cx="10873179" cy="3064462"/>
          </a:xfrm>
        </p:spPr>
        <p:txBody>
          <a:bodyPr anchor="b">
            <a:noAutofit/>
          </a:bodyPr>
          <a:lstStyle>
            <a:lvl1pPr algn="ctr">
              <a:defRPr sz="5400">
                <a:solidFill>
                  <a:schemeClr val="bg1"/>
                </a:solidFill>
              </a:defRPr>
            </a:lvl1pPr>
          </a:lstStyle>
          <a:p>
            <a:endParaRPr lang="en-GB" dirty="0"/>
          </a:p>
        </p:txBody>
      </p:sp>
      <p:sp>
        <p:nvSpPr>
          <p:cNvPr id="8" name="Text Placeholder 29">
            <a:extLst>
              <a:ext uri="{FF2B5EF4-FFF2-40B4-BE49-F238E27FC236}">
                <a16:creationId xmlns:a16="http://schemas.microsoft.com/office/drawing/2014/main" id="{73E0654F-4709-9928-E09F-2A00AF8174F2}"/>
              </a:ext>
            </a:extLst>
          </p:cNvPr>
          <p:cNvSpPr>
            <a:spLocks noGrp="1"/>
          </p:cNvSpPr>
          <p:nvPr>
            <p:ph type="body" sz="quarter" idx="15"/>
          </p:nvPr>
        </p:nvSpPr>
        <p:spPr>
          <a:xfrm>
            <a:off x="6229350" y="4614945"/>
            <a:ext cx="5375274" cy="707816"/>
          </a:xfrm>
          <a:prstGeom prst="rect">
            <a:avLst/>
          </a:prstGeom>
        </p:spPr>
        <p:txBody>
          <a:bodyPr>
            <a:noAutofit/>
          </a:bodyPr>
          <a:lstStyle>
            <a:lvl1pPr marL="0" indent="0" algn="r">
              <a:buNone/>
              <a:defRPr sz="18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9" name="Slide Number Placeholder 5">
            <a:extLst>
              <a:ext uri="{FF2B5EF4-FFF2-40B4-BE49-F238E27FC236}">
                <a16:creationId xmlns:a16="http://schemas.microsoft.com/office/drawing/2014/main" id="{4FE027D9-E8BA-AB34-D226-FB323E4044D4}"/>
              </a:ext>
            </a:extLst>
          </p:cNvPr>
          <p:cNvSpPr>
            <a:spLocks noGrp="1"/>
          </p:cNvSpPr>
          <p:nvPr>
            <p:ph type="sldNum" sz="quarter" idx="4"/>
          </p:nvPr>
        </p:nvSpPr>
        <p:spPr>
          <a:xfrm>
            <a:off x="11058525" y="6409951"/>
            <a:ext cx="546100" cy="273799"/>
          </a:xfrm>
          <a:prstGeom prst="rect">
            <a:avLst/>
          </a:prstGeom>
        </p:spPr>
        <p:txBody>
          <a:bodyPr vert="horz" lIns="91440" tIns="45720" rIns="91440" bIns="45720" rtlCol="0" anchor="b"/>
          <a:lstStyle>
            <a:lvl1pPr algn="r">
              <a:defRPr sz="1200">
                <a:solidFill>
                  <a:schemeClr val="tx1"/>
                </a:solidFill>
                <a:latin typeface="+mn-lt"/>
              </a:defRPr>
            </a:lvl1pPr>
          </a:lstStyle>
          <a:p>
            <a:fld id="{5E0C3BBE-9543-48E5-A6E1-C646F9A01966}" type="slidenum">
              <a:rPr lang="en-ID" smtClean="0"/>
              <a:pPr/>
              <a:t>‹#›</a:t>
            </a:fld>
            <a:endParaRPr lang="en-ID" dirty="0"/>
          </a:p>
        </p:txBody>
      </p:sp>
      <p:sp>
        <p:nvSpPr>
          <p:cNvPr id="10" name="Footer Placeholder 4">
            <a:extLst>
              <a:ext uri="{FF2B5EF4-FFF2-40B4-BE49-F238E27FC236}">
                <a16:creationId xmlns:a16="http://schemas.microsoft.com/office/drawing/2014/main" id="{C0D6385D-654E-DC48-400B-090D33BE7FAD}"/>
              </a:ext>
            </a:extLst>
          </p:cNvPr>
          <p:cNvSpPr>
            <a:spLocks noGrp="1"/>
          </p:cNvSpPr>
          <p:nvPr>
            <p:ph type="ftr" sz="quarter" idx="3"/>
          </p:nvPr>
        </p:nvSpPr>
        <p:spPr>
          <a:xfrm>
            <a:off x="584200" y="6364288"/>
            <a:ext cx="5511800" cy="365125"/>
          </a:xfrm>
          <a:prstGeom prst="rect">
            <a:avLst/>
          </a:prstGeom>
        </p:spPr>
        <p:txBody>
          <a:bodyPr vert="horz" lIns="91440" tIns="45720" rIns="91440" bIns="45720" rtlCol="0" anchor="ctr"/>
          <a:lstStyle>
            <a:lvl1pPr algn="l">
              <a:defRPr lang="en-GB" sz="1200">
                <a:solidFill>
                  <a:schemeClr val="tx1"/>
                </a:solidFill>
              </a:defRPr>
            </a:lvl1pPr>
          </a:lstStyle>
          <a:p>
            <a:r>
              <a:rPr lang="en-US" dirty="0"/>
              <a:t>PRESENTATION TITLE</a:t>
            </a:r>
          </a:p>
        </p:txBody>
      </p:sp>
      <p:sp>
        <p:nvSpPr>
          <p:cNvPr id="16" name="Rectangle 15">
            <a:extLst>
              <a:ext uri="{FF2B5EF4-FFF2-40B4-BE49-F238E27FC236}">
                <a16:creationId xmlns:a16="http://schemas.microsoft.com/office/drawing/2014/main" id="{84ACAE9F-16AE-335B-D01B-39C3752803F0}"/>
              </a:ext>
            </a:extLst>
          </p:cNvPr>
          <p:cNvSpPr/>
          <p:nvPr userDrawn="1"/>
        </p:nvSpPr>
        <p:spPr>
          <a:xfrm rot="5400000">
            <a:off x="6037262" y="3296781"/>
            <a:ext cx="117475" cy="1904998"/>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432701290"/>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 Radial Bars C43V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6477C-8D55-B4B8-85DD-DAF85A20D8C5}"/>
              </a:ext>
            </a:extLst>
          </p:cNvPr>
          <p:cNvSpPr>
            <a:spLocks noGrp="1"/>
          </p:cNvSpPr>
          <p:nvPr>
            <p:ph type="title"/>
          </p:nvPr>
        </p:nvSpPr>
        <p:spPr>
          <a:xfrm>
            <a:off x="731443" y="586105"/>
            <a:ext cx="10873182" cy="709295"/>
          </a:xfrm>
        </p:spPr>
        <p:txBody>
          <a:bodyPr anchor="t">
            <a:noAutofit/>
          </a:bodyPr>
          <a:lstStyle>
            <a:lvl1pPr>
              <a:defRPr>
                <a:solidFill>
                  <a:schemeClr val="tx1"/>
                </a:solidFill>
              </a:defRPr>
            </a:lvl1pPr>
          </a:lstStyle>
          <a:p>
            <a:r>
              <a:rPr lang="en-US" dirty="0"/>
              <a:t>Click to edit Master title style</a:t>
            </a:r>
            <a:endParaRPr lang="en-ID" dirty="0"/>
          </a:p>
        </p:txBody>
      </p:sp>
      <p:sp>
        <p:nvSpPr>
          <p:cNvPr id="11" name="Slide Number Placeholder 5">
            <a:extLst>
              <a:ext uri="{FF2B5EF4-FFF2-40B4-BE49-F238E27FC236}">
                <a16:creationId xmlns:a16="http://schemas.microsoft.com/office/drawing/2014/main" id="{752E3F75-A181-1CEF-4892-A00A828F0DEC}"/>
              </a:ext>
            </a:extLst>
          </p:cNvPr>
          <p:cNvSpPr>
            <a:spLocks noGrp="1"/>
          </p:cNvSpPr>
          <p:nvPr>
            <p:ph type="sldNum" sz="quarter" idx="4"/>
          </p:nvPr>
        </p:nvSpPr>
        <p:spPr>
          <a:xfrm>
            <a:off x="11058525" y="6409951"/>
            <a:ext cx="546100" cy="273799"/>
          </a:xfrm>
          <a:prstGeom prst="rect">
            <a:avLst/>
          </a:prstGeom>
        </p:spPr>
        <p:txBody>
          <a:bodyPr vert="horz" lIns="91440" tIns="45720" rIns="91440" bIns="45720" rtlCol="0" anchor="b"/>
          <a:lstStyle>
            <a:lvl1pPr algn="r">
              <a:defRPr sz="1200">
                <a:solidFill>
                  <a:schemeClr val="tx1"/>
                </a:solidFill>
                <a:latin typeface="+mn-lt"/>
              </a:defRPr>
            </a:lvl1pPr>
          </a:lstStyle>
          <a:p>
            <a:fld id="{5E0C3BBE-9543-48E5-A6E1-C646F9A01966}" type="slidenum">
              <a:rPr lang="en-ID" smtClean="0"/>
              <a:pPr/>
              <a:t>‹#›</a:t>
            </a:fld>
            <a:endParaRPr lang="en-ID" dirty="0"/>
          </a:p>
        </p:txBody>
      </p:sp>
      <p:cxnSp>
        <p:nvCxnSpPr>
          <p:cNvPr id="16" name="Straight Connector 15">
            <a:extLst>
              <a:ext uri="{FF2B5EF4-FFF2-40B4-BE49-F238E27FC236}">
                <a16:creationId xmlns:a16="http://schemas.microsoft.com/office/drawing/2014/main" id="{0657BBCF-CA9E-FB2C-CA76-82D2795FF965}"/>
              </a:ext>
            </a:extLst>
          </p:cNvPr>
          <p:cNvCxnSpPr>
            <a:cxnSpLocks/>
          </p:cNvCxnSpPr>
          <p:nvPr userDrawn="1"/>
        </p:nvCxnSpPr>
        <p:spPr>
          <a:xfrm>
            <a:off x="587375" y="585690"/>
            <a:ext cx="0" cy="70971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Footer Placeholder 4">
            <a:extLst>
              <a:ext uri="{FF2B5EF4-FFF2-40B4-BE49-F238E27FC236}">
                <a16:creationId xmlns:a16="http://schemas.microsoft.com/office/drawing/2014/main" id="{FC465D62-3382-034B-3BC4-9FA6DDBCBF3D}"/>
              </a:ext>
            </a:extLst>
          </p:cNvPr>
          <p:cNvSpPr>
            <a:spLocks noGrp="1"/>
          </p:cNvSpPr>
          <p:nvPr>
            <p:ph type="ftr" sz="quarter" idx="3"/>
          </p:nvPr>
        </p:nvSpPr>
        <p:spPr>
          <a:xfrm>
            <a:off x="584200" y="6364288"/>
            <a:ext cx="5511800" cy="365125"/>
          </a:xfrm>
          <a:prstGeom prst="rect">
            <a:avLst/>
          </a:prstGeom>
        </p:spPr>
        <p:txBody>
          <a:bodyPr vert="horz" lIns="91440" tIns="45720" rIns="91440" bIns="45720" rtlCol="0" anchor="ctr"/>
          <a:lstStyle>
            <a:lvl1pPr algn="l">
              <a:defRPr lang="en-GB" sz="1200">
                <a:solidFill>
                  <a:schemeClr val="tx1"/>
                </a:solidFill>
              </a:defRPr>
            </a:lvl1pPr>
          </a:lstStyle>
          <a:p>
            <a:r>
              <a:rPr lang="en-US"/>
              <a:t>PRESENTATION TITLE</a:t>
            </a:r>
            <a:endParaRPr lang="en-US" dirty="0"/>
          </a:p>
        </p:txBody>
      </p:sp>
      <p:sp>
        <p:nvSpPr>
          <p:cNvPr id="4" name="Oval 3">
            <a:extLst>
              <a:ext uri="{FF2B5EF4-FFF2-40B4-BE49-F238E27FC236}">
                <a16:creationId xmlns:a16="http://schemas.microsoft.com/office/drawing/2014/main" id="{FD38544B-21D2-262C-C981-1D7DCCEB5D14}"/>
              </a:ext>
            </a:extLst>
          </p:cNvPr>
          <p:cNvSpPr/>
          <p:nvPr userDrawn="1"/>
        </p:nvSpPr>
        <p:spPr>
          <a:xfrm>
            <a:off x="1088954" y="1735993"/>
            <a:ext cx="1581292" cy="1581292"/>
          </a:xfrm>
          <a:prstGeom prst="ellipse">
            <a:avLst/>
          </a:prstGeom>
          <a:noFill/>
          <a:ln w="762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7" name="Text Placeholder 14">
            <a:extLst>
              <a:ext uri="{FF2B5EF4-FFF2-40B4-BE49-F238E27FC236}">
                <a16:creationId xmlns:a16="http://schemas.microsoft.com/office/drawing/2014/main" id="{C8D65A88-3D58-17DC-77F6-8AE7BB2AECE9}"/>
              </a:ext>
            </a:extLst>
          </p:cNvPr>
          <p:cNvSpPr>
            <a:spLocks noGrp="1"/>
          </p:cNvSpPr>
          <p:nvPr>
            <p:ph type="body" sz="quarter" idx="41" hasCustomPrompt="1"/>
          </p:nvPr>
        </p:nvSpPr>
        <p:spPr>
          <a:xfrm>
            <a:off x="1088954" y="1735993"/>
            <a:ext cx="1581292" cy="1581292"/>
          </a:xfrm>
          <a:prstGeom prst="arc">
            <a:avLst>
              <a:gd name="adj1" fmla="val 16200000"/>
              <a:gd name="adj2" fmla="val 13391445"/>
            </a:avLst>
          </a:prstGeom>
          <a:noFill/>
          <a:ln w="762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algn="ctr">
              <a:defRPr lang="en-GB" sz="1000" dirty="0">
                <a:solidFill>
                  <a:schemeClr val="tx1"/>
                </a:solidFill>
              </a:defRPr>
            </a:lvl1pPr>
          </a:lstStyle>
          <a:p>
            <a:pPr lvl="0" algn="ctr" defTabSz="914400"/>
            <a:r>
              <a:rPr lang="en-US" dirty="0"/>
              <a:t> </a:t>
            </a:r>
            <a:endParaRPr lang="en-GB" dirty="0"/>
          </a:p>
        </p:txBody>
      </p:sp>
      <p:sp>
        <p:nvSpPr>
          <p:cNvPr id="10" name="Text Placeholder 6">
            <a:extLst>
              <a:ext uri="{FF2B5EF4-FFF2-40B4-BE49-F238E27FC236}">
                <a16:creationId xmlns:a16="http://schemas.microsoft.com/office/drawing/2014/main" id="{569FB8B4-3C26-2BE2-C003-404C8606A6EE}"/>
              </a:ext>
            </a:extLst>
          </p:cNvPr>
          <p:cNvSpPr>
            <a:spLocks noGrp="1"/>
          </p:cNvSpPr>
          <p:nvPr>
            <p:ph type="body" sz="quarter" idx="42" hasCustomPrompt="1"/>
          </p:nvPr>
        </p:nvSpPr>
        <p:spPr>
          <a:xfrm>
            <a:off x="1250020" y="2156298"/>
            <a:ext cx="1259160" cy="760184"/>
          </a:xfrm>
        </p:spPr>
        <p:txBody>
          <a:bodyPr anchor="ctr">
            <a:noAutofit/>
          </a:bodyPr>
          <a:lstStyle>
            <a:lvl1pPr marL="0" indent="0" algn="ctr">
              <a:buNone/>
              <a:defRPr sz="2800" b="1">
                <a:solidFill>
                  <a:schemeClr val="tx1"/>
                </a:solidFill>
                <a:latin typeface="+mj-lt"/>
              </a:defRPr>
            </a:lvl1pPr>
          </a:lstStyle>
          <a:p>
            <a:pPr lvl="0"/>
            <a:r>
              <a:rPr lang="en-US" dirty="0"/>
              <a:t>xx%</a:t>
            </a:r>
          </a:p>
        </p:txBody>
      </p:sp>
      <p:sp>
        <p:nvSpPr>
          <p:cNvPr id="12" name="Text Placeholder 29">
            <a:extLst>
              <a:ext uri="{FF2B5EF4-FFF2-40B4-BE49-F238E27FC236}">
                <a16:creationId xmlns:a16="http://schemas.microsoft.com/office/drawing/2014/main" id="{242A120D-BDA9-915C-DCD1-0AFC1BFF099D}"/>
              </a:ext>
            </a:extLst>
          </p:cNvPr>
          <p:cNvSpPr>
            <a:spLocks noGrp="1"/>
          </p:cNvSpPr>
          <p:nvPr>
            <p:ph type="body" sz="quarter" idx="43"/>
          </p:nvPr>
        </p:nvSpPr>
        <p:spPr>
          <a:xfrm>
            <a:off x="587377" y="3566635"/>
            <a:ext cx="2584447" cy="553099"/>
          </a:xfrm>
          <a:prstGeom prst="rect">
            <a:avLst/>
          </a:prstGeom>
        </p:spPr>
        <p:txBody>
          <a:bodyPr tIns="0" bIns="0" anchor="b">
            <a:noAutofit/>
          </a:bodyPr>
          <a:lstStyle>
            <a:lvl1pPr marL="0" indent="0" algn="ctr">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13" name="Text Placeholder 29">
            <a:extLst>
              <a:ext uri="{FF2B5EF4-FFF2-40B4-BE49-F238E27FC236}">
                <a16:creationId xmlns:a16="http://schemas.microsoft.com/office/drawing/2014/main" id="{EB823991-32C7-EBE3-826D-F3860C4B1F23}"/>
              </a:ext>
            </a:extLst>
          </p:cNvPr>
          <p:cNvSpPr>
            <a:spLocks noGrp="1"/>
          </p:cNvSpPr>
          <p:nvPr>
            <p:ph type="body" sz="quarter" idx="44"/>
          </p:nvPr>
        </p:nvSpPr>
        <p:spPr>
          <a:xfrm>
            <a:off x="587377" y="4191734"/>
            <a:ext cx="2584447" cy="1512248"/>
          </a:xfrm>
          <a:prstGeom prst="rect">
            <a:avLst/>
          </a:prstGeom>
        </p:spPr>
        <p:txBody>
          <a:bodyPr tIns="0" bIns="0">
            <a:noAutofit/>
          </a:bodyPr>
          <a:lstStyle>
            <a:lvl1pPr marL="0" indent="0" algn="ctr">
              <a:buNone/>
              <a:defRPr sz="16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14" name="Oval 13">
            <a:extLst>
              <a:ext uri="{FF2B5EF4-FFF2-40B4-BE49-F238E27FC236}">
                <a16:creationId xmlns:a16="http://schemas.microsoft.com/office/drawing/2014/main" id="{E7E1E9FA-AC4E-30FC-8A99-858797B97B66}"/>
              </a:ext>
            </a:extLst>
          </p:cNvPr>
          <p:cNvSpPr/>
          <p:nvPr userDrawn="1"/>
        </p:nvSpPr>
        <p:spPr>
          <a:xfrm>
            <a:off x="3899888" y="1735993"/>
            <a:ext cx="1581292" cy="1581292"/>
          </a:xfrm>
          <a:prstGeom prst="ellipse">
            <a:avLst/>
          </a:prstGeom>
          <a:noFill/>
          <a:ln w="762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ext Placeholder 14">
            <a:extLst>
              <a:ext uri="{FF2B5EF4-FFF2-40B4-BE49-F238E27FC236}">
                <a16:creationId xmlns:a16="http://schemas.microsoft.com/office/drawing/2014/main" id="{4265B468-859F-1E06-22D4-D26275A00E31}"/>
              </a:ext>
            </a:extLst>
          </p:cNvPr>
          <p:cNvSpPr>
            <a:spLocks noGrp="1"/>
          </p:cNvSpPr>
          <p:nvPr>
            <p:ph type="body" sz="quarter" idx="45" hasCustomPrompt="1"/>
          </p:nvPr>
        </p:nvSpPr>
        <p:spPr>
          <a:xfrm>
            <a:off x="3899888" y="1735993"/>
            <a:ext cx="1581292" cy="1581292"/>
          </a:xfrm>
          <a:prstGeom prst="arc">
            <a:avLst>
              <a:gd name="adj1" fmla="val 16200000"/>
              <a:gd name="adj2" fmla="val 13391445"/>
            </a:avLst>
          </a:prstGeom>
          <a:noFill/>
          <a:ln w="762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algn="ctr">
              <a:defRPr lang="en-GB" sz="1000" dirty="0">
                <a:solidFill>
                  <a:schemeClr val="tx1"/>
                </a:solidFill>
              </a:defRPr>
            </a:lvl1pPr>
          </a:lstStyle>
          <a:p>
            <a:pPr lvl="0" algn="ctr" defTabSz="914400"/>
            <a:r>
              <a:rPr lang="en-US" dirty="0"/>
              <a:t> </a:t>
            </a:r>
            <a:endParaRPr lang="en-GB" dirty="0"/>
          </a:p>
        </p:txBody>
      </p:sp>
      <p:sp>
        <p:nvSpPr>
          <p:cNvPr id="17" name="Text Placeholder 6">
            <a:extLst>
              <a:ext uri="{FF2B5EF4-FFF2-40B4-BE49-F238E27FC236}">
                <a16:creationId xmlns:a16="http://schemas.microsoft.com/office/drawing/2014/main" id="{514370B5-E372-E43E-4B15-6602BD67418A}"/>
              </a:ext>
            </a:extLst>
          </p:cNvPr>
          <p:cNvSpPr>
            <a:spLocks noGrp="1"/>
          </p:cNvSpPr>
          <p:nvPr>
            <p:ph type="body" sz="quarter" idx="46" hasCustomPrompt="1"/>
          </p:nvPr>
        </p:nvSpPr>
        <p:spPr>
          <a:xfrm>
            <a:off x="4060954" y="2156298"/>
            <a:ext cx="1259160" cy="760184"/>
          </a:xfrm>
        </p:spPr>
        <p:txBody>
          <a:bodyPr anchor="ctr">
            <a:noAutofit/>
          </a:bodyPr>
          <a:lstStyle>
            <a:lvl1pPr marL="0" indent="0" algn="ctr">
              <a:buNone/>
              <a:defRPr sz="2800" b="1">
                <a:solidFill>
                  <a:schemeClr val="tx1"/>
                </a:solidFill>
                <a:latin typeface="+mj-lt"/>
              </a:defRPr>
            </a:lvl1pPr>
          </a:lstStyle>
          <a:p>
            <a:pPr lvl="0"/>
            <a:r>
              <a:rPr lang="en-US" dirty="0"/>
              <a:t>xx%</a:t>
            </a:r>
          </a:p>
        </p:txBody>
      </p:sp>
      <p:sp>
        <p:nvSpPr>
          <p:cNvPr id="18" name="Text Placeholder 29">
            <a:extLst>
              <a:ext uri="{FF2B5EF4-FFF2-40B4-BE49-F238E27FC236}">
                <a16:creationId xmlns:a16="http://schemas.microsoft.com/office/drawing/2014/main" id="{3FD83ED0-13B6-25F1-C4A1-9418CE81206F}"/>
              </a:ext>
            </a:extLst>
          </p:cNvPr>
          <p:cNvSpPr>
            <a:spLocks noGrp="1"/>
          </p:cNvSpPr>
          <p:nvPr>
            <p:ph type="body" sz="quarter" idx="47"/>
          </p:nvPr>
        </p:nvSpPr>
        <p:spPr>
          <a:xfrm>
            <a:off x="3398311" y="3566635"/>
            <a:ext cx="2584447" cy="553099"/>
          </a:xfrm>
          <a:prstGeom prst="rect">
            <a:avLst/>
          </a:prstGeom>
        </p:spPr>
        <p:txBody>
          <a:bodyPr tIns="0" bIns="0" anchor="b">
            <a:noAutofit/>
          </a:bodyPr>
          <a:lstStyle>
            <a:lvl1pPr marL="0" indent="0" algn="ctr">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25" name="Text Placeholder 29">
            <a:extLst>
              <a:ext uri="{FF2B5EF4-FFF2-40B4-BE49-F238E27FC236}">
                <a16:creationId xmlns:a16="http://schemas.microsoft.com/office/drawing/2014/main" id="{134FB468-D9D9-CE74-160F-CAE980F40A01}"/>
              </a:ext>
            </a:extLst>
          </p:cNvPr>
          <p:cNvSpPr>
            <a:spLocks noGrp="1"/>
          </p:cNvSpPr>
          <p:nvPr>
            <p:ph type="body" sz="quarter" idx="48"/>
          </p:nvPr>
        </p:nvSpPr>
        <p:spPr>
          <a:xfrm>
            <a:off x="3398311" y="4191734"/>
            <a:ext cx="2584447" cy="1512248"/>
          </a:xfrm>
          <a:prstGeom prst="rect">
            <a:avLst/>
          </a:prstGeom>
        </p:spPr>
        <p:txBody>
          <a:bodyPr tIns="0" bIns="0">
            <a:noAutofit/>
          </a:bodyPr>
          <a:lstStyle>
            <a:lvl1pPr marL="0" indent="0" algn="ctr">
              <a:buNone/>
              <a:defRPr sz="16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26" name="Oval 25">
            <a:extLst>
              <a:ext uri="{FF2B5EF4-FFF2-40B4-BE49-F238E27FC236}">
                <a16:creationId xmlns:a16="http://schemas.microsoft.com/office/drawing/2014/main" id="{2BC5B901-E405-F8D7-B468-EF12534F70A7}"/>
              </a:ext>
            </a:extLst>
          </p:cNvPr>
          <p:cNvSpPr/>
          <p:nvPr userDrawn="1"/>
        </p:nvSpPr>
        <p:spPr>
          <a:xfrm>
            <a:off x="6710822" y="1735993"/>
            <a:ext cx="1581292" cy="1581292"/>
          </a:xfrm>
          <a:prstGeom prst="ellipse">
            <a:avLst/>
          </a:prstGeom>
          <a:noFill/>
          <a:ln w="762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7" name="Text Placeholder 14">
            <a:extLst>
              <a:ext uri="{FF2B5EF4-FFF2-40B4-BE49-F238E27FC236}">
                <a16:creationId xmlns:a16="http://schemas.microsoft.com/office/drawing/2014/main" id="{7AE31375-8DF6-7D38-FF8B-0AFF50776C7E}"/>
              </a:ext>
            </a:extLst>
          </p:cNvPr>
          <p:cNvSpPr>
            <a:spLocks noGrp="1"/>
          </p:cNvSpPr>
          <p:nvPr>
            <p:ph type="body" sz="quarter" idx="49" hasCustomPrompt="1"/>
          </p:nvPr>
        </p:nvSpPr>
        <p:spPr>
          <a:xfrm>
            <a:off x="6710822" y="1735993"/>
            <a:ext cx="1581292" cy="1581292"/>
          </a:xfrm>
          <a:prstGeom prst="arc">
            <a:avLst>
              <a:gd name="adj1" fmla="val 16200000"/>
              <a:gd name="adj2" fmla="val 13391445"/>
            </a:avLst>
          </a:prstGeom>
          <a:noFill/>
          <a:ln w="762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algn="ctr">
              <a:defRPr lang="en-GB" sz="1000" dirty="0">
                <a:solidFill>
                  <a:schemeClr val="tx1"/>
                </a:solidFill>
              </a:defRPr>
            </a:lvl1pPr>
          </a:lstStyle>
          <a:p>
            <a:pPr lvl="0" algn="ctr" defTabSz="914400"/>
            <a:r>
              <a:rPr lang="en-US" dirty="0"/>
              <a:t> </a:t>
            </a:r>
            <a:endParaRPr lang="en-GB" dirty="0"/>
          </a:p>
        </p:txBody>
      </p:sp>
      <p:sp>
        <p:nvSpPr>
          <p:cNvPr id="28" name="Text Placeholder 6">
            <a:extLst>
              <a:ext uri="{FF2B5EF4-FFF2-40B4-BE49-F238E27FC236}">
                <a16:creationId xmlns:a16="http://schemas.microsoft.com/office/drawing/2014/main" id="{A9F3FB69-FD5E-FB1B-71E8-126089921296}"/>
              </a:ext>
            </a:extLst>
          </p:cNvPr>
          <p:cNvSpPr>
            <a:spLocks noGrp="1"/>
          </p:cNvSpPr>
          <p:nvPr>
            <p:ph type="body" sz="quarter" idx="50" hasCustomPrompt="1"/>
          </p:nvPr>
        </p:nvSpPr>
        <p:spPr>
          <a:xfrm>
            <a:off x="6871888" y="2156298"/>
            <a:ext cx="1259160" cy="760184"/>
          </a:xfrm>
        </p:spPr>
        <p:txBody>
          <a:bodyPr anchor="ctr">
            <a:noAutofit/>
          </a:bodyPr>
          <a:lstStyle>
            <a:lvl1pPr marL="0" indent="0" algn="ctr">
              <a:buNone/>
              <a:defRPr sz="2800" b="1">
                <a:solidFill>
                  <a:schemeClr val="tx1"/>
                </a:solidFill>
                <a:latin typeface="+mj-lt"/>
              </a:defRPr>
            </a:lvl1pPr>
          </a:lstStyle>
          <a:p>
            <a:pPr lvl="0"/>
            <a:r>
              <a:rPr lang="en-US" dirty="0"/>
              <a:t>xx%</a:t>
            </a:r>
          </a:p>
        </p:txBody>
      </p:sp>
      <p:sp>
        <p:nvSpPr>
          <p:cNvPr id="29" name="Text Placeholder 29">
            <a:extLst>
              <a:ext uri="{FF2B5EF4-FFF2-40B4-BE49-F238E27FC236}">
                <a16:creationId xmlns:a16="http://schemas.microsoft.com/office/drawing/2014/main" id="{F87C084B-36BB-9476-B80C-744F7BE4FED2}"/>
              </a:ext>
            </a:extLst>
          </p:cNvPr>
          <p:cNvSpPr>
            <a:spLocks noGrp="1"/>
          </p:cNvSpPr>
          <p:nvPr>
            <p:ph type="body" sz="quarter" idx="51"/>
          </p:nvPr>
        </p:nvSpPr>
        <p:spPr>
          <a:xfrm>
            <a:off x="6209245" y="3566635"/>
            <a:ext cx="2584447" cy="553099"/>
          </a:xfrm>
          <a:prstGeom prst="rect">
            <a:avLst/>
          </a:prstGeom>
        </p:spPr>
        <p:txBody>
          <a:bodyPr tIns="0" bIns="0" anchor="b">
            <a:noAutofit/>
          </a:bodyPr>
          <a:lstStyle>
            <a:lvl1pPr marL="0" indent="0" algn="ctr">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30" name="Text Placeholder 29">
            <a:extLst>
              <a:ext uri="{FF2B5EF4-FFF2-40B4-BE49-F238E27FC236}">
                <a16:creationId xmlns:a16="http://schemas.microsoft.com/office/drawing/2014/main" id="{9F959F4C-7A2A-06AD-17DD-4B2E59F4DF05}"/>
              </a:ext>
            </a:extLst>
          </p:cNvPr>
          <p:cNvSpPr>
            <a:spLocks noGrp="1"/>
          </p:cNvSpPr>
          <p:nvPr>
            <p:ph type="body" sz="quarter" idx="52"/>
          </p:nvPr>
        </p:nvSpPr>
        <p:spPr>
          <a:xfrm>
            <a:off x="6209245" y="4191734"/>
            <a:ext cx="2584447" cy="1512248"/>
          </a:xfrm>
          <a:prstGeom prst="rect">
            <a:avLst/>
          </a:prstGeom>
        </p:spPr>
        <p:txBody>
          <a:bodyPr tIns="0" bIns="0">
            <a:noAutofit/>
          </a:bodyPr>
          <a:lstStyle>
            <a:lvl1pPr marL="0" indent="0" algn="ctr">
              <a:buNone/>
              <a:defRPr sz="16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31" name="Oval 30">
            <a:extLst>
              <a:ext uri="{FF2B5EF4-FFF2-40B4-BE49-F238E27FC236}">
                <a16:creationId xmlns:a16="http://schemas.microsoft.com/office/drawing/2014/main" id="{C4E01475-5550-5308-AF7E-15B3DFA38059}"/>
              </a:ext>
            </a:extLst>
          </p:cNvPr>
          <p:cNvSpPr/>
          <p:nvPr userDrawn="1"/>
        </p:nvSpPr>
        <p:spPr>
          <a:xfrm>
            <a:off x="9521755" y="1735993"/>
            <a:ext cx="1581292" cy="1581292"/>
          </a:xfrm>
          <a:prstGeom prst="ellipse">
            <a:avLst/>
          </a:prstGeom>
          <a:noFill/>
          <a:ln w="762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2" name="Text Placeholder 14">
            <a:extLst>
              <a:ext uri="{FF2B5EF4-FFF2-40B4-BE49-F238E27FC236}">
                <a16:creationId xmlns:a16="http://schemas.microsoft.com/office/drawing/2014/main" id="{3A6DDA42-B49F-7CE3-D280-F6C3AC46970C}"/>
              </a:ext>
            </a:extLst>
          </p:cNvPr>
          <p:cNvSpPr>
            <a:spLocks noGrp="1"/>
          </p:cNvSpPr>
          <p:nvPr>
            <p:ph type="body" sz="quarter" idx="53" hasCustomPrompt="1"/>
          </p:nvPr>
        </p:nvSpPr>
        <p:spPr>
          <a:xfrm>
            <a:off x="9521755" y="1735993"/>
            <a:ext cx="1581292" cy="1581292"/>
          </a:xfrm>
          <a:prstGeom prst="arc">
            <a:avLst>
              <a:gd name="adj1" fmla="val 16200000"/>
              <a:gd name="adj2" fmla="val 13391445"/>
            </a:avLst>
          </a:prstGeom>
          <a:noFill/>
          <a:ln w="762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algn="ctr">
              <a:defRPr lang="en-GB" sz="1000" dirty="0">
                <a:solidFill>
                  <a:schemeClr val="tx1"/>
                </a:solidFill>
              </a:defRPr>
            </a:lvl1pPr>
          </a:lstStyle>
          <a:p>
            <a:pPr lvl="0" algn="ctr" defTabSz="914400"/>
            <a:r>
              <a:rPr lang="en-US" dirty="0"/>
              <a:t> </a:t>
            </a:r>
            <a:endParaRPr lang="en-GB" dirty="0"/>
          </a:p>
        </p:txBody>
      </p:sp>
      <p:sp>
        <p:nvSpPr>
          <p:cNvPr id="33" name="Text Placeholder 6">
            <a:extLst>
              <a:ext uri="{FF2B5EF4-FFF2-40B4-BE49-F238E27FC236}">
                <a16:creationId xmlns:a16="http://schemas.microsoft.com/office/drawing/2014/main" id="{0A097F08-88D7-A010-3509-A554FC81FFFA}"/>
              </a:ext>
            </a:extLst>
          </p:cNvPr>
          <p:cNvSpPr>
            <a:spLocks noGrp="1"/>
          </p:cNvSpPr>
          <p:nvPr>
            <p:ph type="body" sz="quarter" idx="54" hasCustomPrompt="1"/>
          </p:nvPr>
        </p:nvSpPr>
        <p:spPr>
          <a:xfrm>
            <a:off x="9682821" y="2156298"/>
            <a:ext cx="1259160" cy="760184"/>
          </a:xfrm>
        </p:spPr>
        <p:txBody>
          <a:bodyPr anchor="ctr">
            <a:noAutofit/>
          </a:bodyPr>
          <a:lstStyle>
            <a:lvl1pPr marL="0" indent="0" algn="ctr">
              <a:buNone/>
              <a:defRPr sz="2800" b="1">
                <a:solidFill>
                  <a:schemeClr val="tx1"/>
                </a:solidFill>
                <a:latin typeface="+mj-lt"/>
              </a:defRPr>
            </a:lvl1pPr>
          </a:lstStyle>
          <a:p>
            <a:pPr lvl="0"/>
            <a:r>
              <a:rPr lang="en-US" dirty="0"/>
              <a:t>xx%</a:t>
            </a:r>
          </a:p>
        </p:txBody>
      </p:sp>
      <p:sp>
        <p:nvSpPr>
          <p:cNvPr id="34" name="Text Placeholder 29">
            <a:extLst>
              <a:ext uri="{FF2B5EF4-FFF2-40B4-BE49-F238E27FC236}">
                <a16:creationId xmlns:a16="http://schemas.microsoft.com/office/drawing/2014/main" id="{1BD7CF50-58D1-87B1-841E-E21B253549DB}"/>
              </a:ext>
            </a:extLst>
          </p:cNvPr>
          <p:cNvSpPr>
            <a:spLocks noGrp="1"/>
          </p:cNvSpPr>
          <p:nvPr>
            <p:ph type="body" sz="quarter" idx="55"/>
          </p:nvPr>
        </p:nvSpPr>
        <p:spPr>
          <a:xfrm>
            <a:off x="9020178" y="3566635"/>
            <a:ext cx="2584447" cy="553099"/>
          </a:xfrm>
          <a:prstGeom prst="rect">
            <a:avLst/>
          </a:prstGeom>
        </p:spPr>
        <p:txBody>
          <a:bodyPr tIns="0" bIns="0" anchor="b">
            <a:noAutofit/>
          </a:bodyPr>
          <a:lstStyle>
            <a:lvl1pPr marL="0" indent="0" algn="ctr">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35" name="Text Placeholder 29">
            <a:extLst>
              <a:ext uri="{FF2B5EF4-FFF2-40B4-BE49-F238E27FC236}">
                <a16:creationId xmlns:a16="http://schemas.microsoft.com/office/drawing/2014/main" id="{38B6C0F0-5AF6-CF29-4B27-DF99ABC8C338}"/>
              </a:ext>
            </a:extLst>
          </p:cNvPr>
          <p:cNvSpPr>
            <a:spLocks noGrp="1"/>
          </p:cNvSpPr>
          <p:nvPr>
            <p:ph type="body" sz="quarter" idx="56"/>
          </p:nvPr>
        </p:nvSpPr>
        <p:spPr>
          <a:xfrm>
            <a:off x="9020178" y="4191734"/>
            <a:ext cx="2584447" cy="1512248"/>
          </a:xfrm>
          <a:prstGeom prst="rect">
            <a:avLst/>
          </a:prstGeom>
        </p:spPr>
        <p:txBody>
          <a:bodyPr tIns="0" bIns="0">
            <a:noAutofit/>
          </a:bodyPr>
          <a:lstStyle>
            <a:lvl1pPr marL="0" indent="0" algn="ctr">
              <a:buNone/>
              <a:defRPr sz="16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Tree>
    <p:extLst>
      <p:ext uri="{BB962C8B-B14F-4D97-AF65-F5344CB8AC3E}">
        <p14:creationId xmlns:p14="http://schemas.microsoft.com/office/powerpoint/2010/main" val="562165496"/>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 Chart C44V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6477C-8D55-B4B8-85DD-DAF85A20D8C5}"/>
              </a:ext>
            </a:extLst>
          </p:cNvPr>
          <p:cNvSpPr>
            <a:spLocks noGrp="1"/>
          </p:cNvSpPr>
          <p:nvPr>
            <p:ph type="title"/>
          </p:nvPr>
        </p:nvSpPr>
        <p:spPr>
          <a:xfrm>
            <a:off x="731443" y="586105"/>
            <a:ext cx="10873182" cy="709295"/>
          </a:xfrm>
        </p:spPr>
        <p:txBody>
          <a:bodyPr anchor="t">
            <a:noAutofit/>
          </a:bodyPr>
          <a:lstStyle>
            <a:lvl1pPr>
              <a:defRPr>
                <a:solidFill>
                  <a:schemeClr val="tx1"/>
                </a:solidFill>
              </a:defRPr>
            </a:lvl1pPr>
          </a:lstStyle>
          <a:p>
            <a:r>
              <a:rPr lang="en-US" dirty="0"/>
              <a:t>Click to edit Master title style</a:t>
            </a:r>
            <a:endParaRPr lang="en-ID" dirty="0"/>
          </a:p>
        </p:txBody>
      </p:sp>
      <p:sp>
        <p:nvSpPr>
          <p:cNvPr id="11" name="Slide Number Placeholder 5">
            <a:extLst>
              <a:ext uri="{FF2B5EF4-FFF2-40B4-BE49-F238E27FC236}">
                <a16:creationId xmlns:a16="http://schemas.microsoft.com/office/drawing/2014/main" id="{752E3F75-A181-1CEF-4892-A00A828F0DEC}"/>
              </a:ext>
            </a:extLst>
          </p:cNvPr>
          <p:cNvSpPr>
            <a:spLocks noGrp="1"/>
          </p:cNvSpPr>
          <p:nvPr>
            <p:ph type="sldNum" sz="quarter" idx="4"/>
          </p:nvPr>
        </p:nvSpPr>
        <p:spPr>
          <a:xfrm>
            <a:off x="11058525" y="6409951"/>
            <a:ext cx="546100" cy="273799"/>
          </a:xfrm>
          <a:prstGeom prst="rect">
            <a:avLst/>
          </a:prstGeom>
        </p:spPr>
        <p:txBody>
          <a:bodyPr vert="horz" lIns="91440" tIns="45720" rIns="91440" bIns="45720" rtlCol="0" anchor="b"/>
          <a:lstStyle>
            <a:lvl1pPr algn="r">
              <a:defRPr sz="1200">
                <a:solidFill>
                  <a:schemeClr val="tx1"/>
                </a:solidFill>
                <a:latin typeface="+mn-lt"/>
              </a:defRPr>
            </a:lvl1pPr>
          </a:lstStyle>
          <a:p>
            <a:fld id="{5E0C3BBE-9543-48E5-A6E1-C646F9A01966}" type="slidenum">
              <a:rPr lang="en-ID" smtClean="0"/>
              <a:pPr/>
              <a:t>‹#›</a:t>
            </a:fld>
            <a:endParaRPr lang="en-ID" dirty="0"/>
          </a:p>
        </p:txBody>
      </p:sp>
      <p:cxnSp>
        <p:nvCxnSpPr>
          <p:cNvPr id="16" name="Straight Connector 15">
            <a:extLst>
              <a:ext uri="{FF2B5EF4-FFF2-40B4-BE49-F238E27FC236}">
                <a16:creationId xmlns:a16="http://schemas.microsoft.com/office/drawing/2014/main" id="{0657BBCF-CA9E-FB2C-CA76-82D2795FF965}"/>
              </a:ext>
            </a:extLst>
          </p:cNvPr>
          <p:cNvCxnSpPr>
            <a:cxnSpLocks/>
          </p:cNvCxnSpPr>
          <p:nvPr userDrawn="1"/>
        </p:nvCxnSpPr>
        <p:spPr>
          <a:xfrm>
            <a:off x="587375" y="585690"/>
            <a:ext cx="0" cy="70971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Footer Placeholder 4">
            <a:extLst>
              <a:ext uri="{FF2B5EF4-FFF2-40B4-BE49-F238E27FC236}">
                <a16:creationId xmlns:a16="http://schemas.microsoft.com/office/drawing/2014/main" id="{FC465D62-3382-034B-3BC4-9FA6DDBCBF3D}"/>
              </a:ext>
            </a:extLst>
          </p:cNvPr>
          <p:cNvSpPr>
            <a:spLocks noGrp="1"/>
          </p:cNvSpPr>
          <p:nvPr>
            <p:ph type="ftr" sz="quarter" idx="3"/>
          </p:nvPr>
        </p:nvSpPr>
        <p:spPr>
          <a:xfrm>
            <a:off x="584200" y="6364288"/>
            <a:ext cx="5511800" cy="365125"/>
          </a:xfrm>
          <a:prstGeom prst="rect">
            <a:avLst/>
          </a:prstGeom>
        </p:spPr>
        <p:txBody>
          <a:bodyPr vert="horz" lIns="91440" tIns="45720" rIns="91440" bIns="45720" rtlCol="0" anchor="ctr"/>
          <a:lstStyle>
            <a:lvl1pPr algn="l">
              <a:defRPr lang="en-GB" sz="1200">
                <a:solidFill>
                  <a:schemeClr val="tx1"/>
                </a:solidFill>
              </a:defRPr>
            </a:lvl1pPr>
          </a:lstStyle>
          <a:p>
            <a:r>
              <a:rPr lang="en-US"/>
              <a:t>PRESENTATION TITLE</a:t>
            </a:r>
            <a:endParaRPr lang="en-US" dirty="0"/>
          </a:p>
        </p:txBody>
      </p:sp>
      <p:sp>
        <p:nvSpPr>
          <p:cNvPr id="3" name="Chart Placeholder 6">
            <a:extLst>
              <a:ext uri="{FF2B5EF4-FFF2-40B4-BE49-F238E27FC236}">
                <a16:creationId xmlns:a16="http://schemas.microsoft.com/office/drawing/2014/main" id="{FF1F41E4-7D9B-768A-6C4F-63DD59094511}"/>
              </a:ext>
            </a:extLst>
          </p:cNvPr>
          <p:cNvSpPr>
            <a:spLocks noGrp="1"/>
          </p:cNvSpPr>
          <p:nvPr>
            <p:ph type="chart" sz="quarter" idx="41"/>
          </p:nvPr>
        </p:nvSpPr>
        <p:spPr>
          <a:xfrm>
            <a:off x="587374" y="1636713"/>
            <a:ext cx="4632325" cy="4067175"/>
          </a:xfrm>
          <a:solidFill>
            <a:schemeClr val="accent2">
              <a:lumMod val="20000"/>
              <a:lumOff val="80000"/>
            </a:schemeClr>
          </a:solidFill>
        </p:spPr>
        <p:txBody>
          <a:bodyPr vert="horz" lIns="91440" tIns="45720" rIns="91440" bIns="45720" rtlCol="0" anchor="t">
            <a:normAutofit/>
          </a:bodyPr>
          <a:lstStyle>
            <a:lvl1pPr>
              <a:defRPr lang="en-GB" sz="1333">
                <a:solidFill>
                  <a:schemeClr val="tx1"/>
                </a:solidFill>
              </a:defRPr>
            </a:lvl1pPr>
          </a:lstStyle>
          <a:p>
            <a:pPr lvl="0" algn="ctr"/>
            <a:endParaRPr lang="en-GB"/>
          </a:p>
        </p:txBody>
      </p:sp>
      <p:sp>
        <p:nvSpPr>
          <p:cNvPr id="5" name="Text Placeholder 29">
            <a:extLst>
              <a:ext uri="{FF2B5EF4-FFF2-40B4-BE49-F238E27FC236}">
                <a16:creationId xmlns:a16="http://schemas.microsoft.com/office/drawing/2014/main" id="{D425B81B-0AA8-71EA-DCA8-A9F3FF3E7B60}"/>
              </a:ext>
            </a:extLst>
          </p:cNvPr>
          <p:cNvSpPr>
            <a:spLocks noGrp="1"/>
          </p:cNvSpPr>
          <p:nvPr>
            <p:ph type="body" sz="quarter" idx="48"/>
          </p:nvPr>
        </p:nvSpPr>
        <p:spPr>
          <a:xfrm>
            <a:off x="6972300" y="1636713"/>
            <a:ext cx="4632325" cy="553099"/>
          </a:xfrm>
          <a:prstGeom prst="rect">
            <a:avLst/>
          </a:prstGeom>
        </p:spPr>
        <p:txBody>
          <a:bodyPr tIns="0" bIns="0" anchor="b">
            <a:noAutofit/>
          </a:bodyPr>
          <a:lstStyle>
            <a:lvl1pPr marL="0" indent="0" algn="l">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6" name="Text Placeholder 29">
            <a:extLst>
              <a:ext uri="{FF2B5EF4-FFF2-40B4-BE49-F238E27FC236}">
                <a16:creationId xmlns:a16="http://schemas.microsoft.com/office/drawing/2014/main" id="{18765DFA-C25A-9B6D-BBB1-2893362F9CA1}"/>
              </a:ext>
            </a:extLst>
          </p:cNvPr>
          <p:cNvSpPr>
            <a:spLocks noGrp="1"/>
          </p:cNvSpPr>
          <p:nvPr>
            <p:ph type="body" sz="quarter" idx="49"/>
          </p:nvPr>
        </p:nvSpPr>
        <p:spPr>
          <a:xfrm>
            <a:off x="6972300" y="2261812"/>
            <a:ext cx="4632325" cy="3442075"/>
          </a:xfrm>
          <a:prstGeom prst="rect">
            <a:avLst/>
          </a:prstGeom>
        </p:spPr>
        <p:txBody>
          <a:bodyPr tIns="0" bIns="0">
            <a:noAutofit/>
          </a:bodyPr>
          <a:lstStyle>
            <a:lvl1pPr marL="0" indent="0" algn="l">
              <a:buNone/>
              <a:defRPr sz="16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Tree>
    <p:extLst>
      <p:ext uri="{BB962C8B-B14F-4D97-AF65-F5344CB8AC3E}">
        <p14:creationId xmlns:p14="http://schemas.microsoft.com/office/powerpoint/2010/main" val="3435561895"/>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 Chart C44V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6477C-8D55-B4B8-85DD-DAF85A20D8C5}"/>
              </a:ext>
            </a:extLst>
          </p:cNvPr>
          <p:cNvSpPr>
            <a:spLocks noGrp="1"/>
          </p:cNvSpPr>
          <p:nvPr>
            <p:ph type="title"/>
          </p:nvPr>
        </p:nvSpPr>
        <p:spPr>
          <a:xfrm>
            <a:off x="731443" y="586105"/>
            <a:ext cx="10873182" cy="709295"/>
          </a:xfrm>
        </p:spPr>
        <p:txBody>
          <a:bodyPr anchor="t">
            <a:noAutofit/>
          </a:bodyPr>
          <a:lstStyle>
            <a:lvl1pPr>
              <a:defRPr>
                <a:solidFill>
                  <a:schemeClr val="tx1"/>
                </a:solidFill>
              </a:defRPr>
            </a:lvl1pPr>
          </a:lstStyle>
          <a:p>
            <a:r>
              <a:rPr lang="en-US" dirty="0"/>
              <a:t>Click to edit Master title style</a:t>
            </a:r>
            <a:endParaRPr lang="en-ID" dirty="0"/>
          </a:p>
        </p:txBody>
      </p:sp>
      <p:sp>
        <p:nvSpPr>
          <p:cNvPr id="11" name="Slide Number Placeholder 5">
            <a:extLst>
              <a:ext uri="{FF2B5EF4-FFF2-40B4-BE49-F238E27FC236}">
                <a16:creationId xmlns:a16="http://schemas.microsoft.com/office/drawing/2014/main" id="{752E3F75-A181-1CEF-4892-A00A828F0DEC}"/>
              </a:ext>
            </a:extLst>
          </p:cNvPr>
          <p:cNvSpPr>
            <a:spLocks noGrp="1"/>
          </p:cNvSpPr>
          <p:nvPr>
            <p:ph type="sldNum" sz="quarter" idx="4"/>
          </p:nvPr>
        </p:nvSpPr>
        <p:spPr>
          <a:xfrm>
            <a:off x="11058525" y="6409951"/>
            <a:ext cx="546100" cy="273799"/>
          </a:xfrm>
          <a:prstGeom prst="rect">
            <a:avLst/>
          </a:prstGeom>
        </p:spPr>
        <p:txBody>
          <a:bodyPr vert="horz" lIns="91440" tIns="45720" rIns="91440" bIns="45720" rtlCol="0" anchor="b"/>
          <a:lstStyle>
            <a:lvl1pPr algn="r">
              <a:defRPr sz="1200">
                <a:solidFill>
                  <a:schemeClr val="tx1"/>
                </a:solidFill>
                <a:latin typeface="+mn-lt"/>
              </a:defRPr>
            </a:lvl1pPr>
          </a:lstStyle>
          <a:p>
            <a:fld id="{5E0C3BBE-9543-48E5-A6E1-C646F9A01966}" type="slidenum">
              <a:rPr lang="en-ID" smtClean="0"/>
              <a:pPr/>
              <a:t>‹#›</a:t>
            </a:fld>
            <a:endParaRPr lang="en-ID" dirty="0"/>
          </a:p>
        </p:txBody>
      </p:sp>
      <p:cxnSp>
        <p:nvCxnSpPr>
          <p:cNvPr id="16" name="Straight Connector 15">
            <a:extLst>
              <a:ext uri="{FF2B5EF4-FFF2-40B4-BE49-F238E27FC236}">
                <a16:creationId xmlns:a16="http://schemas.microsoft.com/office/drawing/2014/main" id="{0657BBCF-CA9E-FB2C-CA76-82D2795FF965}"/>
              </a:ext>
            </a:extLst>
          </p:cNvPr>
          <p:cNvCxnSpPr>
            <a:cxnSpLocks/>
          </p:cNvCxnSpPr>
          <p:nvPr userDrawn="1"/>
        </p:nvCxnSpPr>
        <p:spPr>
          <a:xfrm>
            <a:off x="587375" y="585690"/>
            <a:ext cx="0" cy="70971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Footer Placeholder 4">
            <a:extLst>
              <a:ext uri="{FF2B5EF4-FFF2-40B4-BE49-F238E27FC236}">
                <a16:creationId xmlns:a16="http://schemas.microsoft.com/office/drawing/2014/main" id="{FC465D62-3382-034B-3BC4-9FA6DDBCBF3D}"/>
              </a:ext>
            </a:extLst>
          </p:cNvPr>
          <p:cNvSpPr>
            <a:spLocks noGrp="1"/>
          </p:cNvSpPr>
          <p:nvPr>
            <p:ph type="ftr" sz="quarter" idx="3"/>
          </p:nvPr>
        </p:nvSpPr>
        <p:spPr>
          <a:xfrm>
            <a:off x="584200" y="6364288"/>
            <a:ext cx="5511800" cy="365125"/>
          </a:xfrm>
          <a:prstGeom prst="rect">
            <a:avLst/>
          </a:prstGeom>
        </p:spPr>
        <p:txBody>
          <a:bodyPr vert="horz" lIns="91440" tIns="45720" rIns="91440" bIns="45720" rtlCol="0" anchor="ctr"/>
          <a:lstStyle>
            <a:lvl1pPr algn="l">
              <a:defRPr lang="en-GB" sz="1200">
                <a:solidFill>
                  <a:schemeClr val="tx1"/>
                </a:solidFill>
              </a:defRPr>
            </a:lvl1pPr>
          </a:lstStyle>
          <a:p>
            <a:r>
              <a:rPr lang="en-US"/>
              <a:t>PRESENTATION TITLE</a:t>
            </a:r>
            <a:endParaRPr lang="en-US" dirty="0"/>
          </a:p>
        </p:txBody>
      </p:sp>
      <p:sp>
        <p:nvSpPr>
          <p:cNvPr id="3" name="Chart Placeholder 6">
            <a:extLst>
              <a:ext uri="{FF2B5EF4-FFF2-40B4-BE49-F238E27FC236}">
                <a16:creationId xmlns:a16="http://schemas.microsoft.com/office/drawing/2014/main" id="{FF1F41E4-7D9B-768A-6C4F-63DD59094511}"/>
              </a:ext>
            </a:extLst>
          </p:cNvPr>
          <p:cNvSpPr>
            <a:spLocks noGrp="1"/>
          </p:cNvSpPr>
          <p:nvPr>
            <p:ph type="chart" sz="quarter" idx="41"/>
          </p:nvPr>
        </p:nvSpPr>
        <p:spPr>
          <a:xfrm>
            <a:off x="6975475" y="1636713"/>
            <a:ext cx="4632325" cy="4067175"/>
          </a:xfrm>
          <a:solidFill>
            <a:schemeClr val="accent2">
              <a:lumMod val="20000"/>
              <a:lumOff val="80000"/>
            </a:schemeClr>
          </a:solidFill>
        </p:spPr>
        <p:txBody>
          <a:bodyPr vert="horz" lIns="91440" tIns="45720" rIns="91440" bIns="45720" rtlCol="0" anchor="t">
            <a:normAutofit/>
          </a:bodyPr>
          <a:lstStyle>
            <a:lvl1pPr>
              <a:defRPr lang="en-GB" sz="1333">
                <a:solidFill>
                  <a:schemeClr val="tx1"/>
                </a:solidFill>
              </a:defRPr>
            </a:lvl1pPr>
          </a:lstStyle>
          <a:p>
            <a:pPr lvl="0" algn="ctr"/>
            <a:endParaRPr lang="en-GB"/>
          </a:p>
        </p:txBody>
      </p:sp>
      <p:sp>
        <p:nvSpPr>
          <p:cNvPr id="4" name="Text Placeholder 29">
            <a:extLst>
              <a:ext uri="{FF2B5EF4-FFF2-40B4-BE49-F238E27FC236}">
                <a16:creationId xmlns:a16="http://schemas.microsoft.com/office/drawing/2014/main" id="{D425B81B-0AA8-71EA-DCA8-A9F3FF3E7B60}"/>
              </a:ext>
            </a:extLst>
          </p:cNvPr>
          <p:cNvSpPr>
            <a:spLocks noGrp="1"/>
          </p:cNvSpPr>
          <p:nvPr>
            <p:ph type="body" sz="quarter" idx="48"/>
          </p:nvPr>
        </p:nvSpPr>
        <p:spPr>
          <a:xfrm>
            <a:off x="587374" y="1636713"/>
            <a:ext cx="4632325" cy="553099"/>
          </a:xfrm>
          <a:prstGeom prst="rect">
            <a:avLst/>
          </a:prstGeom>
        </p:spPr>
        <p:txBody>
          <a:bodyPr tIns="0" bIns="0" anchor="b">
            <a:noAutofit/>
          </a:bodyPr>
          <a:lstStyle>
            <a:lvl1pPr marL="0" indent="0" algn="l">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7" name="Text Placeholder 29">
            <a:extLst>
              <a:ext uri="{FF2B5EF4-FFF2-40B4-BE49-F238E27FC236}">
                <a16:creationId xmlns:a16="http://schemas.microsoft.com/office/drawing/2014/main" id="{18765DFA-C25A-9B6D-BBB1-2893362F9CA1}"/>
              </a:ext>
            </a:extLst>
          </p:cNvPr>
          <p:cNvSpPr>
            <a:spLocks noGrp="1"/>
          </p:cNvSpPr>
          <p:nvPr>
            <p:ph type="body" sz="quarter" idx="49"/>
          </p:nvPr>
        </p:nvSpPr>
        <p:spPr>
          <a:xfrm>
            <a:off x="587374" y="2261812"/>
            <a:ext cx="4632325" cy="3442075"/>
          </a:xfrm>
          <a:prstGeom prst="rect">
            <a:avLst/>
          </a:prstGeom>
        </p:spPr>
        <p:txBody>
          <a:bodyPr tIns="0" bIns="0">
            <a:noAutofit/>
          </a:bodyPr>
          <a:lstStyle>
            <a:lvl1pPr marL="0" indent="0" algn="l">
              <a:buNone/>
              <a:defRPr sz="16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Tree>
    <p:extLst>
      <p:ext uri="{BB962C8B-B14F-4D97-AF65-F5344CB8AC3E}">
        <p14:creationId xmlns:p14="http://schemas.microsoft.com/office/powerpoint/2010/main" val="1675689716"/>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meline I60V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6477C-8D55-B4B8-85DD-DAF85A20D8C5}"/>
              </a:ext>
            </a:extLst>
          </p:cNvPr>
          <p:cNvSpPr>
            <a:spLocks noGrp="1"/>
          </p:cNvSpPr>
          <p:nvPr>
            <p:ph type="title"/>
          </p:nvPr>
        </p:nvSpPr>
        <p:spPr>
          <a:xfrm>
            <a:off x="731443" y="586105"/>
            <a:ext cx="10873182" cy="709295"/>
          </a:xfrm>
        </p:spPr>
        <p:txBody>
          <a:bodyPr anchor="t">
            <a:noAutofit/>
          </a:bodyPr>
          <a:lstStyle>
            <a:lvl1pPr>
              <a:defRPr>
                <a:solidFill>
                  <a:schemeClr val="tx1"/>
                </a:solidFill>
              </a:defRPr>
            </a:lvl1pPr>
          </a:lstStyle>
          <a:p>
            <a:r>
              <a:rPr lang="en-US" dirty="0"/>
              <a:t>Click to edit Master title style</a:t>
            </a:r>
            <a:endParaRPr lang="en-ID" dirty="0"/>
          </a:p>
        </p:txBody>
      </p:sp>
      <p:sp>
        <p:nvSpPr>
          <p:cNvPr id="11" name="Slide Number Placeholder 5">
            <a:extLst>
              <a:ext uri="{FF2B5EF4-FFF2-40B4-BE49-F238E27FC236}">
                <a16:creationId xmlns:a16="http://schemas.microsoft.com/office/drawing/2014/main" id="{752E3F75-A181-1CEF-4892-A00A828F0DEC}"/>
              </a:ext>
            </a:extLst>
          </p:cNvPr>
          <p:cNvSpPr>
            <a:spLocks noGrp="1"/>
          </p:cNvSpPr>
          <p:nvPr>
            <p:ph type="sldNum" sz="quarter" idx="4"/>
          </p:nvPr>
        </p:nvSpPr>
        <p:spPr>
          <a:xfrm>
            <a:off x="11058525" y="6409951"/>
            <a:ext cx="546100" cy="273799"/>
          </a:xfrm>
          <a:prstGeom prst="rect">
            <a:avLst/>
          </a:prstGeom>
        </p:spPr>
        <p:txBody>
          <a:bodyPr vert="horz" lIns="91440" tIns="45720" rIns="91440" bIns="45720" rtlCol="0" anchor="b"/>
          <a:lstStyle>
            <a:lvl1pPr algn="r">
              <a:defRPr sz="1200">
                <a:solidFill>
                  <a:schemeClr val="tx1"/>
                </a:solidFill>
                <a:latin typeface="+mn-lt"/>
              </a:defRPr>
            </a:lvl1pPr>
          </a:lstStyle>
          <a:p>
            <a:fld id="{5E0C3BBE-9543-48E5-A6E1-C646F9A01966}" type="slidenum">
              <a:rPr lang="en-ID" smtClean="0"/>
              <a:pPr/>
              <a:t>‹#›</a:t>
            </a:fld>
            <a:endParaRPr lang="en-ID" dirty="0"/>
          </a:p>
        </p:txBody>
      </p:sp>
      <p:cxnSp>
        <p:nvCxnSpPr>
          <p:cNvPr id="16" name="Straight Connector 15">
            <a:extLst>
              <a:ext uri="{FF2B5EF4-FFF2-40B4-BE49-F238E27FC236}">
                <a16:creationId xmlns:a16="http://schemas.microsoft.com/office/drawing/2014/main" id="{0657BBCF-CA9E-FB2C-CA76-82D2795FF965}"/>
              </a:ext>
            </a:extLst>
          </p:cNvPr>
          <p:cNvCxnSpPr>
            <a:cxnSpLocks/>
          </p:cNvCxnSpPr>
          <p:nvPr userDrawn="1"/>
        </p:nvCxnSpPr>
        <p:spPr>
          <a:xfrm>
            <a:off x="587375" y="585690"/>
            <a:ext cx="0" cy="70971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Footer Placeholder 4">
            <a:extLst>
              <a:ext uri="{FF2B5EF4-FFF2-40B4-BE49-F238E27FC236}">
                <a16:creationId xmlns:a16="http://schemas.microsoft.com/office/drawing/2014/main" id="{FC465D62-3382-034B-3BC4-9FA6DDBCBF3D}"/>
              </a:ext>
            </a:extLst>
          </p:cNvPr>
          <p:cNvSpPr>
            <a:spLocks noGrp="1"/>
          </p:cNvSpPr>
          <p:nvPr>
            <p:ph type="ftr" sz="quarter" idx="3"/>
          </p:nvPr>
        </p:nvSpPr>
        <p:spPr>
          <a:xfrm>
            <a:off x="584200" y="6364288"/>
            <a:ext cx="5511800" cy="365125"/>
          </a:xfrm>
          <a:prstGeom prst="rect">
            <a:avLst/>
          </a:prstGeom>
        </p:spPr>
        <p:txBody>
          <a:bodyPr vert="horz" lIns="91440" tIns="45720" rIns="91440" bIns="45720" rtlCol="0" anchor="ctr"/>
          <a:lstStyle>
            <a:lvl1pPr algn="l">
              <a:defRPr lang="en-GB" sz="1200">
                <a:solidFill>
                  <a:schemeClr val="tx1"/>
                </a:solidFill>
              </a:defRPr>
            </a:lvl1pPr>
          </a:lstStyle>
          <a:p>
            <a:r>
              <a:rPr lang="en-US"/>
              <a:t>PRESENTATION TITLE</a:t>
            </a:r>
            <a:endParaRPr lang="en-US" dirty="0"/>
          </a:p>
        </p:txBody>
      </p:sp>
      <p:sp>
        <p:nvSpPr>
          <p:cNvPr id="3" name="Rectangle 2">
            <a:extLst>
              <a:ext uri="{FF2B5EF4-FFF2-40B4-BE49-F238E27FC236}">
                <a16:creationId xmlns:a16="http://schemas.microsoft.com/office/drawing/2014/main" id="{DF3E35AF-2434-732B-7077-725C8432F6CD}"/>
              </a:ext>
            </a:extLst>
          </p:cNvPr>
          <p:cNvSpPr/>
          <p:nvPr userDrawn="1"/>
        </p:nvSpPr>
        <p:spPr>
          <a:xfrm rot="5400000">
            <a:off x="6337263" y="-2030450"/>
            <a:ext cx="117475" cy="11592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 name="Text Placeholder 3">
            <a:extLst>
              <a:ext uri="{FF2B5EF4-FFF2-40B4-BE49-F238E27FC236}">
                <a16:creationId xmlns:a16="http://schemas.microsoft.com/office/drawing/2014/main" id="{38F4C65B-B478-432C-11F3-1CCAEEB3A9AB}"/>
              </a:ext>
            </a:extLst>
          </p:cNvPr>
          <p:cNvSpPr>
            <a:spLocks noGrp="1"/>
          </p:cNvSpPr>
          <p:nvPr>
            <p:ph type="body" sz="quarter" idx="41" hasCustomPrompt="1"/>
          </p:nvPr>
        </p:nvSpPr>
        <p:spPr>
          <a:xfrm>
            <a:off x="885474" y="3163716"/>
            <a:ext cx="1141764" cy="2664000"/>
          </a:xfrm>
          <a:custGeom>
            <a:avLst/>
            <a:gdLst>
              <a:gd name="connsiteX0" fmla="*/ 0 w 1141764"/>
              <a:gd name="connsiteY0" fmla="*/ 0 h 2664000"/>
              <a:gd name="connsiteX1" fmla="*/ 18000 w 1141764"/>
              <a:gd name="connsiteY1" fmla="*/ 0 h 2664000"/>
              <a:gd name="connsiteX2" fmla="*/ 18000 w 1141764"/>
              <a:gd name="connsiteY2" fmla="*/ 465762 h 2664000"/>
              <a:gd name="connsiteX3" fmla="*/ 1009831 w 1141764"/>
              <a:gd name="connsiteY3" fmla="*/ 465762 h 2664000"/>
              <a:gd name="connsiteX4" fmla="*/ 1141764 w 1141764"/>
              <a:gd name="connsiteY4" fmla="*/ 597695 h 2664000"/>
              <a:gd name="connsiteX5" fmla="*/ 1009831 w 1141764"/>
              <a:gd name="connsiteY5" fmla="*/ 729628 h 2664000"/>
              <a:gd name="connsiteX6" fmla="*/ 18000 w 1141764"/>
              <a:gd name="connsiteY6" fmla="*/ 729628 h 2664000"/>
              <a:gd name="connsiteX7" fmla="*/ 18000 w 1141764"/>
              <a:gd name="connsiteY7" fmla="*/ 2664000 h 2664000"/>
              <a:gd name="connsiteX8" fmla="*/ 0 w 1141764"/>
              <a:gd name="connsiteY8" fmla="*/ 2664000 h 26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1764" h="2664000">
                <a:moveTo>
                  <a:pt x="0" y="0"/>
                </a:moveTo>
                <a:lnTo>
                  <a:pt x="18000" y="0"/>
                </a:lnTo>
                <a:lnTo>
                  <a:pt x="18000" y="465762"/>
                </a:lnTo>
                <a:lnTo>
                  <a:pt x="1009831" y="465762"/>
                </a:lnTo>
                <a:lnTo>
                  <a:pt x="1141764" y="597695"/>
                </a:lnTo>
                <a:lnTo>
                  <a:pt x="1009831" y="729628"/>
                </a:lnTo>
                <a:lnTo>
                  <a:pt x="18000" y="729628"/>
                </a:lnTo>
                <a:lnTo>
                  <a:pt x="18000" y="2664000"/>
                </a:lnTo>
                <a:lnTo>
                  <a:pt x="0" y="2664000"/>
                </a:lnTo>
                <a:close/>
              </a:path>
            </a:pathLst>
          </a:custGeom>
          <a:solidFill>
            <a:schemeClr val="accent3"/>
          </a:solidFill>
        </p:spPr>
        <p:txBody>
          <a:bodyPr wrap="square" tIns="0" bIns="0" anchor="ctr">
            <a:noAutofit/>
          </a:bodyPr>
          <a:lstStyle>
            <a:lvl1pPr marL="0" indent="0">
              <a:buNone/>
              <a:defRPr sz="1000" b="1">
                <a:solidFill>
                  <a:schemeClr val="tx1">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37" name="Text Placeholder 29">
            <a:extLst>
              <a:ext uri="{FF2B5EF4-FFF2-40B4-BE49-F238E27FC236}">
                <a16:creationId xmlns:a16="http://schemas.microsoft.com/office/drawing/2014/main" id="{7014ED8C-D9A2-3233-BF99-B959865B48B9}"/>
              </a:ext>
            </a:extLst>
          </p:cNvPr>
          <p:cNvSpPr>
            <a:spLocks noGrp="1"/>
          </p:cNvSpPr>
          <p:nvPr>
            <p:ph type="body" sz="quarter" idx="43"/>
          </p:nvPr>
        </p:nvSpPr>
        <p:spPr>
          <a:xfrm>
            <a:off x="1090297" y="4043826"/>
            <a:ext cx="2989578" cy="553099"/>
          </a:xfrm>
          <a:prstGeom prst="rect">
            <a:avLst/>
          </a:prstGeom>
        </p:spPr>
        <p:txBody>
          <a:bodyPr tIns="0" bIns="0" anchor="b">
            <a:noAutofit/>
          </a:bodyPr>
          <a:lstStyle>
            <a:lvl1pPr marL="0" indent="0" algn="l">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38" name="Text Placeholder 29">
            <a:extLst>
              <a:ext uri="{FF2B5EF4-FFF2-40B4-BE49-F238E27FC236}">
                <a16:creationId xmlns:a16="http://schemas.microsoft.com/office/drawing/2014/main" id="{27A02D2A-8972-F536-0B27-7D6428470586}"/>
              </a:ext>
            </a:extLst>
          </p:cNvPr>
          <p:cNvSpPr>
            <a:spLocks noGrp="1"/>
          </p:cNvSpPr>
          <p:nvPr>
            <p:ph type="body" sz="quarter" idx="44"/>
          </p:nvPr>
        </p:nvSpPr>
        <p:spPr>
          <a:xfrm>
            <a:off x="1090297" y="4668926"/>
            <a:ext cx="2989578" cy="1141608"/>
          </a:xfrm>
          <a:prstGeom prst="rect">
            <a:avLst/>
          </a:prstGeom>
        </p:spPr>
        <p:txBody>
          <a:bodyPr tIns="0" bIns="0">
            <a:noAutofit/>
          </a:bodyPr>
          <a:lstStyle>
            <a:lvl1pPr marL="0" indent="0" algn="l">
              <a:buNone/>
              <a:defRPr sz="16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40" name="Text Placeholder 29">
            <a:extLst>
              <a:ext uri="{FF2B5EF4-FFF2-40B4-BE49-F238E27FC236}">
                <a16:creationId xmlns:a16="http://schemas.microsoft.com/office/drawing/2014/main" id="{5C686B82-2E00-D61D-3AA1-3461944BF439}"/>
              </a:ext>
            </a:extLst>
          </p:cNvPr>
          <p:cNvSpPr>
            <a:spLocks noGrp="1"/>
          </p:cNvSpPr>
          <p:nvPr>
            <p:ph type="body" sz="quarter" idx="45" hasCustomPrompt="1"/>
          </p:nvPr>
        </p:nvSpPr>
        <p:spPr>
          <a:xfrm>
            <a:off x="1090297" y="3163716"/>
            <a:ext cx="2989578" cy="312739"/>
          </a:xfrm>
          <a:prstGeom prst="rect">
            <a:avLst/>
          </a:prstGeom>
        </p:spPr>
        <p:txBody>
          <a:bodyPr tIns="0" bIns="0" anchor="ctr">
            <a:noAutofit/>
          </a:bodyPr>
          <a:lstStyle>
            <a:lvl1pPr marL="0" indent="0" algn="l">
              <a:buNone/>
              <a:defRPr sz="1700" b="1">
                <a:solidFill>
                  <a:schemeClr val="accent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Milestone</a:t>
            </a:r>
            <a:endParaRPr lang="en-ID" dirty="0"/>
          </a:p>
        </p:txBody>
      </p:sp>
      <p:sp>
        <p:nvSpPr>
          <p:cNvPr id="5" name="Text Placeholder 4">
            <a:extLst>
              <a:ext uri="{FF2B5EF4-FFF2-40B4-BE49-F238E27FC236}">
                <a16:creationId xmlns:a16="http://schemas.microsoft.com/office/drawing/2014/main" id="{6F2E0537-39B8-01F9-6D88-D34A820CED5A}"/>
              </a:ext>
            </a:extLst>
          </p:cNvPr>
          <p:cNvSpPr>
            <a:spLocks noGrp="1"/>
          </p:cNvSpPr>
          <p:nvPr>
            <p:ph type="body" sz="quarter" idx="47" hasCustomPrompt="1"/>
          </p:nvPr>
        </p:nvSpPr>
        <p:spPr>
          <a:xfrm>
            <a:off x="4647849" y="1692565"/>
            <a:ext cx="1141764" cy="2664000"/>
          </a:xfrm>
          <a:custGeom>
            <a:avLst/>
            <a:gdLst>
              <a:gd name="connsiteX0" fmla="*/ 0 w 1141764"/>
              <a:gd name="connsiteY0" fmla="*/ 0 h 2664000"/>
              <a:gd name="connsiteX1" fmla="*/ 18000 w 1141764"/>
              <a:gd name="connsiteY1" fmla="*/ 0 h 2664000"/>
              <a:gd name="connsiteX2" fmla="*/ 18000 w 1141764"/>
              <a:gd name="connsiteY2" fmla="*/ 1936913 h 2664000"/>
              <a:gd name="connsiteX3" fmla="*/ 1009831 w 1141764"/>
              <a:gd name="connsiteY3" fmla="*/ 1936913 h 2664000"/>
              <a:gd name="connsiteX4" fmla="*/ 1141764 w 1141764"/>
              <a:gd name="connsiteY4" fmla="*/ 2068846 h 2664000"/>
              <a:gd name="connsiteX5" fmla="*/ 1009831 w 1141764"/>
              <a:gd name="connsiteY5" fmla="*/ 2200779 h 2664000"/>
              <a:gd name="connsiteX6" fmla="*/ 18000 w 1141764"/>
              <a:gd name="connsiteY6" fmla="*/ 2200779 h 2664000"/>
              <a:gd name="connsiteX7" fmla="*/ 18000 w 1141764"/>
              <a:gd name="connsiteY7" fmla="*/ 2664000 h 2664000"/>
              <a:gd name="connsiteX8" fmla="*/ 0 w 1141764"/>
              <a:gd name="connsiteY8" fmla="*/ 2664000 h 26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1764" h="2664000">
                <a:moveTo>
                  <a:pt x="0" y="0"/>
                </a:moveTo>
                <a:lnTo>
                  <a:pt x="18000" y="0"/>
                </a:lnTo>
                <a:lnTo>
                  <a:pt x="18000" y="1936913"/>
                </a:lnTo>
                <a:lnTo>
                  <a:pt x="1009831" y="1936913"/>
                </a:lnTo>
                <a:lnTo>
                  <a:pt x="1141764" y="2068846"/>
                </a:lnTo>
                <a:lnTo>
                  <a:pt x="1009831" y="2200779"/>
                </a:lnTo>
                <a:lnTo>
                  <a:pt x="18000" y="2200779"/>
                </a:lnTo>
                <a:lnTo>
                  <a:pt x="18000" y="2664000"/>
                </a:lnTo>
                <a:lnTo>
                  <a:pt x="0" y="2664000"/>
                </a:lnTo>
                <a:close/>
              </a:path>
            </a:pathLst>
          </a:custGeom>
          <a:solidFill>
            <a:schemeClr val="accent3"/>
          </a:solidFill>
        </p:spPr>
        <p:txBody>
          <a:bodyPr wrap="square" tIns="0" bIns="0" anchor="ctr">
            <a:noAutofit/>
          </a:bodyPr>
          <a:lstStyle>
            <a:lvl1pPr marL="0" indent="0">
              <a:buNone/>
              <a:defRPr sz="1000" b="1">
                <a:solidFill>
                  <a:schemeClr val="tx1">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60" name="Text Placeholder 29">
            <a:extLst>
              <a:ext uri="{FF2B5EF4-FFF2-40B4-BE49-F238E27FC236}">
                <a16:creationId xmlns:a16="http://schemas.microsoft.com/office/drawing/2014/main" id="{E10C62AC-5F15-FEF7-14F7-69E74FF548BF}"/>
              </a:ext>
            </a:extLst>
          </p:cNvPr>
          <p:cNvSpPr>
            <a:spLocks noGrp="1"/>
          </p:cNvSpPr>
          <p:nvPr>
            <p:ph type="body" sz="quarter" idx="50" hasCustomPrompt="1"/>
          </p:nvPr>
        </p:nvSpPr>
        <p:spPr>
          <a:xfrm>
            <a:off x="4852672" y="4043826"/>
            <a:ext cx="2989578" cy="312739"/>
          </a:xfrm>
          <a:prstGeom prst="rect">
            <a:avLst/>
          </a:prstGeom>
        </p:spPr>
        <p:txBody>
          <a:bodyPr tIns="0" bIns="0" anchor="ctr">
            <a:noAutofit/>
          </a:bodyPr>
          <a:lstStyle>
            <a:lvl1pPr marL="0" indent="0" algn="l">
              <a:buNone/>
              <a:defRPr sz="1700" b="1">
                <a:solidFill>
                  <a:schemeClr val="accent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Milestone</a:t>
            </a:r>
            <a:endParaRPr lang="en-ID" dirty="0"/>
          </a:p>
        </p:txBody>
      </p:sp>
      <p:sp>
        <p:nvSpPr>
          <p:cNvPr id="6" name="Text Placeholder 5">
            <a:extLst>
              <a:ext uri="{FF2B5EF4-FFF2-40B4-BE49-F238E27FC236}">
                <a16:creationId xmlns:a16="http://schemas.microsoft.com/office/drawing/2014/main" id="{79F67207-8633-F157-D417-A811F5C91240}"/>
              </a:ext>
            </a:extLst>
          </p:cNvPr>
          <p:cNvSpPr>
            <a:spLocks noGrp="1"/>
          </p:cNvSpPr>
          <p:nvPr>
            <p:ph type="body" sz="quarter" idx="52" hasCustomPrompt="1"/>
          </p:nvPr>
        </p:nvSpPr>
        <p:spPr>
          <a:xfrm>
            <a:off x="8410224" y="3163716"/>
            <a:ext cx="1141764" cy="2664000"/>
          </a:xfrm>
          <a:custGeom>
            <a:avLst/>
            <a:gdLst>
              <a:gd name="connsiteX0" fmla="*/ 0 w 1141764"/>
              <a:gd name="connsiteY0" fmla="*/ 0 h 2664000"/>
              <a:gd name="connsiteX1" fmla="*/ 18000 w 1141764"/>
              <a:gd name="connsiteY1" fmla="*/ 0 h 2664000"/>
              <a:gd name="connsiteX2" fmla="*/ 18000 w 1141764"/>
              <a:gd name="connsiteY2" fmla="*/ 465762 h 2664000"/>
              <a:gd name="connsiteX3" fmla="*/ 1009831 w 1141764"/>
              <a:gd name="connsiteY3" fmla="*/ 465762 h 2664000"/>
              <a:gd name="connsiteX4" fmla="*/ 1141764 w 1141764"/>
              <a:gd name="connsiteY4" fmla="*/ 597695 h 2664000"/>
              <a:gd name="connsiteX5" fmla="*/ 1009831 w 1141764"/>
              <a:gd name="connsiteY5" fmla="*/ 729628 h 2664000"/>
              <a:gd name="connsiteX6" fmla="*/ 18000 w 1141764"/>
              <a:gd name="connsiteY6" fmla="*/ 729628 h 2664000"/>
              <a:gd name="connsiteX7" fmla="*/ 18000 w 1141764"/>
              <a:gd name="connsiteY7" fmla="*/ 2664000 h 2664000"/>
              <a:gd name="connsiteX8" fmla="*/ 0 w 1141764"/>
              <a:gd name="connsiteY8" fmla="*/ 2664000 h 26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1764" h="2664000">
                <a:moveTo>
                  <a:pt x="0" y="0"/>
                </a:moveTo>
                <a:lnTo>
                  <a:pt x="18000" y="0"/>
                </a:lnTo>
                <a:lnTo>
                  <a:pt x="18000" y="465762"/>
                </a:lnTo>
                <a:lnTo>
                  <a:pt x="1009831" y="465762"/>
                </a:lnTo>
                <a:lnTo>
                  <a:pt x="1141764" y="597695"/>
                </a:lnTo>
                <a:lnTo>
                  <a:pt x="1009831" y="729628"/>
                </a:lnTo>
                <a:lnTo>
                  <a:pt x="18000" y="729628"/>
                </a:lnTo>
                <a:lnTo>
                  <a:pt x="18000" y="2664000"/>
                </a:lnTo>
                <a:lnTo>
                  <a:pt x="0" y="2664000"/>
                </a:lnTo>
                <a:close/>
              </a:path>
            </a:pathLst>
          </a:custGeom>
          <a:solidFill>
            <a:schemeClr val="accent3"/>
          </a:solidFill>
        </p:spPr>
        <p:txBody>
          <a:bodyPr wrap="square" tIns="0" bIns="0" anchor="ctr">
            <a:noAutofit/>
          </a:bodyPr>
          <a:lstStyle>
            <a:lvl1pPr marL="0" indent="0">
              <a:buNone/>
              <a:defRPr sz="1000" b="1">
                <a:solidFill>
                  <a:schemeClr val="tx1">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63" name="Text Placeholder 29">
            <a:extLst>
              <a:ext uri="{FF2B5EF4-FFF2-40B4-BE49-F238E27FC236}">
                <a16:creationId xmlns:a16="http://schemas.microsoft.com/office/drawing/2014/main" id="{261031B1-B982-A042-4CFA-1D2651953B25}"/>
              </a:ext>
            </a:extLst>
          </p:cNvPr>
          <p:cNvSpPr>
            <a:spLocks noGrp="1"/>
          </p:cNvSpPr>
          <p:nvPr>
            <p:ph type="body" sz="quarter" idx="53"/>
          </p:nvPr>
        </p:nvSpPr>
        <p:spPr>
          <a:xfrm>
            <a:off x="8615047" y="4043826"/>
            <a:ext cx="2989578" cy="553099"/>
          </a:xfrm>
          <a:prstGeom prst="rect">
            <a:avLst/>
          </a:prstGeom>
        </p:spPr>
        <p:txBody>
          <a:bodyPr tIns="0" bIns="0" anchor="b">
            <a:noAutofit/>
          </a:bodyPr>
          <a:lstStyle>
            <a:lvl1pPr marL="0" indent="0" algn="l">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64" name="Text Placeholder 29">
            <a:extLst>
              <a:ext uri="{FF2B5EF4-FFF2-40B4-BE49-F238E27FC236}">
                <a16:creationId xmlns:a16="http://schemas.microsoft.com/office/drawing/2014/main" id="{9A88BB22-41E4-5ACD-09E4-4157B024B08C}"/>
              </a:ext>
            </a:extLst>
          </p:cNvPr>
          <p:cNvSpPr>
            <a:spLocks noGrp="1"/>
          </p:cNvSpPr>
          <p:nvPr>
            <p:ph type="body" sz="quarter" idx="54"/>
          </p:nvPr>
        </p:nvSpPr>
        <p:spPr>
          <a:xfrm>
            <a:off x="8615047" y="4668926"/>
            <a:ext cx="2989578" cy="1141608"/>
          </a:xfrm>
          <a:prstGeom prst="rect">
            <a:avLst/>
          </a:prstGeom>
        </p:spPr>
        <p:txBody>
          <a:bodyPr tIns="0" bIns="0">
            <a:noAutofit/>
          </a:bodyPr>
          <a:lstStyle>
            <a:lvl1pPr marL="0" indent="0" algn="l">
              <a:buNone/>
              <a:defRPr sz="16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65" name="Text Placeholder 29">
            <a:extLst>
              <a:ext uri="{FF2B5EF4-FFF2-40B4-BE49-F238E27FC236}">
                <a16:creationId xmlns:a16="http://schemas.microsoft.com/office/drawing/2014/main" id="{071D6C45-DAA5-4D1C-9957-40129325EB67}"/>
              </a:ext>
            </a:extLst>
          </p:cNvPr>
          <p:cNvSpPr>
            <a:spLocks noGrp="1"/>
          </p:cNvSpPr>
          <p:nvPr>
            <p:ph type="body" sz="quarter" idx="55" hasCustomPrompt="1"/>
          </p:nvPr>
        </p:nvSpPr>
        <p:spPr>
          <a:xfrm>
            <a:off x="8615047" y="3163716"/>
            <a:ext cx="2989578" cy="312739"/>
          </a:xfrm>
          <a:prstGeom prst="rect">
            <a:avLst/>
          </a:prstGeom>
        </p:spPr>
        <p:txBody>
          <a:bodyPr tIns="0" bIns="0" anchor="ctr">
            <a:noAutofit/>
          </a:bodyPr>
          <a:lstStyle>
            <a:lvl1pPr marL="0" indent="0" algn="l">
              <a:buNone/>
              <a:defRPr sz="1700" b="1">
                <a:solidFill>
                  <a:schemeClr val="accent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Milestone</a:t>
            </a:r>
            <a:endParaRPr lang="en-ID" dirty="0"/>
          </a:p>
        </p:txBody>
      </p:sp>
      <p:sp>
        <p:nvSpPr>
          <p:cNvPr id="74" name="Text Placeholder 29">
            <a:extLst>
              <a:ext uri="{FF2B5EF4-FFF2-40B4-BE49-F238E27FC236}">
                <a16:creationId xmlns:a16="http://schemas.microsoft.com/office/drawing/2014/main" id="{9A4B37EF-352C-7F66-A0C7-B1AAC332DF0B}"/>
              </a:ext>
            </a:extLst>
          </p:cNvPr>
          <p:cNvSpPr>
            <a:spLocks noGrp="1"/>
          </p:cNvSpPr>
          <p:nvPr>
            <p:ph type="body" sz="quarter" idx="48"/>
          </p:nvPr>
        </p:nvSpPr>
        <p:spPr>
          <a:xfrm>
            <a:off x="4852672" y="1718246"/>
            <a:ext cx="2989578" cy="553099"/>
          </a:xfrm>
          <a:prstGeom prst="rect">
            <a:avLst/>
          </a:prstGeom>
        </p:spPr>
        <p:txBody>
          <a:bodyPr tIns="0" bIns="0" anchor="b">
            <a:noAutofit/>
          </a:bodyPr>
          <a:lstStyle>
            <a:lvl1pPr marL="0" indent="0" algn="l">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75" name="Text Placeholder 29">
            <a:extLst>
              <a:ext uri="{FF2B5EF4-FFF2-40B4-BE49-F238E27FC236}">
                <a16:creationId xmlns:a16="http://schemas.microsoft.com/office/drawing/2014/main" id="{8AD0A0A8-C4B1-7D11-7CF8-B6C55DDAF46D}"/>
              </a:ext>
            </a:extLst>
          </p:cNvPr>
          <p:cNvSpPr>
            <a:spLocks noGrp="1"/>
          </p:cNvSpPr>
          <p:nvPr>
            <p:ph type="body" sz="quarter" idx="49"/>
          </p:nvPr>
        </p:nvSpPr>
        <p:spPr>
          <a:xfrm>
            <a:off x="4852672" y="2343346"/>
            <a:ext cx="2989578" cy="1141608"/>
          </a:xfrm>
          <a:prstGeom prst="rect">
            <a:avLst/>
          </a:prstGeom>
        </p:spPr>
        <p:txBody>
          <a:bodyPr tIns="0" bIns="0">
            <a:noAutofit/>
          </a:bodyPr>
          <a:lstStyle>
            <a:lvl1pPr marL="0" indent="0" algn="l">
              <a:buNone/>
              <a:defRPr sz="16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Tree>
    <p:extLst>
      <p:ext uri="{BB962C8B-B14F-4D97-AF65-F5344CB8AC3E}">
        <p14:creationId xmlns:p14="http://schemas.microsoft.com/office/powerpoint/2010/main" val="3103369026"/>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meline I60V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6477C-8D55-B4B8-85DD-DAF85A20D8C5}"/>
              </a:ext>
            </a:extLst>
          </p:cNvPr>
          <p:cNvSpPr>
            <a:spLocks noGrp="1"/>
          </p:cNvSpPr>
          <p:nvPr>
            <p:ph type="title"/>
          </p:nvPr>
        </p:nvSpPr>
        <p:spPr>
          <a:xfrm>
            <a:off x="731443" y="586105"/>
            <a:ext cx="10873182" cy="709295"/>
          </a:xfrm>
        </p:spPr>
        <p:txBody>
          <a:bodyPr anchor="t">
            <a:noAutofit/>
          </a:bodyPr>
          <a:lstStyle>
            <a:lvl1pPr>
              <a:defRPr>
                <a:solidFill>
                  <a:schemeClr val="tx1"/>
                </a:solidFill>
              </a:defRPr>
            </a:lvl1pPr>
          </a:lstStyle>
          <a:p>
            <a:r>
              <a:rPr lang="en-US" dirty="0"/>
              <a:t>Click to edit Master title style</a:t>
            </a:r>
            <a:endParaRPr lang="en-ID" dirty="0"/>
          </a:p>
        </p:txBody>
      </p:sp>
      <p:sp>
        <p:nvSpPr>
          <p:cNvPr id="11" name="Slide Number Placeholder 5">
            <a:extLst>
              <a:ext uri="{FF2B5EF4-FFF2-40B4-BE49-F238E27FC236}">
                <a16:creationId xmlns:a16="http://schemas.microsoft.com/office/drawing/2014/main" id="{752E3F75-A181-1CEF-4892-A00A828F0DEC}"/>
              </a:ext>
            </a:extLst>
          </p:cNvPr>
          <p:cNvSpPr>
            <a:spLocks noGrp="1"/>
          </p:cNvSpPr>
          <p:nvPr>
            <p:ph type="sldNum" sz="quarter" idx="4"/>
          </p:nvPr>
        </p:nvSpPr>
        <p:spPr>
          <a:xfrm>
            <a:off x="11058525" y="6409951"/>
            <a:ext cx="546100" cy="273799"/>
          </a:xfrm>
          <a:prstGeom prst="rect">
            <a:avLst/>
          </a:prstGeom>
        </p:spPr>
        <p:txBody>
          <a:bodyPr vert="horz" lIns="91440" tIns="45720" rIns="91440" bIns="45720" rtlCol="0" anchor="b"/>
          <a:lstStyle>
            <a:lvl1pPr algn="r">
              <a:defRPr sz="1200">
                <a:solidFill>
                  <a:schemeClr val="tx1"/>
                </a:solidFill>
                <a:latin typeface="+mn-lt"/>
              </a:defRPr>
            </a:lvl1pPr>
          </a:lstStyle>
          <a:p>
            <a:fld id="{5E0C3BBE-9543-48E5-A6E1-C646F9A01966}" type="slidenum">
              <a:rPr lang="en-ID" smtClean="0"/>
              <a:pPr/>
              <a:t>‹#›</a:t>
            </a:fld>
            <a:endParaRPr lang="en-ID" dirty="0"/>
          </a:p>
        </p:txBody>
      </p:sp>
      <p:cxnSp>
        <p:nvCxnSpPr>
          <p:cNvPr id="16" name="Straight Connector 15">
            <a:extLst>
              <a:ext uri="{FF2B5EF4-FFF2-40B4-BE49-F238E27FC236}">
                <a16:creationId xmlns:a16="http://schemas.microsoft.com/office/drawing/2014/main" id="{0657BBCF-CA9E-FB2C-CA76-82D2795FF965}"/>
              </a:ext>
            </a:extLst>
          </p:cNvPr>
          <p:cNvCxnSpPr>
            <a:cxnSpLocks/>
          </p:cNvCxnSpPr>
          <p:nvPr userDrawn="1"/>
        </p:nvCxnSpPr>
        <p:spPr>
          <a:xfrm>
            <a:off x="587375" y="585690"/>
            <a:ext cx="0" cy="70971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Footer Placeholder 4">
            <a:extLst>
              <a:ext uri="{FF2B5EF4-FFF2-40B4-BE49-F238E27FC236}">
                <a16:creationId xmlns:a16="http://schemas.microsoft.com/office/drawing/2014/main" id="{FC465D62-3382-034B-3BC4-9FA6DDBCBF3D}"/>
              </a:ext>
            </a:extLst>
          </p:cNvPr>
          <p:cNvSpPr>
            <a:spLocks noGrp="1"/>
          </p:cNvSpPr>
          <p:nvPr>
            <p:ph type="ftr" sz="quarter" idx="3"/>
          </p:nvPr>
        </p:nvSpPr>
        <p:spPr>
          <a:xfrm>
            <a:off x="584200" y="6364288"/>
            <a:ext cx="5511800" cy="365125"/>
          </a:xfrm>
          <a:prstGeom prst="rect">
            <a:avLst/>
          </a:prstGeom>
        </p:spPr>
        <p:txBody>
          <a:bodyPr vert="horz" lIns="91440" tIns="45720" rIns="91440" bIns="45720" rtlCol="0" anchor="ctr"/>
          <a:lstStyle>
            <a:lvl1pPr algn="l">
              <a:defRPr lang="en-GB" sz="1200">
                <a:solidFill>
                  <a:schemeClr val="tx1"/>
                </a:solidFill>
              </a:defRPr>
            </a:lvl1pPr>
          </a:lstStyle>
          <a:p>
            <a:r>
              <a:rPr lang="en-US"/>
              <a:t>PRESENTATION TITLE</a:t>
            </a:r>
            <a:endParaRPr lang="en-US" dirty="0"/>
          </a:p>
        </p:txBody>
      </p:sp>
      <p:sp>
        <p:nvSpPr>
          <p:cNvPr id="3" name="Rectangle 2">
            <a:extLst>
              <a:ext uri="{FF2B5EF4-FFF2-40B4-BE49-F238E27FC236}">
                <a16:creationId xmlns:a16="http://schemas.microsoft.com/office/drawing/2014/main" id="{DF3E35AF-2434-732B-7077-725C8432F6CD}"/>
              </a:ext>
            </a:extLst>
          </p:cNvPr>
          <p:cNvSpPr/>
          <p:nvPr userDrawn="1"/>
        </p:nvSpPr>
        <p:spPr>
          <a:xfrm rot="5400000">
            <a:off x="6337263" y="-2030450"/>
            <a:ext cx="117475" cy="11592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 name="Text Placeholder 3">
            <a:extLst>
              <a:ext uri="{FF2B5EF4-FFF2-40B4-BE49-F238E27FC236}">
                <a16:creationId xmlns:a16="http://schemas.microsoft.com/office/drawing/2014/main" id="{3F029AF9-F63D-7CB3-576A-53A1C6A26AD3}"/>
              </a:ext>
            </a:extLst>
          </p:cNvPr>
          <p:cNvSpPr>
            <a:spLocks noGrp="1"/>
          </p:cNvSpPr>
          <p:nvPr>
            <p:ph type="body" sz="quarter" idx="41" hasCustomPrompt="1"/>
          </p:nvPr>
        </p:nvSpPr>
        <p:spPr>
          <a:xfrm>
            <a:off x="885474" y="3163716"/>
            <a:ext cx="1141764" cy="2664000"/>
          </a:xfrm>
          <a:custGeom>
            <a:avLst/>
            <a:gdLst>
              <a:gd name="connsiteX0" fmla="*/ 0 w 1141764"/>
              <a:gd name="connsiteY0" fmla="*/ 0 h 2664000"/>
              <a:gd name="connsiteX1" fmla="*/ 18000 w 1141764"/>
              <a:gd name="connsiteY1" fmla="*/ 0 h 2664000"/>
              <a:gd name="connsiteX2" fmla="*/ 18000 w 1141764"/>
              <a:gd name="connsiteY2" fmla="*/ 465762 h 2664000"/>
              <a:gd name="connsiteX3" fmla="*/ 1009831 w 1141764"/>
              <a:gd name="connsiteY3" fmla="*/ 465762 h 2664000"/>
              <a:gd name="connsiteX4" fmla="*/ 1141764 w 1141764"/>
              <a:gd name="connsiteY4" fmla="*/ 597695 h 2664000"/>
              <a:gd name="connsiteX5" fmla="*/ 1009831 w 1141764"/>
              <a:gd name="connsiteY5" fmla="*/ 729628 h 2664000"/>
              <a:gd name="connsiteX6" fmla="*/ 18000 w 1141764"/>
              <a:gd name="connsiteY6" fmla="*/ 729628 h 2664000"/>
              <a:gd name="connsiteX7" fmla="*/ 18000 w 1141764"/>
              <a:gd name="connsiteY7" fmla="*/ 2664000 h 2664000"/>
              <a:gd name="connsiteX8" fmla="*/ 0 w 1141764"/>
              <a:gd name="connsiteY8" fmla="*/ 2664000 h 26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1764" h="2664000">
                <a:moveTo>
                  <a:pt x="0" y="0"/>
                </a:moveTo>
                <a:lnTo>
                  <a:pt x="18000" y="0"/>
                </a:lnTo>
                <a:lnTo>
                  <a:pt x="18000" y="465762"/>
                </a:lnTo>
                <a:lnTo>
                  <a:pt x="1009831" y="465762"/>
                </a:lnTo>
                <a:lnTo>
                  <a:pt x="1141764" y="597695"/>
                </a:lnTo>
                <a:lnTo>
                  <a:pt x="1009831" y="729628"/>
                </a:lnTo>
                <a:lnTo>
                  <a:pt x="18000" y="729628"/>
                </a:lnTo>
                <a:lnTo>
                  <a:pt x="18000" y="2664000"/>
                </a:lnTo>
                <a:lnTo>
                  <a:pt x="0" y="2664000"/>
                </a:lnTo>
                <a:close/>
              </a:path>
            </a:pathLst>
          </a:custGeom>
          <a:solidFill>
            <a:schemeClr val="accent3"/>
          </a:solidFill>
        </p:spPr>
        <p:txBody>
          <a:bodyPr wrap="square" tIns="0" bIns="0" anchor="ctr">
            <a:noAutofit/>
          </a:bodyPr>
          <a:lstStyle>
            <a:lvl1pPr marL="0" indent="0">
              <a:buNone/>
              <a:defRPr sz="1000" b="1">
                <a:solidFill>
                  <a:schemeClr val="tx1">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37" name="Text Placeholder 29">
            <a:extLst>
              <a:ext uri="{FF2B5EF4-FFF2-40B4-BE49-F238E27FC236}">
                <a16:creationId xmlns:a16="http://schemas.microsoft.com/office/drawing/2014/main" id="{7014ED8C-D9A2-3233-BF99-B959865B48B9}"/>
              </a:ext>
            </a:extLst>
          </p:cNvPr>
          <p:cNvSpPr>
            <a:spLocks noGrp="1"/>
          </p:cNvSpPr>
          <p:nvPr>
            <p:ph type="body" sz="quarter" idx="43"/>
          </p:nvPr>
        </p:nvSpPr>
        <p:spPr>
          <a:xfrm>
            <a:off x="1090297" y="4043826"/>
            <a:ext cx="2220323" cy="553099"/>
          </a:xfrm>
          <a:prstGeom prst="rect">
            <a:avLst/>
          </a:prstGeom>
        </p:spPr>
        <p:txBody>
          <a:bodyPr tIns="0" bIns="0" anchor="b">
            <a:noAutofit/>
          </a:bodyPr>
          <a:lstStyle>
            <a:lvl1pPr marL="0" indent="0" algn="l">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38" name="Text Placeholder 29">
            <a:extLst>
              <a:ext uri="{FF2B5EF4-FFF2-40B4-BE49-F238E27FC236}">
                <a16:creationId xmlns:a16="http://schemas.microsoft.com/office/drawing/2014/main" id="{27A02D2A-8972-F536-0B27-7D6428470586}"/>
              </a:ext>
            </a:extLst>
          </p:cNvPr>
          <p:cNvSpPr>
            <a:spLocks noGrp="1"/>
          </p:cNvSpPr>
          <p:nvPr>
            <p:ph type="body" sz="quarter" idx="44"/>
          </p:nvPr>
        </p:nvSpPr>
        <p:spPr>
          <a:xfrm>
            <a:off x="1090297" y="4668926"/>
            <a:ext cx="2220323" cy="1141608"/>
          </a:xfrm>
          <a:prstGeom prst="rect">
            <a:avLst/>
          </a:prstGeom>
        </p:spPr>
        <p:txBody>
          <a:bodyPr tIns="0" bIns="0">
            <a:noAutofit/>
          </a:bodyPr>
          <a:lstStyle>
            <a:lvl1pPr marL="0" indent="0" algn="l">
              <a:buNone/>
              <a:defRPr sz="16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40" name="Text Placeholder 29">
            <a:extLst>
              <a:ext uri="{FF2B5EF4-FFF2-40B4-BE49-F238E27FC236}">
                <a16:creationId xmlns:a16="http://schemas.microsoft.com/office/drawing/2014/main" id="{5C686B82-2E00-D61D-3AA1-3461944BF439}"/>
              </a:ext>
            </a:extLst>
          </p:cNvPr>
          <p:cNvSpPr>
            <a:spLocks noGrp="1"/>
          </p:cNvSpPr>
          <p:nvPr>
            <p:ph type="body" sz="quarter" idx="45" hasCustomPrompt="1"/>
          </p:nvPr>
        </p:nvSpPr>
        <p:spPr>
          <a:xfrm>
            <a:off x="1090297" y="3163716"/>
            <a:ext cx="2220323" cy="312739"/>
          </a:xfrm>
          <a:prstGeom prst="rect">
            <a:avLst/>
          </a:prstGeom>
        </p:spPr>
        <p:txBody>
          <a:bodyPr tIns="0" bIns="0" anchor="ctr">
            <a:noAutofit/>
          </a:bodyPr>
          <a:lstStyle>
            <a:lvl1pPr marL="0" indent="0" algn="l">
              <a:buNone/>
              <a:defRPr sz="1700" b="1">
                <a:solidFill>
                  <a:schemeClr val="accent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Milestone</a:t>
            </a:r>
            <a:endParaRPr lang="en-ID" dirty="0"/>
          </a:p>
        </p:txBody>
      </p:sp>
      <p:sp>
        <p:nvSpPr>
          <p:cNvPr id="5" name="Text Placeholder 4">
            <a:extLst>
              <a:ext uri="{FF2B5EF4-FFF2-40B4-BE49-F238E27FC236}">
                <a16:creationId xmlns:a16="http://schemas.microsoft.com/office/drawing/2014/main" id="{C49A8A75-1625-4876-566C-AA3BA0A1B53D}"/>
              </a:ext>
            </a:extLst>
          </p:cNvPr>
          <p:cNvSpPr>
            <a:spLocks noGrp="1"/>
          </p:cNvSpPr>
          <p:nvPr>
            <p:ph type="body" sz="quarter" idx="47" hasCustomPrompt="1"/>
          </p:nvPr>
        </p:nvSpPr>
        <p:spPr>
          <a:xfrm>
            <a:off x="3645800" y="1692565"/>
            <a:ext cx="1141764" cy="2664000"/>
          </a:xfrm>
          <a:custGeom>
            <a:avLst/>
            <a:gdLst>
              <a:gd name="connsiteX0" fmla="*/ 0 w 1141764"/>
              <a:gd name="connsiteY0" fmla="*/ 0 h 2664000"/>
              <a:gd name="connsiteX1" fmla="*/ 18000 w 1141764"/>
              <a:gd name="connsiteY1" fmla="*/ 0 h 2664000"/>
              <a:gd name="connsiteX2" fmla="*/ 18000 w 1141764"/>
              <a:gd name="connsiteY2" fmla="*/ 1936913 h 2664000"/>
              <a:gd name="connsiteX3" fmla="*/ 1009831 w 1141764"/>
              <a:gd name="connsiteY3" fmla="*/ 1936913 h 2664000"/>
              <a:gd name="connsiteX4" fmla="*/ 1141764 w 1141764"/>
              <a:gd name="connsiteY4" fmla="*/ 2068846 h 2664000"/>
              <a:gd name="connsiteX5" fmla="*/ 1009831 w 1141764"/>
              <a:gd name="connsiteY5" fmla="*/ 2200779 h 2664000"/>
              <a:gd name="connsiteX6" fmla="*/ 18000 w 1141764"/>
              <a:gd name="connsiteY6" fmla="*/ 2200779 h 2664000"/>
              <a:gd name="connsiteX7" fmla="*/ 18000 w 1141764"/>
              <a:gd name="connsiteY7" fmla="*/ 2664000 h 2664000"/>
              <a:gd name="connsiteX8" fmla="*/ 0 w 1141764"/>
              <a:gd name="connsiteY8" fmla="*/ 2664000 h 26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1764" h="2664000">
                <a:moveTo>
                  <a:pt x="0" y="0"/>
                </a:moveTo>
                <a:lnTo>
                  <a:pt x="18000" y="0"/>
                </a:lnTo>
                <a:lnTo>
                  <a:pt x="18000" y="1936913"/>
                </a:lnTo>
                <a:lnTo>
                  <a:pt x="1009831" y="1936913"/>
                </a:lnTo>
                <a:lnTo>
                  <a:pt x="1141764" y="2068846"/>
                </a:lnTo>
                <a:lnTo>
                  <a:pt x="1009831" y="2200779"/>
                </a:lnTo>
                <a:lnTo>
                  <a:pt x="18000" y="2200779"/>
                </a:lnTo>
                <a:lnTo>
                  <a:pt x="18000" y="2664000"/>
                </a:lnTo>
                <a:lnTo>
                  <a:pt x="0" y="2664000"/>
                </a:lnTo>
                <a:close/>
              </a:path>
            </a:pathLst>
          </a:custGeom>
          <a:solidFill>
            <a:schemeClr val="accent3"/>
          </a:solidFill>
        </p:spPr>
        <p:txBody>
          <a:bodyPr wrap="square" tIns="0" bIns="0" anchor="ctr">
            <a:noAutofit/>
          </a:bodyPr>
          <a:lstStyle>
            <a:lvl1pPr marL="0" indent="0">
              <a:buNone/>
              <a:defRPr sz="1000" b="1">
                <a:solidFill>
                  <a:schemeClr val="tx1">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60" name="Text Placeholder 29">
            <a:extLst>
              <a:ext uri="{FF2B5EF4-FFF2-40B4-BE49-F238E27FC236}">
                <a16:creationId xmlns:a16="http://schemas.microsoft.com/office/drawing/2014/main" id="{E10C62AC-5F15-FEF7-14F7-69E74FF548BF}"/>
              </a:ext>
            </a:extLst>
          </p:cNvPr>
          <p:cNvSpPr>
            <a:spLocks noGrp="1"/>
          </p:cNvSpPr>
          <p:nvPr>
            <p:ph type="body" sz="quarter" idx="50" hasCustomPrompt="1"/>
          </p:nvPr>
        </p:nvSpPr>
        <p:spPr>
          <a:xfrm>
            <a:off x="3850623" y="4043826"/>
            <a:ext cx="2220323" cy="312739"/>
          </a:xfrm>
          <a:prstGeom prst="rect">
            <a:avLst/>
          </a:prstGeom>
        </p:spPr>
        <p:txBody>
          <a:bodyPr tIns="0" bIns="0" anchor="ctr">
            <a:noAutofit/>
          </a:bodyPr>
          <a:lstStyle>
            <a:lvl1pPr marL="0" indent="0" algn="l">
              <a:buNone/>
              <a:defRPr sz="1700" b="1">
                <a:solidFill>
                  <a:schemeClr val="accent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Milestone</a:t>
            </a:r>
            <a:endParaRPr lang="en-ID" dirty="0"/>
          </a:p>
        </p:txBody>
      </p:sp>
      <p:sp>
        <p:nvSpPr>
          <p:cNvPr id="6" name="Text Placeholder 5">
            <a:extLst>
              <a:ext uri="{FF2B5EF4-FFF2-40B4-BE49-F238E27FC236}">
                <a16:creationId xmlns:a16="http://schemas.microsoft.com/office/drawing/2014/main" id="{097AFAFC-46E5-14BD-8600-6EB212449658}"/>
              </a:ext>
            </a:extLst>
          </p:cNvPr>
          <p:cNvSpPr>
            <a:spLocks noGrp="1"/>
          </p:cNvSpPr>
          <p:nvPr>
            <p:ph type="body" sz="quarter" idx="52" hasCustomPrompt="1"/>
          </p:nvPr>
        </p:nvSpPr>
        <p:spPr>
          <a:xfrm>
            <a:off x="6406126" y="3163716"/>
            <a:ext cx="1141764" cy="2664000"/>
          </a:xfrm>
          <a:custGeom>
            <a:avLst/>
            <a:gdLst>
              <a:gd name="connsiteX0" fmla="*/ 0 w 1141764"/>
              <a:gd name="connsiteY0" fmla="*/ 0 h 2664000"/>
              <a:gd name="connsiteX1" fmla="*/ 18000 w 1141764"/>
              <a:gd name="connsiteY1" fmla="*/ 0 h 2664000"/>
              <a:gd name="connsiteX2" fmla="*/ 18000 w 1141764"/>
              <a:gd name="connsiteY2" fmla="*/ 465762 h 2664000"/>
              <a:gd name="connsiteX3" fmla="*/ 1009831 w 1141764"/>
              <a:gd name="connsiteY3" fmla="*/ 465762 h 2664000"/>
              <a:gd name="connsiteX4" fmla="*/ 1141764 w 1141764"/>
              <a:gd name="connsiteY4" fmla="*/ 597695 h 2664000"/>
              <a:gd name="connsiteX5" fmla="*/ 1009831 w 1141764"/>
              <a:gd name="connsiteY5" fmla="*/ 729628 h 2664000"/>
              <a:gd name="connsiteX6" fmla="*/ 18000 w 1141764"/>
              <a:gd name="connsiteY6" fmla="*/ 729628 h 2664000"/>
              <a:gd name="connsiteX7" fmla="*/ 18000 w 1141764"/>
              <a:gd name="connsiteY7" fmla="*/ 2664000 h 2664000"/>
              <a:gd name="connsiteX8" fmla="*/ 0 w 1141764"/>
              <a:gd name="connsiteY8" fmla="*/ 2664000 h 26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1764" h="2664000">
                <a:moveTo>
                  <a:pt x="0" y="0"/>
                </a:moveTo>
                <a:lnTo>
                  <a:pt x="18000" y="0"/>
                </a:lnTo>
                <a:lnTo>
                  <a:pt x="18000" y="465762"/>
                </a:lnTo>
                <a:lnTo>
                  <a:pt x="1009831" y="465762"/>
                </a:lnTo>
                <a:lnTo>
                  <a:pt x="1141764" y="597695"/>
                </a:lnTo>
                <a:lnTo>
                  <a:pt x="1009831" y="729628"/>
                </a:lnTo>
                <a:lnTo>
                  <a:pt x="18000" y="729628"/>
                </a:lnTo>
                <a:lnTo>
                  <a:pt x="18000" y="2664000"/>
                </a:lnTo>
                <a:lnTo>
                  <a:pt x="0" y="2664000"/>
                </a:lnTo>
                <a:close/>
              </a:path>
            </a:pathLst>
          </a:custGeom>
          <a:solidFill>
            <a:schemeClr val="accent3"/>
          </a:solidFill>
        </p:spPr>
        <p:txBody>
          <a:bodyPr wrap="square" tIns="0" bIns="0" anchor="ctr">
            <a:noAutofit/>
          </a:bodyPr>
          <a:lstStyle>
            <a:lvl1pPr marL="0" indent="0">
              <a:buNone/>
              <a:defRPr sz="1000" b="1">
                <a:solidFill>
                  <a:schemeClr val="tx1">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63" name="Text Placeholder 29">
            <a:extLst>
              <a:ext uri="{FF2B5EF4-FFF2-40B4-BE49-F238E27FC236}">
                <a16:creationId xmlns:a16="http://schemas.microsoft.com/office/drawing/2014/main" id="{261031B1-B982-A042-4CFA-1D2651953B25}"/>
              </a:ext>
            </a:extLst>
          </p:cNvPr>
          <p:cNvSpPr>
            <a:spLocks noGrp="1"/>
          </p:cNvSpPr>
          <p:nvPr>
            <p:ph type="body" sz="quarter" idx="53"/>
          </p:nvPr>
        </p:nvSpPr>
        <p:spPr>
          <a:xfrm>
            <a:off x="6610949" y="4043826"/>
            <a:ext cx="2220323" cy="553099"/>
          </a:xfrm>
          <a:prstGeom prst="rect">
            <a:avLst/>
          </a:prstGeom>
        </p:spPr>
        <p:txBody>
          <a:bodyPr tIns="0" bIns="0" anchor="b">
            <a:noAutofit/>
          </a:bodyPr>
          <a:lstStyle>
            <a:lvl1pPr marL="0" indent="0" algn="l">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64" name="Text Placeholder 29">
            <a:extLst>
              <a:ext uri="{FF2B5EF4-FFF2-40B4-BE49-F238E27FC236}">
                <a16:creationId xmlns:a16="http://schemas.microsoft.com/office/drawing/2014/main" id="{9A88BB22-41E4-5ACD-09E4-4157B024B08C}"/>
              </a:ext>
            </a:extLst>
          </p:cNvPr>
          <p:cNvSpPr>
            <a:spLocks noGrp="1"/>
          </p:cNvSpPr>
          <p:nvPr>
            <p:ph type="body" sz="quarter" idx="54"/>
          </p:nvPr>
        </p:nvSpPr>
        <p:spPr>
          <a:xfrm>
            <a:off x="6610949" y="4668926"/>
            <a:ext cx="2220323" cy="1141608"/>
          </a:xfrm>
          <a:prstGeom prst="rect">
            <a:avLst/>
          </a:prstGeom>
        </p:spPr>
        <p:txBody>
          <a:bodyPr tIns="0" bIns="0">
            <a:noAutofit/>
          </a:bodyPr>
          <a:lstStyle>
            <a:lvl1pPr marL="0" indent="0" algn="l">
              <a:buNone/>
              <a:defRPr sz="16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65" name="Text Placeholder 29">
            <a:extLst>
              <a:ext uri="{FF2B5EF4-FFF2-40B4-BE49-F238E27FC236}">
                <a16:creationId xmlns:a16="http://schemas.microsoft.com/office/drawing/2014/main" id="{071D6C45-DAA5-4D1C-9957-40129325EB67}"/>
              </a:ext>
            </a:extLst>
          </p:cNvPr>
          <p:cNvSpPr>
            <a:spLocks noGrp="1"/>
          </p:cNvSpPr>
          <p:nvPr>
            <p:ph type="body" sz="quarter" idx="55" hasCustomPrompt="1"/>
          </p:nvPr>
        </p:nvSpPr>
        <p:spPr>
          <a:xfrm>
            <a:off x="6610949" y="3163716"/>
            <a:ext cx="2220323" cy="312739"/>
          </a:xfrm>
          <a:prstGeom prst="rect">
            <a:avLst/>
          </a:prstGeom>
        </p:spPr>
        <p:txBody>
          <a:bodyPr tIns="0" bIns="0" anchor="ctr">
            <a:noAutofit/>
          </a:bodyPr>
          <a:lstStyle>
            <a:lvl1pPr marL="0" indent="0" algn="l">
              <a:buNone/>
              <a:defRPr sz="1700" b="1">
                <a:solidFill>
                  <a:schemeClr val="accent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Milestone</a:t>
            </a:r>
            <a:endParaRPr lang="en-ID" dirty="0"/>
          </a:p>
        </p:txBody>
      </p:sp>
      <p:sp>
        <p:nvSpPr>
          <p:cNvPr id="7" name="Text Placeholder 6">
            <a:extLst>
              <a:ext uri="{FF2B5EF4-FFF2-40B4-BE49-F238E27FC236}">
                <a16:creationId xmlns:a16="http://schemas.microsoft.com/office/drawing/2014/main" id="{3AFD2401-AE96-0584-838A-AD350CFC2E6B}"/>
              </a:ext>
            </a:extLst>
          </p:cNvPr>
          <p:cNvSpPr>
            <a:spLocks noGrp="1"/>
          </p:cNvSpPr>
          <p:nvPr>
            <p:ph type="body" sz="quarter" idx="57" hasCustomPrompt="1"/>
          </p:nvPr>
        </p:nvSpPr>
        <p:spPr>
          <a:xfrm>
            <a:off x="9166451" y="1692565"/>
            <a:ext cx="1141764" cy="2664000"/>
          </a:xfrm>
          <a:custGeom>
            <a:avLst/>
            <a:gdLst>
              <a:gd name="connsiteX0" fmla="*/ 0 w 1141764"/>
              <a:gd name="connsiteY0" fmla="*/ 0 h 2664000"/>
              <a:gd name="connsiteX1" fmla="*/ 18000 w 1141764"/>
              <a:gd name="connsiteY1" fmla="*/ 0 h 2664000"/>
              <a:gd name="connsiteX2" fmla="*/ 18000 w 1141764"/>
              <a:gd name="connsiteY2" fmla="*/ 1936913 h 2664000"/>
              <a:gd name="connsiteX3" fmla="*/ 1009831 w 1141764"/>
              <a:gd name="connsiteY3" fmla="*/ 1936913 h 2664000"/>
              <a:gd name="connsiteX4" fmla="*/ 1141764 w 1141764"/>
              <a:gd name="connsiteY4" fmla="*/ 2068846 h 2664000"/>
              <a:gd name="connsiteX5" fmla="*/ 1009831 w 1141764"/>
              <a:gd name="connsiteY5" fmla="*/ 2200779 h 2664000"/>
              <a:gd name="connsiteX6" fmla="*/ 18000 w 1141764"/>
              <a:gd name="connsiteY6" fmla="*/ 2200779 h 2664000"/>
              <a:gd name="connsiteX7" fmla="*/ 18000 w 1141764"/>
              <a:gd name="connsiteY7" fmla="*/ 2664000 h 2664000"/>
              <a:gd name="connsiteX8" fmla="*/ 0 w 1141764"/>
              <a:gd name="connsiteY8" fmla="*/ 2664000 h 26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1764" h="2664000">
                <a:moveTo>
                  <a:pt x="0" y="0"/>
                </a:moveTo>
                <a:lnTo>
                  <a:pt x="18000" y="0"/>
                </a:lnTo>
                <a:lnTo>
                  <a:pt x="18000" y="1936913"/>
                </a:lnTo>
                <a:lnTo>
                  <a:pt x="1009831" y="1936913"/>
                </a:lnTo>
                <a:lnTo>
                  <a:pt x="1141764" y="2068846"/>
                </a:lnTo>
                <a:lnTo>
                  <a:pt x="1009831" y="2200779"/>
                </a:lnTo>
                <a:lnTo>
                  <a:pt x="18000" y="2200779"/>
                </a:lnTo>
                <a:lnTo>
                  <a:pt x="18000" y="2664000"/>
                </a:lnTo>
                <a:lnTo>
                  <a:pt x="0" y="2664000"/>
                </a:lnTo>
                <a:close/>
              </a:path>
            </a:pathLst>
          </a:custGeom>
          <a:solidFill>
            <a:schemeClr val="accent3"/>
          </a:solidFill>
        </p:spPr>
        <p:txBody>
          <a:bodyPr wrap="square" tIns="0" bIns="0" anchor="ctr">
            <a:noAutofit/>
          </a:bodyPr>
          <a:lstStyle>
            <a:lvl1pPr marL="0" indent="0">
              <a:buNone/>
              <a:defRPr sz="1000" b="1">
                <a:solidFill>
                  <a:schemeClr val="tx1">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70" name="Text Placeholder 29">
            <a:extLst>
              <a:ext uri="{FF2B5EF4-FFF2-40B4-BE49-F238E27FC236}">
                <a16:creationId xmlns:a16="http://schemas.microsoft.com/office/drawing/2014/main" id="{32E39F6E-5616-1EC7-DA06-FA903B0B9CC4}"/>
              </a:ext>
            </a:extLst>
          </p:cNvPr>
          <p:cNvSpPr>
            <a:spLocks noGrp="1"/>
          </p:cNvSpPr>
          <p:nvPr>
            <p:ph type="body" sz="quarter" idx="60" hasCustomPrompt="1"/>
          </p:nvPr>
        </p:nvSpPr>
        <p:spPr>
          <a:xfrm>
            <a:off x="9371274" y="4043826"/>
            <a:ext cx="2220323" cy="312739"/>
          </a:xfrm>
          <a:prstGeom prst="rect">
            <a:avLst/>
          </a:prstGeom>
        </p:spPr>
        <p:txBody>
          <a:bodyPr tIns="0" bIns="0" anchor="ctr">
            <a:noAutofit/>
          </a:bodyPr>
          <a:lstStyle>
            <a:lvl1pPr marL="0" indent="0" algn="l">
              <a:buNone/>
              <a:defRPr sz="1700" b="1">
                <a:solidFill>
                  <a:schemeClr val="accent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Milestone</a:t>
            </a:r>
            <a:endParaRPr lang="en-ID" dirty="0"/>
          </a:p>
        </p:txBody>
      </p:sp>
      <p:sp>
        <p:nvSpPr>
          <p:cNvPr id="74" name="Text Placeholder 29">
            <a:extLst>
              <a:ext uri="{FF2B5EF4-FFF2-40B4-BE49-F238E27FC236}">
                <a16:creationId xmlns:a16="http://schemas.microsoft.com/office/drawing/2014/main" id="{9A4B37EF-352C-7F66-A0C7-B1AAC332DF0B}"/>
              </a:ext>
            </a:extLst>
          </p:cNvPr>
          <p:cNvSpPr>
            <a:spLocks noGrp="1"/>
          </p:cNvSpPr>
          <p:nvPr>
            <p:ph type="body" sz="quarter" idx="48"/>
          </p:nvPr>
        </p:nvSpPr>
        <p:spPr>
          <a:xfrm>
            <a:off x="3850623" y="1718246"/>
            <a:ext cx="2220323" cy="553099"/>
          </a:xfrm>
          <a:prstGeom prst="rect">
            <a:avLst/>
          </a:prstGeom>
        </p:spPr>
        <p:txBody>
          <a:bodyPr tIns="0" bIns="0" anchor="b">
            <a:noAutofit/>
          </a:bodyPr>
          <a:lstStyle>
            <a:lvl1pPr marL="0" indent="0" algn="l">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75" name="Text Placeholder 29">
            <a:extLst>
              <a:ext uri="{FF2B5EF4-FFF2-40B4-BE49-F238E27FC236}">
                <a16:creationId xmlns:a16="http://schemas.microsoft.com/office/drawing/2014/main" id="{8AD0A0A8-C4B1-7D11-7CF8-B6C55DDAF46D}"/>
              </a:ext>
            </a:extLst>
          </p:cNvPr>
          <p:cNvSpPr>
            <a:spLocks noGrp="1"/>
          </p:cNvSpPr>
          <p:nvPr>
            <p:ph type="body" sz="quarter" idx="49"/>
          </p:nvPr>
        </p:nvSpPr>
        <p:spPr>
          <a:xfrm>
            <a:off x="3850623" y="2343346"/>
            <a:ext cx="2220323" cy="1141608"/>
          </a:xfrm>
          <a:prstGeom prst="rect">
            <a:avLst/>
          </a:prstGeom>
        </p:spPr>
        <p:txBody>
          <a:bodyPr tIns="0" bIns="0">
            <a:noAutofit/>
          </a:bodyPr>
          <a:lstStyle>
            <a:lvl1pPr marL="0" indent="0" algn="l">
              <a:buNone/>
              <a:defRPr sz="16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76" name="Text Placeholder 29">
            <a:extLst>
              <a:ext uri="{FF2B5EF4-FFF2-40B4-BE49-F238E27FC236}">
                <a16:creationId xmlns:a16="http://schemas.microsoft.com/office/drawing/2014/main" id="{9F88D094-280F-4883-8661-9A0BF47D066B}"/>
              </a:ext>
            </a:extLst>
          </p:cNvPr>
          <p:cNvSpPr>
            <a:spLocks noGrp="1"/>
          </p:cNvSpPr>
          <p:nvPr>
            <p:ph type="body" sz="quarter" idx="58"/>
          </p:nvPr>
        </p:nvSpPr>
        <p:spPr>
          <a:xfrm>
            <a:off x="9371274" y="1718246"/>
            <a:ext cx="2220323" cy="553099"/>
          </a:xfrm>
          <a:prstGeom prst="rect">
            <a:avLst/>
          </a:prstGeom>
        </p:spPr>
        <p:txBody>
          <a:bodyPr tIns="0" bIns="0" anchor="b">
            <a:noAutofit/>
          </a:bodyPr>
          <a:lstStyle>
            <a:lvl1pPr marL="0" indent="0" algn="l">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77" name="Text Placeholder 29">
            <a:extLst>
              <a:ext uri="{FF2B5EF4-FFF2-40B4-BE49-F238E27FC236}">
                <a16:creationId xmlns:a16="http://schemas.microsoft.com/office/drawing/2014/main" id="{A9F31ADB-E84D-0E5A-C855-7382535346A9}"/>
              </a:ext>
            </a:extLst>
          </p:cNvPr>
          <p:cNvSpPr>
            <a:spLocks noGrp="1"/>
          </p:cNvSpPr>
          <p:nvPr>
            <p:ph type="body" sz="quarter" idx="59"/>
          </p:nvPr>
        </p:nvSpPr>
        <p:spPr>
          <a:xfrm>
            <a:off x="9371274" y="2343346"/>
            <a:ext cx="2220323" cy="1141608"/>
          </a:xfrm>
          <a:prstGeom prst="rect">
            <a:avLst/>
          </a:prstGeom>
        </p:spPr>
        <p:txBody>
          <a:bodyPr tIns="0" bIns="0">
            <a:noAutofit/>
          </a:bodyPr>
          <a:lstStyle>
            <a:lvl1pPr marL="0" indent="0" algn="l">
              <a:buNone/>
              <a:defRPr sz="16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Tree>
    <p:extLst>
      <p:ext uri="{BB962C8B-B14F-4D97-AF65-F5344CB8AC3E}">
        <p14:creationId xmlns:p14="http://schemas.microsoft.com/office/powerpoint/2010/main" val="3777122769"/>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meline I60V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6477C-8D55-B4B8-85DD-DAF85A20D8C5}"/>
              </a:ext>
            </a:extLst>
          </p:cNvPr>
          <p:cNvSpPr>
            <a:spLocks noGrp="1"/>
          </p:cNvSpPr>
          <p:nvPr>
            <p:ph type="title"/>
          </p:nvPr>
        </p:nvSpPr>
        <p:spPr>
          <a:xfrm>
            <a:off x="731443" y="586105"/>
            <a:ext cx="10873182" cy="709295"/>
          </a:xfrm>
        </p:spPr>
        <p:txBody>
          <a:bodyPr anchor="t">
            <a:noAutofit/>
          </a:bodyPr>
          <a:lstStyle>
            <a:lvl1pPr>
              <a:defRPr>
                <a:solidFill>
                  <a:schemeClr val="tx1"/>
                </a:solidFill>
              </a:defRPr>
            </a:lvl1pPr>
          </a:lstStyle>
          <a:p>
            <a:r>
              <a:rPr lang="en-US" dirty="0"/>
              <a:t>Click to edit Master title style</a:t>
            </a:r>
            <a:endParaRPr lang="en-ID" dirty="0"/>
          </a:p>
        </p:txBody>
      </p:sp>
      <p:sp>
        <p:nvSpPr>
          <p:cNvPr id="11" name="Slide Number Placeholder 5">
            <a:extLst>
              <a:ext uri="{FF2B5EF4-FFF2-40B4-BE49-F238E27FC236}">
                <a16:creationId xmlns:a16="http://schemas.microsoft.com/office/drawing/2014/main" id="{752E3F75-A181-1CEF-4892-A00A828F0DEC}"/>
              </a:ext>
            </a:extLst>
          </p:cNvPr>
          <p:cNvSpPr>
            <a:spLocks noGrp="1"/>
          </p:cNvSpPr>
          <p:nvPr>
            <p:ph type="sldNum" sz="quarter" idx="4"/>
          </p:nvPr>
        </p:nvSpPr>
        <p:spPr>
          <a:xfrm>
            <a:off x="11058525" y="6409951"/>
            <a:ext cx="546100" cy="273799"/>
          </a:xfrm>
          <a:prstGeom prst="rect">
            <a:avLst/>
          </a:prstGeom>
        </p:spPr>
        <p:txBody>
          <a:bodyPr vert="horz" lIns="91440" tIns="45720" rIns="91440" bIns="45720" rtlCol="0" anchor="b"/>
          <a:lstStyle>
            <a:lvl1pPr algn="r">
              <a:defRPr sz="1200">
                <a:solidFill>
                  <a:schemeClr val="tx1"/>
                </a:solidFill>
                <a:latin typeface="+mn-lt"/>
              </a:defRPr>
            </a:lvl1pPr>
          </a:lstStyle>
          <a:p>
            <a:fld id="{5E0C3BBE-9543-48E5-A6E1-C646F9A01966}" type="slidenum">
              <a:rPr lang="en-ID" smtClean="0"/>
              <a:pPr/>
              <a:t>‹#›</a:t>
            </a:fld>
            <a:endParaRPr lang="en-ID" dirty="0"/>
          </a:p>
        </p:txBody>
      </p:sp>
      <p:cxnSp>
        <p:nvCxnSpPr>
          <p:cNvPr id="16" name="Straight Connector 15">
            <a:extLst>
              <a:ext uri="{FF2B5EF4-FFF2-40B4-BE49-F238E27FC236}">
                <a16:creationId xmlns:a16="http://schemas.microsoft.com/office/drawing/2014/main" id="{0657BBCF-CA9E-FB2C-CA76-82D2795FF965}"/>
              </a:ext>
            </a:extLst>
          </p:cNvPr>
          <p:cNvCxnSpPr>
            <a:cxnSpLocks/>
          </p:cNvCxnSpPr>
          <p:nvPr userDrawn="1"/>
        </p:nvCxnSpPr>
        <p:spPr>
          <a:xfrm>
            <a:off x="587375" y="585690"/>
            <a:ext cx="0" cy="70971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Footer Placeholder 4">
            <a:extLst>
              <a:ext uri="{FF2B5EF4-FFF2-40B4-BE49-F238E27FC236}">
                <a16:creationId xmlns:a16="http://schemas.microsoft.com/office/drawing/2014/main" id="{FC465D62-3382-034B-3BC4-9FA6DDBCBF3D}"/>
              </a:ext>
            </a:extLst>
          </p:cNvPr>
          <p:cNvSpPr>
            <a:spLocks noGrp="1"/>
          </p:cNvSpPr>
          <p:nvPr>
            <p:ph type="ftr" sz="quarter" idx="3"/>
          </p:nvPr>
        </p:nvSpPr>
        <p:spPr>
          <a:xfrm>
            <a:off x="584200" y="6364288"/>
            <a:ext cx="5511800" cy="365125"/>
          </a:xfrm>
          <a:prstGeom prst="rect">
            <a:avLst/>
          </a:prstGeom>
        </p:spPr>
        <p:txBody>
          <a:bodyPr vert="horz" lIns="91440" tIns="45720" rIns="91440" bIns="45720" rtlCol="0" anchor="ctr"/>
          <a:lstStyle>
            <a:lvl1pPr algn="l">
              <a:defRPr lang="en-GB" sz="1200">
                <a:solidFill>
                  <a:schemeClr val="tx1"/>
                </a:solidFill>
              </a:defRPr>
            </a:lvl1pPr>
          </a:lstStyle>
          <a:p>
            <a:r>
              <a:rPr lang="en-US"/>
              <a:t>PRESENTATION TITLE</a:t>
            </a:r>
            <a:endParaRPr lang="en-US" dirty="0"/>
          </a:p>
        </p:txBody>
      </p:sp>
      <p:sp>
        <p:nvSpPr>
          <p:cNvPr id="3" name="Rectangle 2">
            <a:extLst>
              <a:ext uri="{FF2B5EF4-FFF2-40B4-BE49-F238E27FC236}">
                <a16:creationId xmlns:a16="http://schemas.microsoft.com/office/drawing/2014/main" id="{DF3E35AF-2434-732B-7077-725C8432F6CD}"/>
              </a:ext>
            </a:extLst>
          </p:cNvPr>
          <p:cNvSpPr/>
          <p:nvPr userDrawn="1"/>
        </p:nvSpPr>
        <p:spPr>
          <a:xfrm rot="5400000">
            <a:off x="6337263" y="-2030450"/>
            <a:ext cx="117475" cy="11592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 name="Text Placeholder 3">
            <a:extLst>
              <a:ext uri="{FF2B5EF4-FFF2-40B4-BE49-F238E27FC236}">
                <a16:creationId xmlns:a16="http://schemas.microsoft.com/office/drawing/2014/main" id="{CE975C31-219D-A02E-F222-1A57035DB6D1}"/>
              </a:ext>
            </a:extLst>
          </p:cNvPr>
          <p:cNvSpPr>
            <a:spLocks noGrp="1"/>
          </p:cNvSpPr>
          <p:nvPr>
            <p:ph type="body" sz="quarter" idx="41" hasCustomPrompt="1"/>
          </p:nvPr>
        </p:nvSpPr>
        <p:spPr>
          <a:xfrm>
            <a:off x="885474" y="3163716"/>
            <a:ext cx="1141764" cy="2664000"/>
          </a:xfrm>
          <a:custGeom>
            <a:avLst/>
            <a:gdLst>
              <a:gd name="connsiteX0" fmla="*/ 0 w 1141764"/>
              <a:gd name="connsiteY0" fmla="*/ 0 h 2664000"/>
              <a:gd name="connsiteX1" fmla="*/ 18000 w 1141764"/>
              <a:gd name="connsiteY1" fmla="*/ 0 h 2664000"/>
              <a:gd name="connsiteX2" fmla="*/ 18000 w 1141764"/>
              <a:gd name="connsiteY2" fmla="*/ 465762 h 2664000"/>
              <a:gd name="connsiteX3" fmla="*/ 1009831 w 1141764"/>
              <a:gd name="connsiteY3" fmla="*/ 465762 h 2664000"/>
              <a:gd name="connsiteX4" fmla="*/ 1141764 w 1141764"/>
              <a:gd name="connsiteY4" fmla="*/ 597695 h 2664000"/>
              <a:gd name="connsiteX5" fmla="*/ 1009831 w 1141764"/>
              <a:gd name="connsiteY5" fmla="*/ 729628 h 2664000"/>
              <a:gd name="connsiteX6" fmla="*/ 18000 w 1141764"/>
              <a:gd name="connsiteY6" fmla="*/ 729628 h 2664000"/>
              <a:gd name="connsiteX7" fmla="*/ 18000 w 1141764"/>
              <a:gd name="connsiteY7" fmla="*/ 2664000 h 2664000"/>
              <a:gd name="connsiteX8" fmla="*/ 0 w 1141764"/>
              <a:gd name="connsiteY8" fmla="*/ 2664000 h 26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1764" h="2664000">
                <a:moveTo>
                  <a:pt x="0" y="0"/>
                </a:moveTo>
                <a:lnTo>
                  <a:pt x="18000" y="0"/>
                </a:lnTo>
                <a:lnTo>
                  <a:pt x="18000" y="465762"/>
                </a:lnTo>
                <a:lnTo>
                  <a:pt x="1009831" y="465762"/>
                </a:lnTo>
                <a:lnTo>
                  <a:pt x="1141764" y="597695"/>
                </a:lnTo>
                <a:lnTo>
                  <a:pt x="1009831" y="729628"/>
                </a:lnTo>
                <a:lnTo>
                  <a:pt x="18000" y="729628"/>
                </a:lnTo>
                <a:lnTo>
                  <a:pt x="18000" y="2664000"/>
                </a:lnTo>
                <a:lnTo>
                  <a:pt x="0" y="2664000"/>
                </a:lnTo>
                <a:close/>
              </a:path>
            </a:pathLst>
          </a:custGeom>
          <a:solidFill>
            <a:schemeClr val="accent3"/>
          </a:solidFill>
        </p:spPr>
        <p:txBody>
          <a:bodyPr wrap="square" tIns="0" bIns="0" anchor="ctr">
            <a:noAutofit/>
          </a:bodyPr>
          <a:lstStyle>
            <a:lvl1pPr marL="0" indent="0">
              <a:buNone/>
              <a:defRPr sz="1000" b="1">
                <a:solidFill>
                  <a:schemeClr val="tx1">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37" name="Text Placeholder 29">
            <a:extLst>
              <a:ext uri="{FF2B5EF4-FFF2-40B4-BE49-F238E27FC236}">
                <a16:creationId xmlns:a16="http://schemas.microsoft.com/office/drawing/2014/main" id="{7014ED8C-D9A2-3233-BF99-B959865B48B9}"/>
              </a:ext>
            </a:extLst>
          </p:cNvPr>
          <p:cNvSpPr>
            <a:spLocks noGrp="1"/>
          </p:cNvSpPr>
          <p:nvPr>
            <p:ph type="body" sz="quarter" idx="43"/>
          </p:nvPr>
        </p:nvSpPr>
        <p:spPr>
          <a:xfrm>
            <a:off x="1090297" y="4043826"/>
            <a:ext cx="1759583" cy="553099"/>
          </a:xfrm>
          <a:prstGeom prst="rect">
            <a:avLst/>
          </a:prstGeom>
        </p:spPr>
        <p:txBody>
          <a:bodyPr tIns="0" bIns="0" anchor="b">
            <a:noAutofit/>
          </a:bodyPr>
          <a:lstStyle>
            <a:lvl1pPr marL="0" indent="0" algn="l">
              <a:buNone/>
              <a:defRPr sz="14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38" name="Text Placeholder 29">
            <a:extLst>
              <a:ext uri="{FF2B5EF4-FFF2-40B4-BE49-F238E27FC236}">
                <a16:creationId xmlns:a16="http://schemas.microsoft.com/office/drawing/2014/main" id="{27A02D2A-8972-F536-0B27-7D6428470586}"/>
              </a:ext>
            </a:extLst>
          </p:cNvPr>
          <p:cNvSpPr>
            <a:spLocks noGrp="1"/>
          </p:cNvSpPr>
          <p:nvPr>
            <p:ph type="body" sz="quarter" idx="44"/>
          </p:nvPr>
        </p:nvSpPr>
        <p:spPr>
          <a:xfrm>
            <a:off x="1090297" y="4668926"/>
            <a:ext cx="1759583" cy="1141608"/>
          </a:xfrm>
          <a:prstGeom prst="rect">
            <a:avLst/>
          </a:prstGeom>
        </p:spPr>
        <p:txBody>
          <a:bodyPr tIns="0" bIns="0">
            <a:noAutofit/>
          </a:bodyPr>
          <a:lstStyle>
            <a:lvl1pPr marL="0" indent="0" algn="l">
              <a:buNone/>
              <a:defRPr sz="12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40" name="Text Placeholder 29">
            <a:extLst>
              <a:ext uri="{FF2B5EF4-FFF2-40B4-BE49-F238E27FC236}">
                <a16:creationId xmlns:a16="http://schemas.microsoft.com/office/drawing/2014/main" id="{5C686B82-2E00-D61D-3AA1-3461944BF439}"/>
              </a:ext>
            </a:extLst>
          </p:cNvPr>
          <p:cNvSpPr>
            <a:spLocks noGrp="1"/>
          </p:cNvSpPr>
          <p:nvPr>
            <p:ph type="body" sz="quarter" idx="45" hasCustomPrompt="1"/>
          </p:nvPr>
        </p:nvSpPr>
        <p:spPr>
          <a:xfrm>
            <a:off x="1090297" y="3163716"/>
            <a:ext cx="1759583" cy="312739"/>
          </a:xfrm>
          <a:prstGeom prst="rect">
            <a:avLst/>
          </a:prstGeom>
        </p:spPr>
        <p:txBody>
          <a:bodyPr tIns="0" bIns="0" anchor="ctr">
            <a:noAutofit/>
          </a:bodyPr>
          <a:lstStyle>
            <a:lvl1pPr marL="0" indent="0" algn="l">
              <a:buNone/>
              <a:defRPr sz="1300" b="1">
                <a:solidFill>
                  <a:schemeClr val="accent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Milestone</a:t>
            </a:r>
            <a:endParaRPr lang="en-ID" dirty="0"/>
          </a:p>
        </p:txBody>
      </p:sp>
      <p:sp>
        <p:nvSpPr>
          <p:cNvPr id="5" name="Text Placeholder 4">
            <a:extLst>
              <a:ext uri="{FF2B5EF4-FFF2-40B4-BE49-F238E27FC236}">
                <a16:creationId xmlns:a16="http://schemas.microsoft.com/office/drawing/2014/main" id="{A47A0D47-05C2-9BC0-F59C-51D49B0F64E1}"/>
              </a:ext>
            </a:extLst>
          </p:cNvPr>
          <p:cNvSpPr>
            <a:spLocks noGrp="1"/>
          </p:cNvSpPr>
          <p:nvPr>
            <p:ph type="body" sz="quarter" idx="47" hasCustomPrompt="1"/>
          </p:nvPr>
        </p:nvSpPr>
        <p:spPr>
          <a:xfrm>
            <a:off x="3074081" y="1699192"/>
            <a:ext cx="1141764" cy="2664000"/>
          </a:xfrm>
          <a:custGeom>
            <a:avLst/>
            <a:gdLst>
              <a:gd name="connsiteX0" fmla="*/ 0 w 1141764"/>
              <a:gd name="connsiteY0" fmla="*/ 0 h 2664000"/>
              <a:gd name="connsiteX1" fmla="*/ 18000 w 1141764"/>
              <a:gd name="connsiteY1" fmla="*/ 0 h 2664000"/>
              <a:gd name="connsiteX2" fmla="*/ 18000 w 1141764"/>
              <a:gd name="connsiteY2" fmla="*/ 1930286 h 2664000"/>
              <a:gd name="connsiteX3" fmla="*/ 1009831 w 1141764"/>
              <a:gd name="connsiteY3" fmla="*/ 1930286 h 2664000"/>
              <a:gd name="connsiteX4" fmla="*/ 1141764 w 1141764"/>
              <a:gd name="connsiteY4" fmla="*/ 2062219 h 2664000"/>
              <a:gd name="connsiteX5" fmla="*/ 1009831 w 1141764"/>
              <a:gd name="connsiteY5" fmla="*/ 2194152 h 2664000"/>
              <a:gd name="connsiteX6" fmla="*/ 18000 w 1141764"/>
              <a:gd name="connsiteY6" fmla="*/ 2194152 h 2664000"/>
              <a:gd name="connsiteX7" fmla="*/ 18000 w 1141764"/>
              <a:gd name="connsiteY7" fmla="*/ 2664000 h 2664000"/>
              <a:gd name="connsiteX8" fmla="*/ 0 w 1141764"/>
              <a:gd name="connsiteY8" fmla="*/ 2664000 h 26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1764" h="2664000">
                <a:moveTo>
                  <a:pt x="0" y="0"/>
                </a:moveTo>
                <a:lnTo>
                  <a:pt x="18000" y="0"/>
                </a:lnTo>
                <a:lnTo>
                  <a:pt x="18000" y="1930286"/>
                </a:lnTo>
                <a:lnTo>
                  <a:pt x="1009831" y="1930286"/>
                </a:lnTo>
                <a:lnTo>
                  <a:pt x="1141764" y="2062219"/>
                </a:lnTo>
                <a:lnTo>
                  <a:pt x="1009831" y="2194152"/>
                </a:lnTo>
                <a:lnTo>
                  <a:pt x="18000" y="2194152"/>
                </a:lnTo>
                <a:lnTo>
                  <a:pt x="18000" y="2664000"/>
                </a:lnTo>
                <a:lnTo>
                  <a:pt x="0" y="2664000"/>
                </a:lnTo>
                <a:close/>
              </a:path>
            </a:pathLst>
          </a:custGeom>
          <a:solidFill>
            <a:schemeClr val="accent3"/>
          </a:solidFill>
        </p:spPr>
        <p:txBody>
          <a:bodyPr wrap="square" tIns="0" bIns="0" anchor="ctr">
            <a:noAutofit/>
          </a:bodyPr>
          <a:lstStyle>
            <a:lvl1pPr marL="0" indent="0">
              <a:buNone/>
              <a:defRPr sz="1000" b="1">
                <a:solidFill>
                  <a:schemeClr val="tx1">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163" name="Text Placeholder 29">
            <a:extLst>
              <a:ext uri="{FF2B5EF4-FFF2-40B4-BE49-F238E27FC236}">
                <a16:creationId xmlns:a16="http://schemas.microsoft.com/office/drawing/2014/main" id="{C5DD8546-7846-83DD-C69C-139A5A7F21FE}"/>
              </a:ext>
            </a:extLst>
          </p:cNvPr>
          <p:cNvSpPr>
            <a:spLocks noGrp="1"/>
          </p:cNvSpPr>
          <p:nvPr>
            <p:ph type="body" sz="quarter" idx="48"/>
          </p:nvPr>
        </p:nvSpPr>
        <p:spPr>
          <a:xfrm>
            <a:off x="3278904" y="1718665"/>
            <a:ext cx="1759583" cy="553099"/>
          </a:xfrm>
          <a:prstGeom prst="rect">
            <a:avLst/>
          </a:prstGeom>
        </p:spPr>
        <p:txBody>
          <a:bodyPr tIns="0" bIns="0" anchor="b">
            <a:noAutofit/>
          </a:bodyPr>
          <a:lstStyle>
            <a:lvl1pPr marL="0" indent="0" algn="l">
              <a:buNone/>
              <a:defRPr sz="14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164" name="Text Placeholder 29">
            <a:extLst>
              <a:ext uri="{FF2B5EF4-FFF2-40B4-BE49-F238E27FC236}">
                <a16:creationId xmlns:a16="http://schemas.microsoft.com/office/drawing/2014/main" id="{F16E4A49-2C01-191F-8326-F61D104B88EC}"/>
              </a:ext>
            </a:extLst>
          </p:cNvPr>
          <p:cNvSpPr>
            <a:spLocks noGrp="1"/>
          </p:cNvSpPr>
          <p:nvPr>
            <p:ph type="body" sz="quarter" idx="49"/>
          </p:nvPr>
        </p:nvSpPr>
        <p:spPr>
          <a:xfrm>
            <a:off x="3278904" y="2343765"/>
            <a:ext cx="1759583" cy="1141608"/>
          </a:xfrm>
          <a:prstGeom prst="rect">
            <a:avLst/>
          </a:prstGeom>
        </p:spPr>
        <p:txBody>
          <a:bodyPr tIns="0" bIns="0">
            <a:noAutofit/>
          </a:bodyPr>
          <a:lstStyle>
            <a:lvl1pPr marL="0" indent="0" algn="l">
              <a:buNone/>
              <a:defRPr sz="12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165" name="Text Placeholder 29">
            <a:extLst>
              <a:ext uri="{FF2B5EF4-FFF2-40B4-BE49-F238E27FC236}">
                <a16:creationId xmlns:a16="http://schemas.microsoft.com/office/drawing/2014/main" id="{B5F67B93-A329-BE6A-41F1-59E419F2B5B9}"/>
              </a:ext>
            </a:extLst>
          </p:cNvPr>
          <p:cNvSpPr>
            <a:spLocks noGrp="1"/>
          </p:cNvSpPr>
          <p:nvPr>
            <p:ph type="body" sz="quarter" idx="50" hasCustomPrompt="1"/>
          </p:nvPr>
        </p:nvSpPr>
        <p:spPr>
          <a:xfrm>
            <a:off x="3278904" y="4042675"/>
            <a:ext cx="1759583" cy="312739"/>
          </a:xfrm>
          <a:prstGeom prst="rect">
            <a:avLst/>
          </a:prstGeom>
        </p:spPr>
        <p:txBody>
          <a:bodyPr tIns="0" bIns="0" anchor="ctr">
            <a:noAutofit/>
          </a:bodyPr>
          <a:lstStyle>
            <a:lvl1pPr marL="0" indent="0" algn="l">
              <a:buNone/>
              <a:defRPr sz="1300" b="1">
                <a:solidFill>
                  <a:schemeClr val="accent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Milestone</a:t>
            </a:r>
            <a:endParaRPr lang="en-ID" dirty="0"/>
          </a:p>
        </p:txBody>
      </p:sp>
      <p:sp>
        <p:nvSpPr>
          <p:cNvPr id="6" name="Text Placeholder 5">
            <a:extLst>
              <a:ext uri="{FF2B5EF4-FFF2-40B4-BE49-F238E27FC236}">
                <a16:creationId xmlns:a16="http://schemas.microsoft.com/office/drawing/2014/main" id="{D126093C-560C-352B-BFD7-C3CC93BC36D7}"/>
              </a:ext>
            </a:extLst>
          </p:cNvPr>
          <p:cNvSpPr>
            <a:spLocks noGrp="1"/>
          </p:cNvSpPr>
          <p:nvPr>
            <p:ph type="body" sz="quarter" idx="52" hasCustomPrompt="1"/>
          </p:nvPr>
        </p:nvSpPr>
        <p:spPr>
          <a:xfrm>
            <a:off x="5262688" y="3163716"/>
            <a:ext cx="1141764" cy="2664000"/>
          </a:xfrm>
          <a:custGeom>
            <a:avLst/>
            <a:gdLst>
              <a:gd name="connsiteX0" fmla="*/ 0 w 1141764"/>
              <a:gd name="connsiteY0" fmla="*/ 0 h 2664000"/>
              <a:gd name="connsiteX1" fmla="*/ 18000 w 1141764"/>
              <a:gd name="connsiteY1" fmla="*/ 0 h 2664000"/>
              <a:gd name="connsiteX2" fmla="*/ 18000 w 1141764"/>
              <a:gd name="connsiteY2" fmla="*/ 465762 h 2664000"/>
              <a:gd name="connsiteX3" fmla="*/ 1009831 w 1141764"/>
              <a:gd name="connsiteY3" fmla="*/ 465762 h 2664000"/>
              <a:gd name="connsiteX4" fmla="*/ 1141764 w 1141764"/>
              <a:gd name="connsiteY4" fmla="*/ 597695 h 2664000"/>
              <a:gd name="connsiteX5" fmla="*/ 1009831 w 1141764"/>
              <a:gd name="connsiteY5" fmla="*/ 729628 h 2664000"/>
              <a:gd name="connsiteX6" fmla="*/ 18000 w 1141764"/>
              <a:gd name="connsiteY6" fmla="*/ 729628 h 2664000"/>
              <a:gd name="connsiteX7" fmla="*/ 18000 w 1141764"/>
              <a:gd name="connsiteY7" fmla="*/ 2664000 h 2664000"/>
              <a:gd name="connsiteX8" fmla="*/ 0 w 1141764"/>
              <a:gd name="connsiteY8" fmla="*/ 2664000 h 26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1764" h="2664000">
                <a:moveTo>
                  <a:pt x="0" y="0"/>
                </a:moveTo>
                <a:lnTo>
                  <a:pt x="18000" y="0"/>
                </a:lnTo>
                <a:lnTo>
                  <a:pt x="18000" y="465762"/>
                </a:lnTo>
                <a:lnTo>
                  <a:pt x="1009831" y="465762"/>
                </a:lnTo>
                <a:lnTo>
                  <a:pt x="1141764" y="597695"/>
                </a:lnTo>
                <a:lnTo>
                  <a:pt x="1009831" y="729628"/>
                </a:lnTo>
                <a:lnTo>
                  <a:pt x="18000" y="729628"/>
                </a:lnTo>
                <a:lnTo>
                  <a:pt x="18000" y="2664000"/>
                </a:lnTo>
                <a:lnTo>
                  <a:pt x="0" y="2664000"/>
                </a:lnTo>
                <a:close/>
              </a:path>
            </a:pathLst>
          </a:custGeom>
          <a:solidFill>
            <a:schemeClr val="accent3"/>
          </a:solidFill>
        </p:spPr>
        <p:txBody>
          <a:bodyPr wrap="square" tIns="0" bIns="0" anchor="ctr">
            <a:noAutofit/>
          </a:bodyPr>
          <a:lstStyle>
            <a:lvl1pPr marL="0" indent="0">
              <a:buNone/>
              <a:defRPr sz="1000" b="1">
                <a:solidFill>
                  <a:schemeClr val="tx1">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168" name="Text Placeholder 29">
            <a:extLst>
              <a:ext uri="{FF2B5EF4-FFF2-40B4-BE49-F238E27FC236}">
                <a16:creationId xmlns:a16="http://schemas.microsoft.com/office/drawing/2014/main" id="{48A5C6E0-43E1-EBAC-3627-302E662E8650}"/>
              </a:ext>
            </a:extLst>
          </p:cNvPr>
          <p:cNvSpPr>
            <a:spLocks noGrp="1"/>
          </p:cNvSpPr>
          <p:nvPr>
            <p:ph type="body" sz="quarter" idx="53"/>
          </p:nvPr>
        </p:nvSpPr>
        <p:spPr>
          <a:xfrm>
            <a:off x="5467511" y="4043826"/>
            <a:ext cx="1759583" cy="553099"/>
          </a:xfrm>
          <a:prstGeom prst="rect">
            <a:avLst/>
          </a:prstGeom>
        </p:spPr>
        <p:txBody>
          <a:bodyPr tIns="0" bIns="0" anchor="b">
            <a:noAutofit/>
          </a:bodyPr>
          <a:lstStyle>
            <a:lvl1pPr marL="0" indent="0" algn="l">
              <a:buNone/>
              <a:defRPr sz="14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169" name="Text Placeholder 29">
            <a:extLst>
              <a:ext uri="{FF2B5EF4-FFF2-40B4-BE49-F238E27FC236}">
                <a16:creationId xmlns:a16="http://schemas.microsoft.com/office/drawing/2014/main" id="{92ADEB34-3562-FF59-B5E4-127C5221B69D}"/>
              </a:ext>
            </a:extLst>
          </p:cNvPr>
          <p:cNvSpPr>
            <a:spLocks noGrp="1"/>
          </p:cNvSpPr>
          <p:nvPr>
            <p:ph type="body" sz="quarter" idx="54"/>
          </p:nvPr>
        </p:nvSpPr>
        <p:spPr>
          <a:xfrm>
            <a:off x="5467511" y="4668926"/>
            <a:ext cx="1759583" cy="1141608"/>
          </a:xfrm>
          <a:prstGeom prst="rect">
            <a:avLst/>
          </a:prstGeom>
        </p:spPr>
        <p:txBody>
          <a:bodyPr tIns="0" bIns="0">
            <a:noAutofit/>
          </a:bodyPr>
          <a:lstStyle>
            <a:lvl1pPr marL="0" indent="0" algn="l">
              <a:buNone/>
              <a:defRPr sz="12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170" name="Text Placeholder 29">
            <a:extLst>
              <a:ext uri="{FF2B5EF4-FFF2-40B4-BE49-F238E27FC236}">
                <a16:creationId xmlns:a16="http://schemas.microsoft.com/office/drawing/2014/main" id="{AEB128F4-BE54-8A4E-8B71-C822615400B1}"/>
              </a:ext>
            </a:extLst>
          </p:cNvPr>
          <p:cNvSpPr>
            <a:spLocks noGrp="1"/>
          </p:cNvSpPr>
          <p:nvPr>
            <p:ph type="body" sz="quarter" idx="55" hasCustomPrompt="1"/>
          </p:nvPr>
        </p:nvSpPr>
        <p:spPr>
          <a:xfrm>
            <a:off x="5467511" y="3163716"/>
            <a:ext cx="1759583" cy="312739"/>
          </a:xfrm>
          <a:prstGeom prst="rect">
            <a:avLst/>
          </a:prstGeom>
        </p:spPr>
        <p:txBody>
          <a:bodyPr tIns="0" bIns="0" anchor="ctr">
            <a:noAutofit/>
          </a:bodyPr>
          <a:lstStyle>
            <a:lvl1pPr marL="0" indent="0" algn="l">
              <a:buNone/>
              <a:defRPr sz="1300" b="1">
                <a:solidFill>
                  <a:schemeClr val="accent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Milestone</a:t>
            </a:r>
            <a:endParaRPr lang="en-ID" dirty="0"/>
          </a:p>
        </p:txBody>
      </p:sp>
      <p:sp>
        <p:nvSpPr>
          <p:cNvPr id="7" name="Text Placeholder 6">
            <a:extLst>
              <a:ext uri="{FF2B5EF4-FFF2-40B4-BE49-F238E27FC236}">
                <a16:creationId xmlns:a16="http://schemas.microsoft.com/office/drawing/2014/main" id="{4529A5CA-6490-C09D-8035-8669A156943B}"/>
              </a:ext>
            </a:extLst>
          </p:cNvPr>
          <p:cNvSpPr>
            <a:spLocks noGrp="1"/>
          </p:cNvSpPr>
          <p:nvPr>
            <p:ph type="body" sz="quarter" idx="57" hasCustomPrompt="1"/>
          </p:nvPr>
        </p:nvSpPr>
        <p:spPr>
          <a:xfrm>
            <a:off x="7451295" y="1699192"/>
            <a:ext cx="1141764" cy="2664000"/>
          </a:xfrm>
          <a:custGeom>
            <a:avLst/>
            <a:gdLst>
              <a:gd name="connsiteX0" fmla="*/ 0 w 1141764"/>
              <a:gd name="connsiteY0" fmla="*/ 0 h 2664000"/>
              <a:gd name="connsiteX1" fmla="*/ 18000 w 1141764"/>
              <a:gd name="connsiteY1" fmla="*/ 0 h 2664000"/>
              <a:gd name="connsiteX2" fmla="*/ 18000 w 1141764"/>
              <a:gd name="connsiteY2" fmla="*/ 1930286 h 2664000"/>
              <a:gd name="connsiteX3" fmla="*/ 1009831 w 1141764"/>
              <a:gd name="connsiteY3" fmla="*/ 1930286 h 2664000"/>
              <a:gd name="connsiteX4" fmla="*/ 1141764 w 1141764"/>
              <a:gd name="connsiteY4" fmla="*/ 2062219 h 2664000"/>
              <a:gd name="connsiteX5" fmla="*/ 1009831 w 1141764"/>
              <a:gd name="connsiteY5" fmla="*/ 2194152 h 2664000"/>
              <a:gd name="connsiteX6" fmla="*/ 18000 w 1141764"/>
              <a:gd name="connsiteY6" fmla="*/ 2194152 h 2664000"/>
              <a:gd name="connsiteX7" fmla="*/ 18000 w 1141764"/>
              <a:gd name="connsiteY7" fmla="*/ 2664000 h 2664000"/>
              <a:gd name="connsiteX8" fmla="*/ 0 w 1141764"/>
              <a:gd name="connsiteY8" fmla="*/ 2664000 h 26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1764" h="2664000">
                <a:moveTo>
                  <a:pt x="0" y="0"/>
                </a:moveTo>
                <a:lnTo>
                  <a:pt x="18000" y="0"/>
                </a:lnTo>
                <a:lnTo>
                  <a:pt x="18000" y="1930286"/>
                </a:lnTo>
                <a:lnTo>
                  <a:pt x="1009831" y="1930286"/>
                </a:lnTo>
                <a:lnTo>
                  <a:pt x="1141764" y="2062219"/>
                </a:lnTo>
                <a:lnTo>
                  <a:pt x="1009831" y="2194152"/>
                </a:lnTo>
                <a:lnTo>
                  <a:pt x="18000" y="2194152"/>
                </a:lnTo>
                <a:lnTo>
                  <a:pt x="18000" y="2664000"/>
                </a:lnTo>
                <a:lnTo>
                  <a:pt x="0" y="2664000"/>
                </a:lnTo>
                <a:close/>
              </a:path>
            </a:pathLst>
          </a:custGeom>
          <a:solidFill>
            <a:schemeClr val="accent3"/>
          </a:solidFill>
        </p:spPr>
        <p:txBody>
          <a:bodyPr wrap="square" tIns="0" bIns="0" anchor="ctr">
            <a:noAutofit/>
          </a:bodyPr>
          <a:lstStyle>
            <a:lvl1pPr marL="0" indent="0">
              <a:buNone/>
              <a:defRPr sz="1000" b="1">
                <a:solidFill>
                  <a:schemeClr val="tx1">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173" name="Text Placeholder 29">
            <a:extLst>
              <a:ext uri="{FF2B5EF4-FFF2-40B4-BE49-F238E27FC236}">
                <a16:creationId xmlns:a16="http://schemas.microsoft.com/office/drawing/2014/main" id="{F761310B-EE7F-0F87-C86E-E6D63D440E48}"/>
              </a:ext>
            </a:extLst>
          </p:cNvPr>
          <p:cNvSpPr>
            <a:spLocks noGrp="1"/>
          </p:cNvSpPr>
          <p:nvPr>
            <p:ph type="body" sz="quarter" idx="58"/>
          </p:nvPr>
        </p:nvSpPr>
        <p:spPr>
          <a:xfrm>
            <a:off x="7656118" y="1718665"/>
            <a:ext cx="1759583" cy="553099"/>
          </a:xfrm>
          <a:prstGeom prst="rect">
            <a:avLst/>
          </a:prstGeom>
        </p:spPr>
        <p:txBody>
          <a:bodyPr tIns="0" bIns="0" anchor="b">
            <a:noAutofit/>
          </a:bodyPr>
          <a:lstStyle>
            <a:lvl1pPr marL="0" indent="0" algn="l">
              <a:buNone/>
              <a:defRPr sz="14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174" name="Text Placeholder 29">
            <a:extLst>
              <a:ext uri="{FF2B5EF4-FFF2-40B4-BE49-F238E27FC236}">
                <a16:creationId xmlns:a16="http://schemas.microsoft.com/office/drawing/2014/main" id="{22D679C5-9724-078D-4FB9-33695B27C36A}"/>
              </a:ext>
            </a:extLst>
          </p:cNvPr>
          <p:cNvSpPr>
            <a:spLocks noGrp="1"/>
          </p:cNvSpPr>
          <p:nvPr>
            <p:ph type="body" sz="quarter" idx="59"/>
          </p:nvPr>
        </p:nvSpPr>
        <p:spPr>
          <a:xfrm>
            <a:off x="7656118" y="2343765"/>
            <a:ext cx="1759583" cy="1141608"/>
          </a:xfrm>
          <a:prstGeom prst="rect">
            <a:avLst/>
          </a:prstGeom>
        </p:spPr>
        <p:txBody>
          <a:bodyPr tIns="0" bIns="0">
            <a:noAutofit/>
          </a:bodyPr>
          <a:lstStyle>
            <a:lvl1pPr marL="0" indent="0" algn="l">
              <a:buNone/>
              <a:defRPr sz="12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175" name="Text Placeholder 29">
            <a:extLst>
              <a:ext uri="{FF2B5EF4-FFF2-40B4-BE49-F238E27FC236}">
                <a16:creationId xmlns:a16="http://schemas.microsoft.com/office/drawing/2014/main" id="{6B7B7D1C-51CE-D9FF-4225-896F49CA329F}"/>
              </a:ext>
            </a:extLst>
          </p:cNvPr>
          <p:cNvSpPr>
            <a:spLocks noGrp="1"/>
          </p:cNvSpPr>
          <p:nvPr>
            <p:ph type="body" sz="quarter" idx="60" hasCustomPrompt="1"/>
          </p:nvPr>
        </p:nvSpPr>
        <p:spPr>
          <a:xfrm>
            <a:off x="7656118" y="4042675"/>
            <a:ext cx="1759583" cy="312739"/>
          </a:xfrm>
          <a:prstGeom prst="rect">
            <a:avLst/>
          </a:prstGeom>
        </p:spPr>
        <p:txBody>
          <a:bodyPr tIns="0" bIns="0" anchor="ctr">
            <a:noAutofit/>
          </a:bodyPr>
          <a:lstStyle>
            <a:lvl1pPr marL="0" indent="0" algn="l">
              <a:buNone/>
              <a:defRPr sz="1300" b="1">
                <a:solidFill>
                  <a:schemeClr val="accent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Milestone</a:t>
            </a:r>
            <a:endParaRPr lang="en-ID" dirty="0"/>
          </a:p>
        </p:txBody>
      </p:sp>
      <p:sp>
        <p:nvSpPr>
          <p:cNvPr id="9" name="Text Placeholder 8">
            <a:extLst>
              <a:ext uri="{FF2B5EF4-FFF2-40B4-BE49-F238E27FC236}">
                <a16:creationId xmlns:a16="http://schemas.microsoft.com/office/drawing/2014/main" id="{7D41E683-1A91-BE24-5ADB-99D8017A12D9}"/>
              </a:ext>
            </a:extLst>
          </p:cNvPr>
          <p:cNvSpPr>
            <a:spLocks noGrp="1"/>
          </p:cNvSpPr>
          <p:nvPr>
            <p:ph type="body" sz="quarter" idx="62" hasCustomPrompt="1"/>
          </p:nvPr>
        </p:nvSpPr>
        <p:spPr>
          <a:xfrm>
            <a:off x="9639902" y="3163716"/>
            <a:ext cx="1141764" cy="2664000"/>
          </a:xfrm>
          <a:custGeom>
            <a:avLst/>
            <a:gdLst>
              <a:gd name="connsiteX0" fmla="*/ 0 w 1141764"/>
              <a:gd name="connsiteY0" fmla="*/ 0 h 2664000"/>
              <a:gd name="connsiteX1" fmla="*/ 18000 w 1141764"/>
              <a:gd name="connsiteY1" fmla="*/ 0 h 2664000"/>
              <a:gd name="connsiteX2" fmla="*/ 18000 w 1141764"/>
              <a:gd name="connsiteY2" fmla="*/ 465762 h 2664000"/>
              <a:gd name="connsiteX3" fmla="*/ 1009831 w 1141764"/>
              <a:gd name="connsiteY3" fmla="*/ 465762 h 2664000"/>
              <a:gd name="connsiteX4" fmla="*/ 1141764 w 1141764"/>
              <a:gd name="connsiteY4" fmla="*/ 597695 h 2664000"/>
              <a:gd name="connsiteX5" fmla="*/ 1009831 w 1141764"/>
              <a:gd name="connsiteY5" fmla="*/ 729628 h 2664000"/>
              <a:gd name="connsiteX6" fmla="*/ 18000 w 1141764"/>
              <a:gd name="connsiteY6" fmla="*/ 729628 h 2664000"/>
              <a:gd name="connsiteX7" fmla="*/ 18000 w 1141764"/>
              <a:gd name="connsiteY7" fmla="*/ 2664000 h 2664000"/>
              <a:gd name="connsiteX8" fmla="*/ 0 w 1141764"/>
              <a:gd name="connsiteY8" fmla="*/ 2664000 h 26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1764" h="2664000">
                <a:moveTo>
                  <a:pt x="0" y="0"/>
                </a:moveTo>
                <a:lnTo>
                  <a:pt x="18000" y="0"/>
                </a:lnTo>
                <a:lnTo>
                  <a:pt x="18000" y="465762"/>
                </a:lnTo>
                <a:lnTo>
                  <a:pt x="1009831" y="465762"/>
                </a:lnTo>
                <a:lnTo>
                  <a:pt x="1141764" y="597695"/>
                </a:lnTo>
                <a:lnTo>
                  <a:pt x="1009831" y="729628"/>
                </a:lnTo>
                <a:lnTo>
                  <a:pt x="18000" y="729628"/>
                </a:lnTo>
                <a:lnTo>
                  <a:pt x="18000" y="2664000"/>
                </a:lnTo>
                <a:lnTo>
                  <a:pt x="0" y="2664000"/>
                </a:lnTo>
                <a:close/>
              </a:path>
            </a:pathLst>
          </a:custGeom>
          <a:solidFill>
            <a:schemeClr val="accent3"/>
          </a:solidFill>
        </p:spPr>
        <p:txBody>
          <a:bodyPr wrap="square" tIns="0" bIns="0" anchor="ctr">
            <a:noAutofit/>
          </a:bodyPr>
          <a:lstStyle>
            <a:lvl1pPr marL="0" indent="0">
              <a:buNone/>
              <a:defRPr sz="1000" b="1">
                <a:solidFill>
                  <a:schemeClr val="tx1">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178" name="Text Placeholder 29">
            <a:extLst>
              <a:ext uri="{FF2B5EF4-FFF2-40B4-BE49-F238E27FC236}">
                <a16:creationId xmlns:a16="http://schemas.microsoft.com/office/drawing/2014/main" id="{C9739B77-26F8-B08C-60D1-B8A8F10A4102}"/>
              </a:ext>
            </a:extLst>
          </p:cNvPr>
          <p:cNvSpPr>
            <a:spLocks noGrp="1"/>
          </p:cNvSpPr>
          <p:nvPr>
            <p:ph type="body" sz="quarter" idx="63"/>
          </p:nvPr>
        </p:nvSpPr>
        <p:spPr>
          <a:xfrm>
            <a:off x="9844725" y="4043826"/>
            <a:ext cx="1759583" cy="553099"/>
          </a:xfrm>
          <a:prstGeom prst="rect">
            <a:avLst/>
          </a:prstGeom>
        </p:spPr>
        <p:txBody>
          <a:bodyPr tIns="0" bIns="0" anchor="b">
            <a:noAutofit/>
          </a:bodyPr>
          <a:lstStyle>
            <a:lvl1pPr marL="0" indent="0" algn="l">
              <a:buNone/>
              <a:defRPr sz="14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179" name="Text Placeholder 29">
            <a:extLst>
              <a:ext uri="{FF2B5EF4-FFF2-40B4-BE49-F238E27FC236}">
                <a16:creationId xmlns:a16="http://schemas.microsoft.com/office/drawing/2014/main" id="{58402617-6AC8-711D-F79A-1D2968B5E9FF}"/>
              </a:ext>
            </a:extLst>
          </p:cNvPr>
          <p:cNvSpPr>
            <a:spLocks noGrp="1"/>
          </p:cNvSpPr>
          <p:nvPr>
            <p:ph type="body" sz="quarter" idx="64"/>
          </p:nvPr>
        </p:nvSpPr>
        <p:spPr>
          <a:xfrm>
            <a:off x="9844725" y="4668926"/>
            <a:ext cx="1759583" cy="1141608"/>
          </a:xfrm>
          <a:prstGeom prst="rect">
            <a:avLst/>
          </a:prstGeom>
        </p:spPr>
        <p:txBody>
          <a:bodyPr tIns="0" bIns="0">
            <a:noAutofit/>
          </a:bodyPr>
          <a:lstStyle>
            <a:lvl1pPr marL="0" indent="0" algn="l">
              <a:buNone/>
              <a:defRPr sz="12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180" name="Text Placeholder 29">
            <a:extLst>
              <a:ext uri="{FF2B5EF4-FFF2-40B4-BE49-F238E27FC236}">
                <a16:creationId xmlns:a16="http://schemas.microsoft.com/office/drawing/2014/main" id="{EEF0B2A5-748A-C294-5F9B-7654A8F55050}"/>
              </a:ext>
            </a:extLst>
          </p:cNvPr>
          <p:cNvSpPr>
            <a:spLocks noGrp="1"/>
          </p:cNvSpPr>
          <p:nvPr>
            <p:ph type="body" sz="quarter" idx="65" hasCustomPrompt="1"/>
          </p:nvPr>
        </p:nvSpPr>
        <p:spPr>
          <a:xfrm>
            <a:off x="9844725" y="3163716"/>
            <a:ext cx="1759583" cy="312739"/>
          </a:xfrm>
          <a:prstGeom prst="rect">
            <a:avLst/>
          </a:prstGeom>
        </p:spPr>
        <p:txBody>
          <a:bodyPr tIns="0" bIns="0" anchor="ctr">
            <a:noAutofit/>
          </a:bodyPr>
          <a:lstStyle>
            <a:lvl1pPr marL="0" indent="0" algn="l">
              <a:buNone/>
              <a:defRPr sz="1300" b="1">
                <a:solidFill>
                  <a:schemeClr val="accent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Milestone</a:t>
            </a:r>
            <a:endParaRPr lang="en-ID" dirty="0"/>
          </a:p>
        </p:txBody>
      </p:sp>
    </p:spTree>
    <p:extLst>
      <p:ext uri="{BB962C8B-B14F-4D97-AF65-F5344CB8AC3E}">
        <p14:creationId xmlns:p14="http://schemas.microsoft.com/office/powerpoint/2010/main" val="1984547406"/>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meline I60V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6477C-8D55-B4B8-85DD-DAF85A20D8C5}"/>
              </a:ext>
            </a:extLst>
          </p:cNvPr>
          <p:cNvSpPr>
            <a:spLocks noGrp="1"/>
          </p:cNvSpPr>
          <p:nvPr>
            <p:ph type="title"/>
          </p:nvPr>
        </p:nvSpPr>
        <p:spPr>
          <a:xfrm>
            <a:off x="731443" y="586105"/>
            <a:ext cx="10873182" cy="709295"/>
          </a:xfrm>
        </p:spPr>
        <p:txBody>
          <a:bodyPr anchor="t">
            <a:noAutofit/>
          </a:bodyPr>
          <a:lstStyle>
            <a:lvl1pPr>
              <a:defRPr>
                <a:solidFill>
                  <a:schemeClr val="tx1"/>
                </a:solidFill>
              </a:defRPr>
            </a:lvl1pPr>
          </a:lstStyle>
          <a:p>
            <a:r>
              <a:rPr lang="en-US" dirty="0"/>
              <a:t>Click to edit Master title style</a:t>
            </a:r>
            <a:endParaRPr lang="en-ID" dirty="0"/>
          </a:p>
        </p:txBody>
      </p:sp>
      <p:sp>
        <p:nvSpPr>
          <p:cNvPr id="11" name="Slide Number Placeholder 5">
            <a:extLst>
              <a:ext uri="{FF2B5EF4-FFF2-40B4-BE49-F238E27FC236}">
                <a16:creationId xmlns:a16="http://schemas.microsoft.com/office/drawing/2014/main" id="{752E3F75-A181-1CEF-4892-A00A828F0DEC}"/>
              </a:ext>
            </a:extLst>
          </p:cNvPr>
          <p:cNvSpPr>
            <a:spLocks noGrp="1"/>
          </p:cNvSpPr>
          <p:nvPr>
            <p:ph type="sldNum" sz="quarter" idx="4"/>
          </p:nvPr>
        </p:nvSpPr>
        <p:spPr>
          <a:xfrm>
            <a:off x="11058525" y="6409951"/>
            <a:ext cx="546100" cy="273799"/>
          </a:xfrm>
          <a:prstGeom prst="rect">
            <a:avLst/>
          </a:prstGeom>
        </p:spPr>
        <p:txBody>
          <a:bodyPr vert="horz" lIns="91440" tIns="45720" rIns="91440" bIns="45720" rtlCol="0" anchor="b"/>
          <a:lstStyle>
            <a:lvl1pPr algn="r">
              <a:defRPr sz="1200">
                <a:solidFill>
                  <a:schemeClr val="tx1"/>
                </a:solidFill>
                <a:latin typeface="+mn-lt"/>
              </a:defRPr>
            </a:lvl1pPr>
          </a:lstStyle>
          <a:p>
            <a:fld id="{5E0C3BBE-9543-48E5-A6E1-C646F9A01966}" type="slidenum">
              <a:rPr lang="en-ID" smtClean="0"/>
              <a:pPr/>
              <a:t>‹#›</a:t>
            </a:fld>
            <a:endParaRPr lang="en-ID" dirty="0"/>
          </a:p>
        </p:txBody>
      </p:sp>
      <p:cxnSp>
        <p:nvCxnSpPr>
          <p:cNvPr id="16" name="Straight Connector 15">
            <a:extLst>
              <a:ext uri="{FF2B5EF4-FFF2-40B4-BE49-F238E27FC236}">
                <a16:creationId xmlns:a16="http://schemas.microsoft.com/office/drawing/2014/main" id="{0657BBCF-CA9E-FB2C-CA76-82D2795FF965}"/>
              </a:ext>
            </a:extLst>
          </p:cNvPr>
          <p:cNvCxnSpPr>
            <a:cxnSpLocks/>
          </p:cNvCxnSpPr>
          <p:nvPr userDrawn="1"/>
        </p:nvCxnSpPr>
        <p:spPr>
          <a:xfrm>
            <a:off x="587375" y="585690"/>
            <a:ext cx="0" cy="70971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Footer Placeholder 4">
            <a:extLst>
              <a:ext uri="{FF2B5EF4-FFF2-40B4-BE49-F238E27FC236}">
                <a16:creationId xmlns:a16="http://schemas.microsoft.com/office/drawing/2014/main" id="{FC465D62-3382-034B-3BC4-9FA6DDBCBF3D}"/>
              </a:ext>
            </a:extLst>
          </p:cNvPr>
          <p:cNvSpPr>
            <a:spLocks noGrp="1"/>
          </p:cNvSpPr>
          <p:nvPr>
            <p:ph type="ftr" sz="quarter" idx="3"/>
          </p:nvPr>
        </p:nvSpPr>
        <p:spPr>
          <a:xfrm>
            <a:off x="584200" y="6364288"/>
            <a:ext cx="5511800" cy="365125"/>
          </a:xfrm>
          <a:prstGeom prst="rect">
            <a:avLst/>
          </a:prstGeom>
        </p:spPr>
        <p:txBody>
          <a:bodyPr vert="horz" lIns="91440" tIns="45720" rIns="91440" bIns="45720" rtlCol="0" anchor="ctr"/>
          <a:lstStyle>
            <a:lvl1pPr algn="l">
              <a:defRPr lang="en-GB" sz="1200">
                <a:solidFill>
                  <a:schemeClr val="tx1"/>
                </a:solidFill>
              </a:defRPr>
            </a:lvl1pPr>
          </a:lstStyle>
          <a:p>
            <a:r>
              <a:rPr lang="en-US"/>
              <a:t>PRESENTATION TITLE</a:t>
            </a:r>
            <a:endParaRPr lang="en-US" dirty="0"/>
          </a:p>
        </p:txBody>
      </p:sp>
      <p:sp>
        <p:nvSpPr>
          <p:cNvPr id="3" name="Rectangle 2">
            <a:extLst>
              <a:ext uri="{FF2B5EF4-FFF2-40B4-BE49-F238E27FC236}">
                <a16:creationId xmlns:a16="http://schemas.microsoft.com/office/drawing/2014/main" id="{DF3E35AF-2434-732B-7077-725C8432F6CD}"/>
              </a:ext>
            </a:extLst>
          </p:cNvPr>
          <p:cNvSpPr/>
          <p:nvPr userDrawn="1"/>
        </p:nvSpPr>
        <p:spPr>
          <a:xfrm rot="5400000">
            <a:off x="6337263" y="-2030450"/>
            <a:ext cx="117475" cy="11592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4" name="Text Placeholder 33">
            <a:extLst>
              <a:ext uri="{FF2B5EF4-FFF2-40B4-BE49-F238E27FC236}">
                <a16:creationId xmlns:a16="http://schemas.microsoft.com/office/drawing/2014/main" id="{EC45824E-FA98-3F48-43A4-48FA0DA290D3}"/>
              </a:ext>
            </a:extLst>
          </p:cNvPr>
          <p:cNvSpPr>
            <a:spLocks noGrp="1"/>
          </p:cNvSpPr>
          <p:nvPr>
            <p:ph type="body" sz="quarter" idx="41" hasCustomPrompt="1"/>
          </p:nvPr>
        </p:nvSpPr>
        <p:spPr>
          <a:xfrm>
            <a:off x="885474" y="3163716"/>
            <a:ext cx="1141764" cy="2664000"/>
          </a:xfrm>
          <a:custGeom>
            <a:avLst/>
            <a:gdLst>
              <a:gd name="connsiteX0" fmla="*/ 0 w 1141764"/>
              <a:gd name="connsiteY0" fmla="*/ 0 h 2664000"/>
              <a:gd name="connsiteX1" fmla="*/ 18000 w 1141764"/>
              <a:gd name="connsiteY1" fmla="*/ 0 h 2664000"/>
              <a:gd name="connsiteX2" fmla="*/ 18000 w 1141764"/>
              <a:gd name="connsiteY2" fmla="*/ 465762 h 2664000"/>
              <a:gd name="connsiteX3" fmla="*/ 1009831 w 1141764"/>
              <a:gd name="connsiteY3" fmla="*/ 465762 h 2664000"/>
              <a:gd name="connsiteX4" fmla="*/ 1141764 w 1141764"/>
              <a:gd name="connsiteY4" fmla="*/ 597695 h 2664000"/>
              <a:gd name="connsiteX5" fmla="*/ 1009831 w 1141764"/>
              <a:gd name="connsiteY5" fmla="*/ 729628 h 2664000"/>
              <a:gd name="connsiteX6" fmla="*/ 18000 w 1141764"/>
              <a:gd name="connsiteY6" fmla="*/ 729628 h 2664000"/>
              <a:gd name="connsiteX7" fmla="*/ 18000 w 1141764"/>
              <a:gd name="connsiteY7" fmla="*/ 2664000 h 2664000"/>
              <a:gd name="connsiteX8" fmla="*/ 0 w 1141764"/>
              <a:gd name="connsiteY8" fmla="*/ 2664000 h 26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1764" h="2664000">
                <a:moveTo>
                  <a:pt x="0" y="0"/>
                </a:moveTo>
                <a:lnTo>
                  <a:pt x="18000" y="0"/>
                </a:lnTo>
                <a:lnTo>
                  <a:pt x="18000" y="465762"/>
                </a:lnTo>
                <a:lnTo>
                  <a:pt x="1009831" y="465762"/>
                </a:lnTo>
                <a:lnTo>
                  <a:pt x="1141764" y="597695"/>
                </a:lnTo>
                <a:lnTo>
                  <a:pt x="1009831" y="729628"/>
                </a:lnTo>
                <a:lnTo>
                  <a:pt x="18000" y="729628"/>
                </a:lnTo>
                <a:lnTo>
                  <a:pt x="18000" y="2664000"/>
                </a:lnTo>
                <a:lnTo>
                  <a:pt x="0" y="2664000"/>
                </a:lnTo>
                <a:close/>
              </a:path>
            </a:pathLst>
          </a:custGeom>
          <a:solidFill>
            <a:schemeClr val="accent3"/>
          </a:solidFill>
        </p:spPr>
        <p:txBody>
          <a:bodyPr wrap="square" tIns="0" bIns="0" anchor="ctr">
            <a:noAutofit/>
          </a:bodyPr>
          <a:lstStyle>
            <a:lvl1pPr marL="0" indent="0">
              <a:buNone/>
              <a:defRPr sz="1000" b="1">
                <a:solidFill>
                  <a:schemeClr val="tx1">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37" name="Text Placeholder 29">
            <a:extLst>
              <a:ext uri="{FF2B5EF4-FFF2-40B4-BE49-F238E27FC236}">
                <a16:creationId xmlns:a16="http://schemas.microsoft.com/office/drawing/2014/main" id="{7014ED8C-D9A2-3233-BF99-B959865B48B9}"/>
              </a:ext>
            </a:extLst>
          </p:cNvPr>
          <p:cNvSpPr>
            <a:spLocks noGrp="1"/>
          </p:cNvSpPr>
          <p:nvPr>
            <p:ph type="body" sz="quarter" idx="43"/>
          </p:nvPr>
        </p:nvSpPr>
        <p:spPr>
          <a:xfrm>
            <a:off x="1090297" y="4043826"/>
            <a:ext cx="1524316" cy="553099"/>
          </a:xfrm>
          <a:prstGeom prst="rect">
            <a:avLst/>
          </a:prstGeom>
        </p:spPr>
        <p:txBody>
          <a:bodyPr tIns="0" bIns="0" anchor="b">
            <a:noAutofit/>
          </a:bodyPr>
          <a:lstStyle>
            <a:lvl1pPr marL="0" indent="0" algn="l">
              <a:buNone/>
              <a:defRPr sz="14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a:t>
            </a:r>
            <a:endParaRPr lang="en-ID" dirty="0"/>
          </a:p>
        </p:txBody>
      </p:sp>
      <p:sp>
        <p:nvSpPr>
          <p:cNvPr id="38" name="Text Placeholder 29">
            <a:extLst>
              <a:ext uri="{FF2B5EF4-FFF2-40B4-BE49-F238E27FC236}">
                <a16:creationId xmlns:a16="http://schemas.microsoft.com/office/drawing/2014/main" id="{27A02D2A-8972-F536-0B27-7D6428470586}"/>
              </a:ext>
            </a:extLst>
          </p:cNvPr>
          <p:cNvSpPr>
            <a:spLocks noGrp="1"/>
          </p:cNvSpPr>
          <p:nvPr>
            <p:ph type="body" sz="quarter" idx="44"/>
          </p:nvPr>
        </p:nvSpPr>
        <p:spPr>
          <a:xfrm>
            <a:off x="1090297" y="4668926"/>
            <a:ext cx="1524316" cy="1141608"/>
          </a:xfrm>
          <a:prstGeom prst="rect">
            <a:avLst/>
          </a:prstGeom>
        </p:spPr>
        <p:txBody>
          <a:bodyPr tIns="0" bIns="0">
            <a:noAutofit/>
          </a:bodyPr>
          <a:lstStyle>
            <a:lvl1pPr marL="0" indent="0" algn="l">
              <a:buNone/>
              <a:defRPr sz="12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40" name="Text Placeholder 29">
            <a:extLst>
              <a:ext uri="{FF2B5EF4-FFF2-40B4-BE49-F238E27FC236}">
                <a16:creationId xmlns:a16="http://schemas.microsoft.com/office/drawing/2014/main" id="{5C686B82-2E00-D61D-3AA1-3461944BF439}"/>
              </a:ext>
            </a:extLst>
          </p:cNvPr>
          <p:cNvSpPr>
            <a:spLocks noGrp="1"/>
          </p:cNvSpPr>
          <p:nvPr>
            <p:ph type="body" sz="quarter" idx="45" hasCustomPrompt="1"/>
          </p:nvPr>
        </p:nvSpPr>
        <p:spPr>
          <a:xfrm>
            <a:off x="1090297" y="3163716"/>
            <a:ext cx="1524316" cy="312739"/>
          </a:xfrm>
          <a:prstGeom prst="rect">
            <a:avLst/>
          </a:prstGeom>
        </p:spPr>
        <p:txBody>
          <a:bodyPr tIns="0" bIns="0" anchor="ctr">
            <a:noAutofit/>
          </a:bodyPr>
          <a:lstStyle>
            <a:lvl1pPr marL="0" indent="0" algn="l">
              <a:buNone/>
              <a:defRPr sz="1300" b="1">
                <a:solidFill>
                  <a:schemeClr val="accent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Milestone</a:t>
            </a:r>
            <a:endParaRPr lang="en-ID" dirty="0"/>
          </a:p>
        </p:txBody>
      </p:sp>
      <p:sp>
        <p:nvSpPr>
          <p:cNvPr id="35" name="Text Placeholder 34">
            <a:extLst>
              <a:ext uri="{FF2B5EF4-FFF2-40B4-BE49-F238E27FC236}">
                <a16:creationId xmlns:a16="http://schemas.microsoft.com/office/drawing/2014/main" id="{32042ABC-7363-45D1-6C7E-996659DD27C8}"/>
              </a:ext>
            </a:extLst>
          </p:cNvPr>
          <p:cNvSpPr>
            <a:spLocks noGrp="1"/>
          </p:cNvSpPr>
          <p:nvPr>
            <p:ph type="body" sz="quarter" idx="47" hasCustomPrompt="1"/>
          </p:nvPr>
        </p:nvSpPr>
        <p:spPr>
          <a:xfrm>
            <a:off x="2678597" y="1716813"/>
            <a:ext cx="1141764" cy="2664000"/>
          </a:xfrm>
          <a:custGeom>
            <a:avLst/>
            <a:gdLst>
              <a:gd name="connsiteX0" fmla="*/ 0 w 1141764"/>
              <a:gd name="connsiteY0" fmla="*/ 0 h 2664000"/>
              <a:gd name="connsiteX1" fmla="*/ 18000 w 1141764"/>
              <a:gd name="connsiteY1" fmla="*/ 0 h 2664000"/>
              <a:gd name="connsiteX2" fmla="*/ 18000 w 1141764"/>
              <a:gd name="connsiteY2" fmla="*/ 1912665 h 2664000"/>
              <a:gd name="connsiteX3" fmla="*/ 1009831 w 1141764"/>
              <a:gd name="connsiteY3" fmla="*/ 1912665 h 2664000"/>
              <a:gd name="connsiteX4" fmla="*/ 1141764 w 1141764"/>
              <a:gd name="connsiteY4" fmla="*/ 2044598 h 2664000"/>
              <a:gd name="connsiteX5" fmla="*/ 1009831 w 1141764"/>
              <a:gd name="connsiteY5" fmla="*/ 2176531 h 2664000"/>
              <a:gd name="connsiteX6" fmla="*/ 18000 w 1141764"/>
              <a:gd name="connsiteY6" fmla="*/ 2176531 h 2664000"/>
              <a:gd name="connsiteX7" fmla="*/ 18000 w 1141764"/>
              <a:gd name="connsiteY7" fmla="*/ 2664000 h 2664000"/>
              <a:gd name="connsiteX8" fmla="*/ 0 w 1141764"/>
              <a:gd name="connsiteY8" fmla="*/ 2664000 h 26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1764" h="2664000">
                <a:moveTo>
                  <a:pt x="0" y="0"/>
                </a:moveTo>
                <a:lnTo>
                  <a:pt x="18000" y="0"/>
                </a:lnTo>
                <a:lnTo>
                  <a:pt x="18000" y="1912665"/>
                </a:lnTo>
                <a:lnTo>
                  <a:pt x="1009831" y="1912665"/>
                </a:lnTo>
                <a:lnTo>
                  <a:pt x="1141764" y="2044598"/>
                </a:lnTo>
                <a:lnTo>
                  <a:pt x="1009831" y="2176531"/>
                </a:lnTo>
                <a:lnTo>
                  <a:pt x="18000" y="2176531"/>
                </a:lnTo>
                <a:lnTo>
                  <a:pt x="18000" y="2664000"/>
                </a:lnTo>
                <a:lnTo>
                  <a:pt x="0" y="2664000"/>
                </a:lnTo>
                <a:close/>
              </a:path>
            </a:pathLst>
          </a:custGeom>
          <a:solidFill>
            <a:schemeClr val="accent3"/>
          </a:solidFill>
        </p:spPr>
        <p:txBody>
          <a:bodyPr wrap="square" tIns="0" bIns="0" anchor="ctr">
            <a:noAutofit/>
          </a:bodyPr>
          <a:lstStyle>
            <a:lvl1pPr marL="0" indent="0">
              <a:buNone/>
              <a:defRPr sz="1000" b="1">
                <a:solidFill>
                  <a:schemeClr val="tx1">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6" name="Text Placeholder 29">
            <a:extLst>
              <a:ext uri="{FF2B5EF4-FFF2-40B4-BE49-F238E27FC236}">
                <a16:creationId xmlns:a16="http://schemas.microsoft.com/office/drawing/2014/main" id="{38C63DFC-2B10-361A-FCA7-CF7597B18397}"/>
              </a:ext>
            </a:extLst>
          </p:cNvPr>
          <p:cNvSpPr>
            <a:spLocks noGrp="1"/>
          </p:cNvSpPr>
          <p:nvPr>
            <p:ph type="body" sz="quarter" idx="48"/>
          </p:nvPr>
        </p:nvSpPr>
        <p:spPr>
          <a:xfrm>
            <a:off x="2883420" y="1720518"/>
            <a:ext cx="1524316" cy="553099"/>
          </a:xfrm>
          <a:prstGeom prst="rect">
            <a:avLst/>
          </a:prstGeom>
        </p:spPr>
        <p:txBody>
          <a:bodyPr tIns="0" bIns="0" anchor="b">
            <a:noAutofit/>
          </a:bodyPr>
          <a:lstStyle>
            <a:lvl1pPr marL="0" indent="0" algn="l">
              <a:buNone/>
              <a:defRPr sz="14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a:t>
            </a:r>
            <a:endParaRPr lang="en-ID" dirty="0"/>
          </a:p>
        </p:txBody>
      </p:sp>
      <p:sp>
        <p:nvSpPr>
          <p:cNvPr id="7" name="Text Placeholder 29">
            <a:extLst>
              <a:ext uri="{FF2B5EF4-FFF2-40B4-BE49-F238E27FC236}">
                <a16:creationId xmlns:a16="http://schemas.microsoft.com/office/drawing/2014/main" id="{B083110B-0B44-1AE1-53ED-162013C095D9}"/>
              </a:ext>
            </a:extLst>
          </p:cNvPr>
          <p:cNvSpPr>
            <a:spLocks noGrp="1"/>
          </p:cNvSpPr>
          <p:nvPr>
            <p:ph type="body" sz="quarter" idx="49"/>
          </p:nvPr>
        </p:nvSpPr>
        <p:spPr>
          <a:xfrm>
            <a:off x="2883420" y="2345618"/>
            <a:ext cx="1524316" cy="1141608"/>
          </a:xfrm>
          <a:prstGeom prst="rect">
            <a:avLst/>
          </a:prstGeom>
        </p:spPr>
        <p:txBody>
          <a:bodyPr tIns="0" bIns="0">
            <a:noAutofit/>
          </a:bodyPr>
          <a:lstStyle>
            <a:lvl1pPr marL="0" indent="0" algn="l">
              <a:buNone/>
              <a:defRPr sz="12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9" name="Text Placeholder 29">
            <a:extLst>
              <a:ext uri="{FF2B5EF4-FFF2-40B4-BE49-F238E27FC236}">
                <a16:creationId xmlns:a16="http://schemas.microsoft.com/office/drawing/2014/main" id="{A255DCBF-68F9-FF27-692F-BEEBCCC1EABD}"/>
              </a:ext>
            </a:extLst>
          </p:cNvPr>
          <p:cNvSpPr>
            <a:spLocks noGrp="1"/>
          </p:cNvSpPr>
          <p:nvPr>
            <p:ph type="body" sz="quarter" idx="50" hasCustomPrompt="1"/>
          </p:nvPr>
        </p:nvSpPr>
        <p:spPr>
          <a:xfrm>
            <a:off x="2883420" y="4040481"/>
            <a:ext cx="1524316" cy="312739"/>
          </a:xfrm>
          <a:prstGeom prst="rect">
            <a:avLst/>
          </a:prstGeom>
        </p:spPr>
        <p:txBody>
          <a:bodyPr tIns="0" bIns="0" anchor="ctr">
            <a:noAutofit/>
          </a:bodyPr>
          <a:lstStyle>
            <a:lvl1pPr marL="0" indent="0" algn="l">
              <a:buNone/>
              <a:defRPr sz="1300" b="1">
                <a:solidFill>
                  <a:schemeClr val="accent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Milestone</a:t>
            </a:r>
            <a:endParaRPr lang="en-ID" dirty="0"/>
          </a:p>
        </p:txBody>
      </p:sp>
      <p:sp>
        <p:nvSpPr>
          <p:cNvPr id="36" name="Text Placeholder 35">
            <a:extLst>
              <a:ext uri="{FF2B5EF4-FFF2-40B4-BE49-F238E27FC236}">
                <a16:creationId xmlns:a16="http://schemas.microsoft.com/office/drawing/2014/main" id="{1BB48274-CC80-A14B-889A-6A18E60C2E7E}"/>
              </a:ext>
            </a:extLst>
          </p:cNvPr>
          <p:cNvSpPr>
            <a:spLocks noGrp="1"/>
          </p:cNvSpPr>
          <p:nvPr>
            <p:ph type="body" sz="quarter" idx="52" hasCustomPrompt="1"/>
          </p:nvPr>
        </p:nvSpPr>
        <p:spPr>
          <a:xfrm>
            <a:off x="4471720" y="3163716"/>
            <a:ext cx="1141764" cy="2664000"/>
          </a:xfrm>
          <a:custGeom>
            <a:avLst/>
            <a:gdLst>
              <a:gd name="connsiteX0" fmla="*/ 0 w 1141764"/>
              <a:gd name="connsiteY0" fmla="*/ 0 h 2664000"/>
              <a:gd name="connsiteX1" fmla="*/ 18000 w 1141764"/>
              <a:gd name="connsiteY1" fmla="*/ 0 h 2664000"/>
              <a:gd name="connsiteX2" fmla="*/ 18000 w 1141764"/>
              <a:gd name="connsiteY2" fmla="*/ 465762 h 2664000"/>
              <a:gd name="connsiteX3" fmla="*/ 1009831 w 1141764"/>
              <a:gd name="connsiteY3" fmla="*/ 465762 h 2664000"/>
              <a:gd name="connsiteX4" fmla="*/ 1141764 w 1141764"/>
              <a:gd name="connsiteY4" fmla="*/ 597695 h 2664000"/>
              <a:gd name="connsiteX5" fmla="*/ 1009831 w 1141764"/>
              <a:gd name="connsiteY5" fmla="*/ 729628 h 2664000"/>
              <a:gd name="connsiteX6" fmla="*/ 18000 w 1141764"/>
              <a:gd name="connsiteY6" fmla="*/ 729628 h 2664000"/>
              <a:gd name="connsiteX7" fmla="*/ 18000 w 1141764"/>
              <a:gd name="connsiteY7" fmla="*/ 2664000 h 2664000"/>
              <a:gd name="connsiteX8" fmla="*/ 0 w 1141764"/>
              <a:gd name="connsiteY8" fmla="*/ 2664000 h 26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1764" h="2664000">
                <a:moveTo>
                  <a:pt x="0" y="0"/>
                </a:moveTo>
                <a:lnTo>
                  <a:pt x="18000" y="0"/>
                </a:lnTo>
                <a:lnTo>
                  <a:pt x="18000" y="465762"/>
                </a:lnTo>
                <a:lnTo>
                  <a:pt x="1009831" y="465762"/>
                </a:lnTo>
                <a:lnTo>
                  <a:pt x="1141764" y="597695"/>
                </a:lnTo>
                <a:lnTo>
                  <a:pt x="1009831" y="729628"/>
                </a:lnTo>
                <a:lnTo>
                  <a:pt x="18000" y="729628"/>
                </a:lnTo>
                <a:lnTo>
                  <a:pt x="18000" y="2664000"/>
                </a:lnTo>
                <a:lnTo>
                  <a:pt x="0" y="2664000"/>
                </a:lnTo>
                <a:close/>
              </a:path>
            </a:pathLst>
          </a:custGeom>
          <a:solidFill>
            <a:schemeClr val="accent3"/>
          </a:solidFill>
        </p:spPr>
        <p:txBody>
          <a:bodyPr wrap="square" tIns="0" bIns="0" anchor="ctr">
            <a:noAutofit/>
          </a:bodyPr>
          <a:lstStyle>
            <a:lvl1pPr marL="0" indent="0">
              <a:buNone/>
              <a:defRPr sz="1000" b="1">
                <a:solidFill>
                  <a:schemeClr val="tx1">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13" name="Text Placeholder 29">
            <a:extLst>
              <a:ext uri="{FF2B5EF4-FFF2-40B4-BE49-F238E27FC236}">
                <a16:creationId xmlns:a16="http://schemas.microsoft.com/office/drawing/2014/main" id="{94F075A8-69C1-48E5-5F7F-3498229CA9E4}"/>
              </a:ext>
            </a:extLst>
          </p:cNvPr>
          <p:cNvSpPr>
            <a:spLocks noGrp="1"/>
          </p:cNvSpPr>
          <p:nvPr>
            <p:ph type="body" sz="quarter" idx="53"/>
          </p:nvPr>
        </p:nvSpPr>
        <p:spPr>
          <a:xfrm>
            <a:off x="4676543" y="4043826"/>
            <a:ext cx="1524316" cy="553099"/>
          </a:xfrm>
          <a:prstGeom prst="rect">
            <a:avLst/>
          </a:prstGeom>
        </p:spPr>
        <p:txBody>
          <a:bodyPr tIns="0" bIns="0" anchor="b">
            <a:noAutofit/>
          </a:bodyPr>
          <a:lstStyle>
            <a:lvl1pPr marL="0" indent="0" algn="l">
              <a:buNone/>
              <a:defRPr sz="14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a:t>
            </a:r>
            <a:endParaRPr lang="en-ID" dirty="0"/>
          </a:p>
        </p:txBody>
      </p:sp>
      <p:sp>
        <p:nvSpPr>
          <p:cNvPr id="14" name="Text Placeholder 29">
            <a:extLst>
              <a:ext uri="{FF2B5EF4-FFF2-40B4-BE49-F238E27FC236}">
                <a16:creationId xmlns:a16="http://schemas.microsoft.com/office/drawing/2014/main" id="{1EBDC6D4-7B18-8ABB-464C-5594F2C77E24}"/>
              </a:ext>
            </a:extLst>
          </p:cNvPr>
          <p:cNvSpPr>
            <a:spLocks noGrp="1"/>
          </p:cNvSpPr>
          <p:nvPr>
            <p:ph type="body" sz="quarter" idx="54"/>
          </p:nvPr>
        </p:nvSpPr>
        <p:spPr>
          <a:xfrm>
            <a:off x="4676543" y="4668926"/>
            <a:ext cx="1524316" cy="1141608"/>
          </a:xfrm>
          <a:prstGeom prst="rect">
            <a:avLst/>
          </a:prstGeom>
        </p:spPr>
        <p:txBody>
          <a:bodyPr tIns="0" bIns="0">
            <a:noAutofit/>
          </a:bodyPr>
          <a:lstStyle>
            <a:lvl1pPr marL="0" indent="0" algn="l">
              <a:buNone/>
              <a:defRPr sz="12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15" name="Text Placeholder 29">
            <a:extLst>
              <a:ext uri="{FF2B5EF4-FFF2-40B4-BE49-F238E27FC236}">
                <a16:creationId xmlns:a16="http://schemas.microsoft.com/office/drawing/2014/main" id="{A7B1BFF0-812C-FDEC-F620-A11909471D21}"/>
              </a:ext>
            </a:extLst>
          </p:cNvPr>
          <p:cNvSpPr>
            <a:spLocks noGrp="1"/>
          </p:cNvSpPr>
          <p:nvPr>
            <p:ph type="body" sz="quarter" idx="55" hasCustomPrompt="1"/>
          </p:nvPr>
        </p:nvSpPr>
        <p:spPr>
          <a:xfrm>
            <a:off x="4676543" y="3163716"/>
            <a:ext cx="1524316" cy="312739"/>
          </a:xfrm>
          <a:prstGeom prst="rect">
            <a:avLst/>
          </a:prstGeom>
        </p:spPr>
        <p:txBody>
          <a:bodyPr tIns="0" bIns="0" anchor="ctr">
            <a:noAutofit/>
          </a:bodyPr>
          <a:lstStyle>
            <a:lvl1pPr marL="0" indent="0" algn="l">
              <a:buNone/>
              <a:defRPr sz="1300" b="1">
                <a:solidFill>
                  <a:schemeClr val="accent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Milestone</a:t>
            </a:r>
            <a:endParaRPr lang="en-ID" dirty="0"/>
          </a:p>
        </p:txBody>
      </p:sp>
      <p:sp>
        <p:nvSpPr>
          <p:cNvPr id="39" name="Text Placeholder 38">
            <a:extLst>
              <a:ext uri="{FF2B5EF4-FFF2-40B4-BE49-F238E27FC236}">
                <a16:creationId xmlns:a16="http://schemas.microsoft.com/office/drawing/2014/main" id="{F789DB73-A7E4-0B6C-FAC9-BBEEAC72053A}"/>
              </a:ext>
            </a:extLst>
          </p:cNvPr>
          <p:cNvSpPr>
            <a:spLocks noGrp="1"/>
          </p:cNvSpPr>
          <p:nvPr>
            <p:ph type="body" sz="quarter" idx="57" hasCustomPrompt="1"/>
          </p:nvPr>
        </p:nvSpPr>
        <p:spPr>
          <a:xfrm>
            <a:off x="6264843" y="1716813"/>
            <a:ext cx="1141764" cy="2664000"/>
          </a:xfrm>
          <a:custGeom>
            <a:avLst/>
            <a:gdLst>
              <a:gd name="connsiteX0" fmla="*/ 0 w 1141764"/>
              <a:gd name="connsiteY0" fmla="*/ 0 h 2664000"/>
              <a:gd name="connsiteX1" fmla="*/ 18000 w 1141764"/>
              <a:gd name="connsiteY1" fmla="*/ 0 h 2664000"/>
              <a:gd name="connsiteX2" fmla="*/ 18000 w 1141764"/>
              <a:gd name="connsiteY2" fmla="*/ 1912665 h 2664000"/>
              <a:gd name="connsiteX3" fmla="*/ 1009831 w 1141764"/>
              <a:gd name="connsiteY3" fmla="*/ 1912665 h 2664000"/>
              <a:gd name="connsiteX4" fmla="*/ 1141764 w 1141764"/>
              <a:gd name="connsiteY4" fmla="*/ 2044598 h 2664000"/>
              <a:gd name="connsiteX5" fmla="*/ 1009831 w 1141764"/>
              <a:gd name="connsiteY5" fmla="*/ 2176531 h 2664000"/>
              <a:gd name="connsiteX6" fmla="*/ 18000 w 1141764"/>
              <a:gd name="connsiteY6" fmla="*/ 2176531 h 2664000"/>
              <a:gd name="connsiteX7" fmla="*/ 18000 w 1141764"/>
              <a:gd name="connsiteY7" fmla="*/ 2664000 h 2664000"/>
              <a:gd name="connsiteX8" fmla="*/ 0 w 1141764"/>
              <a:gd name="connsiteY8" fmla="*/ 2664000 h 26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1764" h="2664000">
                <a:moveTo>
                  <a:pt x="0" y="0"/>
                </a:moveTo>
                <a:lnTo>
                  <a:pt x="18000" y="0"/>
                </a:lnTo>
                <a:lnTo>
                  <a:pt x="18000" y="1912665"/>
                </a:lnTo>
                <a:lnTo>
                  <a:pt x="1009831" y="1912665"/>
                </a:lnTo>
                <a:lnTo>
                  <a:pt x="1141764" y="2044598"/>
                </a:lnTo>
                <a:lnTo>
                  <a:pt x="1009831" y="2176531"/>
                </a:lnTo>
                <a:lnTo>
                  <a:pt x="18000" y="2176531"/>
                </a:lnTo>
                <a:lnTo>
                  <a:pt x="18000" y="2664000"/>
                </a:lnTo>
                <a:lnTo>
                  <a:pt x="0" y="2664000"/>
                </a:lnTo>
                <a:close/>
              </a:path>
            </a:pathLst>
          </a:custGeom>
          <a:solidFill>
            <a:schemeClr val="accent3"/>
          </a:solidFill>
        </p:spPr>
        <p:txBody>
          <a:bodyPr wrap="square" tIns="0" bIns="0" anchor="ctr">
            <a:noAutofit/>
          </a:bodyPr>
          <a:lstStyle>
            <a:lvl1pPr marL="0" indent="0">
              <a:buNone/>
              <a:defRPr sz="1000" b="1">
                <a:solidFill>
                  <a:schemeClr val="tx1">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19" name="Text Placeholder 29">
            <a:extLst>
              <a:ext uri="{FF2B5EF4-FFF2-40B4-BE49-F238E27FC236}">
                <a16:creationId xmlns:a16="http://schemas.microsoft.com/office/drawing/2014/main" id="{DFB0D309-AB17-47AE-C87C-CB3AE74D48F7}"/>
              </a:ext>
            </a:extLst>
          </p:cNvPr>
          <p:cNvSpPr>
            <a:spLocks noGrp="1"/>
          </p:cNvSpPr>
          <p:nvPr>
            <p:ph type="body" sz="quarter" idx="58"/>
          </p:nvPr>
        </p:nvSpPr>
        <p:spPr>
          <a:xfrm>
            <a:off x="6469666" y="1720518"/>
            <a:ext cx="1524316" cy="553099"/>
          </a:xfrm>
          <a:prstGeom prst="rect">
            <a:avLst/>
          </a:prstGeom>
        </p:spPr>
        <p:txBody>
          <a:bodyPr tIns="0" bIns="0" anchor="b">
            <a:noAutofit/>
          </a:bodyPr>
          <a:lstStyle>
            <a:lvl1pPr marL="0" indent="0" algn="l">
              <a:buNone/>
              <a:defRPr sz="14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a:t>
            </a:r>
            <a:endParaRPr lang="en-ID" dirty="0"/>
          </a:p>
        </p:txBody>
      </p:sp>
      <p:sp>
        <p:nvSpPr>
          <p:cNvPr id="20" name="Text Placeholder 29">
            <a:extLst>
              <a:ext uri="{FF2B5EF4-FFF2-40B4-BE49-F238E27FC236}">
                <a16:creationId xmlns:a16="http://schemas.microsoft.com/office/drawing/2014/main" id="{ED0C3C28-B9D9-204C-3BAC-8C8324471AB7}"/>
              </a:ext>
            </a:extLst>
          </p:cNvPr>
          <p:cNvSpPr>
            <a:spLocks noGrp="1"/>
          </p:cNvSpPr>
          <p:nvPr>
            <p:ph type="body" sz="quarter" idx="59"/>
          </p:nvPr>
        </p:nvSpPr>
        <p:spPr>
          <a:xfrm>
            <a:off x="6469666" y="2345618"/>
            <a:ext cx="1524316" cy="1141608"/>
          </a:xfrm>
          <a:prstGeom prst="rect">
            <a:avLst/>
          </a:prstGeom>
        </p:spPr>
        <p:txBody>
          <a:bodyPr tIns="0" bIns="0">
            <a:noAutofit/>
          </a:bodyPr>
          <a:lstStyle>
            <a:lvl1pPr marL="0" indent="0" algn="l">
              <a:buNone/>
              <a:defRPr sz="12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22" name="Text Placeholder 29">
            <a:extLst>
              <a:ext uri="{FF2B5EF4-FFF2-40B4-BE49-F238E27FC236}">
                <a16:creationId xmlns:a16="http://schemas.microsoft.com/office/drawing/2014/main" id="{8DAE8AB0-2EDB-576D-0B84-B8E513187788}"/>
              </a:ext>
            </a:extLst>
          </p:cNvPr>
          <p:cNvSpPr>
            <a:spLocks noGrp="1"/>
          </p:cNvSpPr>
          <p:nvPr>
            <p:ph type="body" sz="quarter" idx="60" hasCustomPrompt="1"/>
          </p:nvPr>
        </p:nvSpPr>
        <p:spPr>
          <a:xfrm>
            <a:off x="6469666" y="4040481"/>
            <a:ext cx="1524316" cy="312739"/>
          </a:xfrm>
          <a:prstGeom prst="rect">
            <a:avLst/>
          </a:prstGeom>
        </p:spPr>
        <p:txBody>
          <a:bodyPr tIns="0" bIns="0" anchor="ctr">
            <a:noAutofit/>
          </a:bodyPr>
          <a:lstStyle>
            <a:lvl1pPr marL="0" indent="0" algn="l">
              <a:buNone/>
              <a:defRPr sz="1300" b="1">
                <a:solidFill>
                  <a:schemeClr val="accent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Milestone</a:t>
            </a:r>
            <a:endParaRPr lang="en-ID" dirty="0"/>
          </a:p>
        </p:txBody>
      </p:sp>
      <p:sp>
        <p:nvSpPr>
          <p:cNvPr id="41" name="Text Placeholder 40">
            <a:extLst>
              <a:ext uri="{FF2B5EF4-FFF2-40B4-BE49-F238E27FC236}">
                <a16:creationId xmlns:a16="http://schemas.microsoft.com/office/drawing/2014/main" id="{AE0F66E6-C9FC-6A68-DE85-AF17E4FB36A5}"/>
              </a:ext>
            </a:extLst>
          </p:cNvPr>
          <p:cNvSpPr>
            <a:spLocks noGrp="1"/>
          </p:cNvSpPr>
          <p:nvPr>
            <p:ph type="body" sz="quarter" idx="62" hasCustomPrompt="1"/>
          </p:nvPr>
        </p:nvSpPr>
        <p:spPr>
          <a:xfrm>
            <a:off x="8057966" y="3163716"/>
            <a:ext cx="1141764" cy="2664000"/>
          </a:xfrm>
          <a:custGeom>
            <a:avLst/>
            <a:gdLst>
              <a:gd name="connsiteX0" fmla="*/ 0 w 1141764"/>
              <a:gd name="connsiteY0" fmla="*/ 0 h 2664000"/>
              <a:gd name="connsiteX1" fmla="*/ 18000 w 1141764"/>
              <a:gd name="connsiteY1" fmla="*/ 0 h 2664000"/>
              <a:gd name="connsiteX2" fmla="*/ 18000 w 1141764"/>
              <a:gd name="connsiteY2" fmla="*/ 465762 h 2664000"/>
              <a:gd name="connsiteX3" fmla="*/ 1009831 w 1141764"/>
              <a:gd name="connsiteY3" fmla="*/ 465762 h 2664000"/>
              <a:gd name="connsiteX4" fmla="*/ 1141764 w 1141764"/>
              <a:gd name="connsiteY4" fmla="*/ 597695 h 2664000"/>
              <a:gd name="connsiteX5" fmla="*/ 1009831 w 1141764"/>
              <a:gd name="connsiteY5" fmla="*/ 729628 h 2664000"/>
              <a:gd name="connsiteX6" fmla="*/ 18000 w 1141764"/>
              <a:gd name="connsiteY6" fmla="*/ 729628 h 2664000"/>
              <a:gd name="connsiteX7" fmla="*/ 18000 w 1141764"/>
              <a:gd name="connsiteY7" fmla="*/ 2664000 h 2664000"/>
              <a:gd name="connsiteX8" fmla="*/ 0 w 1141764"/>
              <a:gd name="connsiteY8" fmla="*/ 2664000 h 26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1764" h="2664000">
                <a:moveTo>
                  <a:pt x="0" y="0"/>
                </a:moveTo>
                <a:lnTo>
                  <a:pt x="18000" y="0"/>
                </a:lnTo>
                <a:lnTo>
                  <a:pt x="18000" y="465762"/>
                </a:lnTo>
                <a:lnTo>
                  <a:pt x="1009831" y="465762"/>
                </a:lnTo>
                <a:lnTo>
                  <a:pt x="1141764" y="597695"/>
                </a:lnTo>
                <a:lnTo>
                  <a:pt x="1009831" y="729628"/>
                </a:lnTo>
                <a:lnTo>
                  <a:pt x="18000" y="729628"/>
                </a:lnTo>
                <a:lnTo>
                  <a:pt x="18000" y="2664000"/>
                </a:lnTo>
                <a:lnTo>
                  <a:pt x="0" y="2664000"/>
                </a:lnTo>
                <a:close/>
              </a:path>
            </a:pathLst>
          </a:custGeom>
          <a:solidFill>
            <a:schemeClr val="accent3"/>
          </a:solidFill>
        </p:spPr>
        <p:txBody>
          <a:bodyPr wrap="square" tIns="0" bIns="0" anchor="ctr">
            <a:noAutofit/>
          </a:bodyPr>
          <a:lstStyle>
            <a:lvl1pPr marL="0" indent="0">
              <a:buNone/>
              <a:defRPr sz="1000" b="1">
                <a:solidFill>
                  <a:schemeClr val="tx1">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26" name="Text Placeholder 29">
            <a:extLst>
              <a:ext uri="{FF2B5EF4-FFF2-40B4-BE49-F238E27FC236}">
                <a16:creationId xmlns:a16="http://schemas.microsoft.com/office/drawing/2014/main" id="{AD762095-069D-4BD6-640E-EA976F90EBE8}"/>
              </a:ext>
            </a:extLst>
          </p:cNvPr>
          <p:cNvSpPr>
            <a:spLocks noGrp="1"/>
          </p:cNvSpPr>
          <p:nvPr>
            <p:ph type="body" sz="quarter" idx="63"/>
          </p:nvPr>
        </p:nvSpPr>
        <p:spPr>
          <a:xfrm>
            <a:off x="8262789" y="4043826"/>
            <a:ext cx="1524316" cy="553099"/>
          </a:xfrm>
          <a:prstGeom prst="rect">
            <a:avLst/>
          </a:prstGeom>
        </p:spPr>
        <p:txBody>
          <a:bodyPr tIns="0" bIns="0" anchor="b">
            <a:noAutofit/>
          </a:bodyPr>
          <a:lstStyle>
            <a:lvl1pPr marL="0" indent="0" algn="l">
              <a:buNone/>
              <a:defRPr sz="14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a:t>
            </a:r>
            <a:endParaRPr lang="en-ID" dirty="0"/>
          </a:p>
        </p:txBody>
      </p:sp>
      <p:sp>
        <p:nvSpPr>
          <p:cNvPr id="27" name="Text Placeholder 29">
            <a:extLst>
              <a:ext uri="{FF2B5EF4-FFF2-40B4-BE49-F238E27FC236}">
                <a16:creationId xmlns:a16="http://schemas.microsoft.com/office/drawing/2014/main" id="{8B4A0DAC-82E4-6662-A9B3-71544EC46FB8}"/>
              </a:ext>
            </a:extLst>
          </p:cNvPr>
          <p:cNvSpPr>
            <a:spLocks noGrp="1"/>
          </p:cNvSpPr>
          <p:nvPr>
            <p:ph type="body" sz="quarter" idx="64"/>
          </p:nvPr>
        </p:nvSpPr>
        <p:spPr>
          <a:xfrm>
            <a:off x="8262789" y="4668926"/>
            <a:ext cx="1524316" cy="1141608"/>
          </a:xfrm>
          <a:prstGeom prst="rect">
            <a:avLst/>
          </a:prstGeom>
        </p:spPr>
        <p:txBody>
          <a:bodyPr tIns="0" bIns="0">
            <a:noAutofit/>
          </a:bodyPr>
          <a:lstStyle>
            <a:lvl1pPr marL="0" indent="0" algn="l">
              <a:buNone/>
              <a:defRPr sz="12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28" name="Text Placeholder 29">
            <a:extLst>
              <a:ext uri="{FF2B5EF4-FFF2-40B4-BE49-F238E27FC236}">
                <a16:creationId xmlns:a16="http://schemas.microsoft.com/office/drawing/2014/main" id="{80354A45-56CA-A32F-60C5-C779D9B604C7}"/>
              </a:ext>
            </a:extLst>
          </p:cNvPr>
          <p:cNvSpPr>
            <a:spLocks noGrp="1"/>
          </p:cNvSpPr>
          <p:nvPr>
            <p:ph type="body" sz="quarter" idx="65" hasCustomPrompt="1"/>
          </p:nvPr>
        </p:nvSpPr>
        <p:spPr>
          <a:xfrm>
            <a:off x="8262789" y="3163716"/>
            <a:ext cx="1524316" cy="312739"/>
          </a:xfrm>
          <a:prstGeom prst="rect">
            <a:avLst/>
          </a:prstGeom>
        </p:spPr>
        <p:txBody>
          <a:bodyPr tIns="0" bIns="0" anchor="ctr">
            <a:noAutofit/>
          </a:bodyPr>
          <a:lstStyle>
            <a:lvl1pPr marL="0" indent="0" algn="l">
              <a:buNone/>
              <a:defRPr sz="1300" b="1">
                <a:solidFill>
                  <a:schemeClr val="accent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Milestone</a:t>
            </a:r>
            <a:endParaRPr lang="en-ID" dirty="0"/>
          </a:p>
        </p:txBody>
      </p:sp>
      <p:sp>
        <p:nvSpPr>
          <p:cNvPr id="42" name="Text Placeholder 41">
            <a:extLst>
              <a:ext uri="{FF2B5EF4-FFF2-40B4-BE49-F238E27FC236}">
                <a16:creationId xmlns:a16="http://schemas.microsoft.com/office/drawing/2014/main" id="{97B36B24-800C-2D6E-5DD0-17E657548ECF}"/>
              </a:ext>
            </a:extLst>
          </p:cNvPr>
          <p:cNvSpPr>
            <a:spLocks noGrp="1"/>
          </p:cNvSpPr>
          <p:nvPr>
            <p:ph type="body" sz="quarter" idx="67" hasCustomPrompt="1"/>
          </p:nvPr>
        </p:nvSpPr>
        <p:spPr>
          <a:xfrm>
            <a:off x="9851089" y="1716813"/>
            <a:ext cx="1141764" cy="2664000"/>
          </a:xfrm>
          <a:custGeom>
            <a:avLst/>
            <a:gdLst>
              <a:gd name="connsiteX0" fmla="*/ 0 w 1141764"/>
              <a:gd name="connsiteY0" fmla="*/ 0 h 2664000"/>
              <a:gd name="connsiteX1" fmla="*/ 18000 w 1141764"/>
              <a:gd name="connsiteY1" fmla="*/ 0 h 2664000"/>
              <a:gd name="connsiteX2" fmla="*/ 18000 w 1141764"/>
              <a:gd name="connsiteY2" fmla="*/ 1912665 h 2664000"/>
              <a:gd name="connsiteX3" fmla="*/ 1009831 w 1141764"/>
              <a:gd name="connsiteY3" fmla="*/ 1912665 h 2664000"/>
              <a:gd name="connsiteX4" fmla="*/ 1141764 w 1141764"/>
              <a:gd name="connsiteY4" fmla="*/ 2044598 h 2664000"/>
              <a:gd name="connsiteX5" fmla="*/ 1009831 w 1141764"/>
              <a:gd name="connsiteY5" fmla="*/ 2176531 h 2664000"/>
              <a:gd name="connsiteX6" fmla="*/ 18000 w 1141764"/>
              <a:gd name="connsiteY6" fmla="*/ 2176531 h 2664000"/>
              <a:gd name="connsiteX7" fmla="*/ 18000 w 1141764"/>
              <a:gd name="connsiteY7" fmla="*/ 2664000 h 2664000"/>
              <a:gd name="connsiteX8" fmla="*/ 0 w 1141764"/>
              <a:gd name="connsiteY8" fmla="*/ 2664000 h 26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1764" h="2664000">
                <a:moveTo>
                  <a:pt x="0" y="0"/>
                </a:moveTo>
                <a:lnTo>
                  <a:pt x="18000" y="0"/>
                </a:lnTo>
                <a:lnTo>
                  <a:pt x="18000" y="1912665"/>
                </a:lnTo>
                <a:lnTo>
                  <a:pt x="1009831" y="1912665"/>
                </a:lnTo>
                <a:lnTo>
                  <a:pt x="1141764" y="2044598"/>
                </a:lnTo>
                <a:lnTo>
                  <a:pt x="1009831" y="2176531"/>
                </a:lnTo>
                <a:lnTo>
                  <a:pt x="18000" y="2176531"/>
                </a:lnTo>
                <a:lnTo>
                  <a:pt x="18000" y="2664000"/>
                </a:lnTo>
                <a:lnTo>
                  <a:pt x="0" y="2664000"/>
                </a:lnTo>
                <a:close/>
              </a:path>
            </a:pathLst>
          </a:custGeom>
          <a:solidFill>
            <a:schemeClr val="accent3"/>
          </a:solidFill>
        </p:spPr>
        <p:txBody>
          <a:bodyPr wrap="square" tIns="0" bIns="0" anchor="ctr">
            <a:noAutofit/>
          </a:bodyPr>
          <a:lstStyle>
            <a:lvl1pPr marL="0" indent="0">
              <a:buNone/>
              <a:defRPr sz="1000" b="1">
                <a:solidFill>
                  <a:schemeClr val="tx1">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31" name="Text Placeholder 29">
            <a:extLst>
              <a:ext uri="{FF2B5EF4-FFF2-40B4-BE49-F238E27FC236}">
                <a16:creationId xmlns:a16="http://schemas.microsoft.com/office/drawing/2014/main" id="{5F91528B-4016-9A18-C984-2859E73B2C44}"/>
              </a:ext>
            </a:extLst>
          </p:cNvPr>
          <p:cNvSpPr>
            <a:spLocks noGrp="1"/>
          </p:cNvSpPr>
          <p:nvPr>
            <p:ph type="body" sz="quarter" idx="68"/>
          </p:nvPr>
        </p:nvSpPr>
        <p:spPr>
          <a:xfrm>
            <a:off x="10055912" y="1720518"/>
            <a:ext cx="1524316" cy="553099"/>
          </a:xfrm>
          <a:prstGeom prst="rect">
            <a:avLst/>
          </a:prstGeom>
        </p:spPr>
        <p:txBody>
          <a:bodyPr tIns="0" bIns="0" anchor="b">
            <a:noAutofit/>
          </a:bodyPr>
          <a:lstStyle>
            <a:lvl1pPr marL="0" indent="0" algn="l">
              <a:buNone/>
              <a:defRPr sz="14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a:t>
            </a:r>
            <a:endParaRPr lang="en-ID" dirty="0"/>
          </a:p>
        </p:txBody>
      </p:sp>
      <p:sp>
        <p:nvSpPr>
          <p:cNvPr id="32" name="Text Placeholder 29">
            <a:extLst>
              <a:ext uri="{FF2B5EF4-FFF2-40B4-BE49-F238E27FC236}">
                <a16:creationId xmlns:a16="http://schemas.microsoft.com/office/drawing/2014/main" id="{49AA65F4-5D9F-C19E-6142-74B8F0A68D43}"/>
              </a:ext>
            </a:extLst>
          </p:cNvPr>
          <p:cNvSpPr>
            <a:spLocks noGrp="1"/>
          </p:cNvSpPr>
          <p:nvPr>
            <p:ph type="body" sz="quarter" idx="69"/>
          </p:nvPr>
        </p:nvSpPr>
        <p:spPr>
          <a:xfrm>
            <a:off x="10055912" y="2345618"/>
            <a:ext cx="1524316" cy="1141608"/>
          </a:xfrm>
          <a:prstGeom prst="rect">
            <a:avLst/>
          </a:prstGeom>
        </p:spPr>
        <p:txBody>
          <a:bodyPr tIns="0" bIns="0">
            <a:noAutofit/>
          </a:bodyPr>
          <a:lstStyle>
            <a:lvl1pPr marL="0" indent="0" algn="l">
              <a:buNone/>
              <a:defRPr sz="12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33" name="Text Placeholder 29">
            <a:extLst>
              <a:ext uri="{FF2B5EF4-FFF2-40B4-BE49-F238E27FC236}">
                <a16:creationId xmlns:a16="http://schemas.microsoft.com/office/drawing/2014/main" id="{4989308E-DDCB-3B4E-8245-6F016843BB64}"/>
              </a:ext>
            </a:extLst>
          </p:cNvPr>
          <p:cNvSpPr>
            <a:spLocks noGrp="1"/>
          </p:cNvSpPr>
          <p:nvPr>
            <p:ph type="body" sz="quarter" idx="70" hasCustomPrompt="1"/>
          </p:nvPr>
        </p:nvSpPr>
        <p:spPr>
          <a:xfrm>
            <a:off x="10055912" y="4040481"/>
            <a:ext cx="1524316" cy="312739"/>
          </a:xfrm>
          <a:prstGeom prst="rect">
            <a:avLst/>
          </a:prstGeom>
        </p:spPr>
        <p:txBody>
          <a:bodyPr tIns="0" bIns="0" anchor="ctr">
            <a:noAutofit/>
          </a:bodyPr>
          <a:lstStyle>
            <a:lvl1pPr marL="0" indent="0" algn="l">
              <a:buNone/>
              <a:defRPr sz="1300" b="1">
                <a:solidFill>
                  <a:schemeClr val="accent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Milestone</a:t>
            </a:r>
            <a:endParaRPr lang="en-ID" dirty="0"/>
          </a:p>
        </p:txBody>
      </p:sp>
    </p:spTree>
    <p:extLst>
      <p:ext uri="{BB962C8B-B14F-4D97-AF65-F5344CB8AC3E}">
        <p14:creationId xmlns:p14="http://schemas.microsoft.com/office/powerpoint/2010/main" val="85923093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meline I60V5">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783CBED-341E-9027-5136-D2E9011380BC}"/>
              </a:ext>
            </a:extLst>
          </p:cNvPr>
          <p:cNvGrpSpPr/>
          <p:nvPr userDrawn="1"/>
        </p:nvGrpSpPr>
        <p:grpSpPr>
          <a:xfrm>
            <a:off x="4137023" y="3111644"/>
            <a:ext cx="3923434" cy="1307812"/>
            <a:chOff x="4134283" y="2771991"/>
            <a:chExt cx="3923434" cy="1307812"/>
          </a:xfrm>
        </p:grpSpPr>
        <p:grpSp>
          <p:nvGrpSpPr>
            <p:cNvPr id="8" name="Group 7">
              <a:extLst>
                <a:ext uri="{FF2B5EF4-FFF2-40B4-BE49-F238E27FC236}">
                  <a16:creationId xmlns:a16="http://schemas.microsoft.com/office/drawing/2014/main" id="{D696EBF9-8AB2-F4FA-7FAE-3BCD3D884CED}"/>
                </a:ext>
              </a:extLst>
            </p:cNvPr>
            <p:cNvGrpSpPr/>
            <p:nvPr userDrawn="1"/>
          </p:nvGrpSpPr>
          <p:grpSpPr>
            <a:xfrm>
              <a:off x="4134283" y="2771991"/>
              <a:ext cx="3923434" cy="1307812"/>
              <a:chOff x="4134283" y="2768888"/>
              <a:chExt cx="3923434" cy="1307812"/>
            </a:xfrm>
          </p:grpSpPr>
          <p:sp>
            <p:nvSpPr>
              <p:cNvPr id="14" name="Arc 47">
                <a:extLst>
                  <a:ext uri="{FF2B5EF4-FFF2-40B4-BE49-F238E27FC236}">
                    <a16:creationId xmlns:a16="http://schemas.microsoft.com/office/drawing/2014/main" id="{4D12145B-7BD1-58A9-8595-5786D4C8288E}"/>
                  </a:ext>
                </a:extLst>
              </p:cNvPr>
              <p:cNvSpPr/>
              <p:nvPr userDrawn="1"/>
            </p:nvSpPr>
            <p:spPr>
              <a:xfrm>
                <a:off x="4134283" y="2768888"/>
                <a:ext cx="1307811" cy="1307812"/>
              </a:xfrm>
              <a:prstGeom prst="ellipse">
                <a:avLst/>
              </a:prstGeom>
              <a:ln w="5715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Arc 48">
                <a:extLst>
                  <a:ext uri="{FF2B5EF4-FFF2-40B4-BE49-F238E27FC236}">
                    <a16:creationId xmlns:a16="http://schemas.microsoft.com/office/drawing/2014/main" id="{35F410C9-0806-C24E-88F1-F0B46FF46EE8}"/>
                  </a:ext>
                </a:extLst>
              </p:cNvPr>
              <p:cNvSpPr/>
              <p:nvPr userDrawn="1"/>
            </p:nvSpPr>
            <p:spPr>
              <a:xfrm flipV="1">
                <a:off x="5442094" y="2768888"/>
                <a:ext cx="1307811" cy="1307812"/>
              </a:xfrm>
              <a:prstGeom prst="ellipse">
                <a:avLst/>
              </a:prstGeom>
              <a:ln w="5715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 name="Arc 49">
                <a:extLst>
                  <a:ext uri="{FF2B5EF4-FFF2-40B4-BE49-F238E27FC236}">
                    <a16:creationId xmlns:a16="http://schemas.microsoft.com/office/drawing/2014/main" id="{5C217920-EEE8-FF60-C8AB-64E1405FB7D1}"/>
                  </a:ext>
                </a:extLst>
              </p:cNvPr>
              <p:cNvSpPr/>
              <p:nvPr userDrawn="1"/>
            </p:nvSpPr>
            <p:spPr>
              <a:xfrm>
                <a:off x="6749906" y="2768888"/>
                <a:ext cx="1307811" cy="1307812"/>
              </a:xfrm>
              <a:prstGeom prst="ellipse">
                <a:avLst/>
              </a:prstGeom>
              <a:ln w="5715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grpSp>
        <p:grpSp>
          <p:nvGrpSpPr>
            <p:cNvPr id="9" name="Group 8">
              <a:extLst>
                <a:ext uri="{FF2B5EF4-FFF2-40B4-BE49-F238E27FC236}">
                  <a16:creationId xmlns:a16="http://schemas.microsoft.com/office/drawing/2014/main" id="{EC07D22F-9B24-068A-0853-66329223CF03}"/>
                </a:ext>
              </a:extLst>
            </p:cNvPr>
            <p:cNvGrpSpPr/>
            <p:nvPr userDrawn="1"/>
          </p:nvGrpSpPr>
          <p:grpSpPr>
            <a:xfrm>
              <a:off x="4134283" y="2771991"/>
              <a:ext cx="3923434" cy="1307812"/>
              <a:chOff x="4134283" y="2775094"/>
              <a:chExt cx="3923434" cy="1307812"/>
            </a:xfrm>
          </p:grpSpPr>
          <p:sp>
            <p:nvSpPr>
              <p:cNvPr id="10" name="Arc 9">
                <a:extLst>
                  <a:ext uri="{FF2B5EF4-FFF2-40B4-BE49-F238E27FC236}">
                    <a16:creationId xmlns:a16="http://schemas.microsoft.com/office/drawing/2014/main" id="{F67735F8-5205-EA06-C7D5-B6D58607C979}"/>
                  </a:ext>
                </a:extLst>
              </p:cNvPr>
              <p:cNvSpPr/>
              <p:nvPr userDrawn="1"/>
            </p:nvSpPr>
            <p:spPr>
              <a:xfrm>
                <a:off x="4134283" y="2775094"/>
                <a:ext cx="1307811" cy="1307812"/>
              </a:xfrm>
              <a:prstGeom prst="arc">
                <a:avLst>
                  <a:gd name="adj1" fmla="val 10792152"/>
                  <a:gd name="adj2" fmla="val 0"/>
                </a:avLst>
              </a:prstGeom>
              <a:ln w="57150"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 name="Arc 11">
                <a:extLst>
                  <a:ext uri="{FF2B5EF4-FFF2-40B4-BE49-F238E27FC236}">
                    <a16:creationId xmlns:a16="http://schemas.microsoft.com/office/drawing/2014/main" id="{3F9BD18F-83E3-0B59-1C8B-CCB9AB85D5A9}"/>
                  </a:ext>
                </a:extLst>
              </p:cNvPr>
              <p:cNvSpPr/>
              <p:nvPr userDrawn="1"/>
            </p:nvSpPr>
            <p:spPr>
              <a:xfrm flipV="1">
                <a:off x="5442094" y="2775094"/>
                <a:ext cx="1307811" cy="1307812"/>
              </a:xfrm>
              <a:prstGeom prst="arc">
                <a:avLst>
                  <a:gd name="adj1" fmla="val 10790197"/>
                  <a:gd name="adj2" fmla="val 0"/>
                </a:avLst>
              </a:prstGeom>
              <a:ln w="57150"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 name="Arc 12">
                <a:extLst>
                  <a:ext uri="{FF2B5EF4-FFF2-40B4-BE49-F238E27FC236}">
                    <a16:creationId xmlns:a16="http://schemas.microsoft.com/office/drawing/2014/main" id="{D1F84C90-514B-343E-5F5B-7AB8ACE9B5CD}"/>
                  </a:ext>
                </a:extLst>
              </p:cNvPr>
              <p:cNvSpPr/>
              <p:nvPr userDrawn="1"/>
            </p:nvSpPr>
            <p:spPr>
              <a:xfrm>
                <a:off x="6749906" y="2775094"/>
                <a:ext cx="1307811" cy="1307812"/>
              </a:xfrm>
              <a:prstGeom prst="arc">
                <a:avLst>
                  <a:gd name="adj1" fmla="val 10792152"/>
                  <a:gd name="adj2" fmla="val 0"/>
                </a:avLst>
              </a:prstGeom>
              <a:ln w="57150"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grpSp>
      </p:grpSp>
      <p:sp>
        <p:nvSpPr>
          <p:cNvPr id="2" name="Title 1">
            <a:extLst>
              <a:ext uri="{FF2B5EF4-FFF2-40B4-BE49-F238E27FC236}">
                <a16:creationId xmlns:a16="http://schemas.microsoft.com/office/drawing/2014/main" id="{1036477C-8D55-B4B8-85DD-DAF85A20D8C5}"/>
              </a:ext>
            </a:extLst>
          </p:cNvPr>
          <p:cNvSpPr>
            <a:spLocks noGrp="1"/>
          </p:cNvSpPr>
          <p:nvPr>
            <p:ph type="title"/>
          </p:nvPr>
        </p:nvSpPr>
        <p:spPr>
          <a:xfrm>
            <a:off x="731443" y="586105"/>
            <a:ext cx="10873182" cy="709295"/>
          </a:xfrm>
        </p:spPr>
        <p:txBody>
          <a:bodyPr anchor="t">
            <a:noAutofit/>
          </a:bodyPr>
          <a:lstStyle>
            <a:lvl1pPr>
              <a:defRPr>
                <a:solidFill>
                  <a:schemeClr val="tx1"/>
                </a:solidFill>
              </a:defRPr>
            </a:lvl1pPr>
          </a:lstStyle>
          <a:p>
            <a:r>
              <a:rPr lang="en-US" dirty="0"/>
              <a:t>Click to edit Master title style</a:t>
            </a:r>
            <a:endParaRPr lang="en-ID" dirty="0"/>
          </a:p>
        </p:txBody>
      </p:sp>
      <p:sp>
        <p:nvSpPr>
          <p:cNvPr id="11" name="Slide Number Placeholder 5">
            <a:extLst>
              <a:ext uri="{FF2B5EF4-FFF2-40B4-BE49-F238E27FC236}">
                <a16:creationId xmlns:a16="http://schemas.microsoft.com/office/drawing/2014/main" id="{752E3F75-A181-1CEF-4892-A00A828F0DEC}"/>
              </a:ext>
            </a:extLst>
          </p:cNvPr>
          <p:cNvSpPr>
            <a:spLocks noGrp="1"/>
          </p:cNvSpPr>
          <p:nvPr>
            <p:ph type="sldNum" sz="quarter" idx="4"/>
          </p:nvPr>
        </p:nvSpPr>
        <p:spPr>
          <a:xfrm>
            <a:off x="11058525" y="6409951"/>
            <a:ext cx="546100" cy="273799"/>
          </a:xfrm>
          <a:prstGeom prst="rect">
            <a:avLst/>
          </a:prstGeom>
        </p:spPr>
        <p:txBody>
          <a:bodyPr vert="horz" lIns="91440" tIns="45720" rIns="91440" bIns="45720" rtlCol="0" anchor="b"/>
          <a:lstStyle>
            <a:lvl1pPr algn="r">
              <a:defRPr sz="1200">
                <a:solidFill>
                  <a:schemeClr val="tx1"/>
                </a:solidFill>
                <a:latin typeface="+mn-lt"/>
              </a:defRPr>
            </a:lvl1pPr>
          </a:lstStyle>
          <a:p>
            <a:fld id="{5E0C3BBE-9543-48E5-A6E1-C646F9A01966}" type="slidenum">
              <a:rPr lang="en-ID" smtClean="0"/>
              <a:pPr/>
              <a:t>‹#›</a:t>
            </a:fld>
            <a:endParaRPr lang="en-ID" dirty="0"/>
          </a:p>
        </p:txBody>
      </p:sp>
      <p:cxnSp>
        <p:nvCxnSpPr>
          <p:cNvPr id="16" name="Straight Connector 15">
            <a:extLst>
              <a:ext uri="{FF2B5EF4-FFF2-40B4-BE49-F238E27FC236}">
                <a16:creationId xmlns:a16="http://schemas.microsoft.com/office/drawing/2014/main" id="{0657BBCF-CA9E-FB2C-CA76-82D2795FF965}"/>
              </a:ext>
            </a:extLst>
          </p:cNvPr>
          <p:cNvCxnSpPr>
            <a:cxnSpLocks/>
          </p:cNvCxnSpPr>
          <p:nvPr userDrawn="1"/>
        </p:nvCxnSpPr>
        <p:spPr>
          <a:xfrm>
            <a:off x="587375" y="585690"/>
            <a:ext cx="0" cy="70971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Footer Placeholder 4">
            <a:extLst>
              <a:ext uri="{FF2B5EF4-FFF2-40B4-BE49-F238E27FC236}">
                <a16:creationId xmlns:a16="http://schemas.microsoft.com/office/drawing/2014/main" id="{FC465D62-3382-034B-3BC4-9FA6DDBCBF3D}"/>
              </a:ext>
            </a:extLst>
          </p:cNvPr>
          <p:cNvSpPr>
            <a:spLocks noGrp="1"/>
          </p:cNvSpPr>
          <p:nvPr>
            <p:ph type="ftr" sz="quarter" idx="3"/>
          </p:nvPr>
        </p:nvSpPr>
        <p:spPr>
          <a:xfrm>
            <a:off x="584200" y="6364288"/>
            <a:ext cx="5511800" cy="365125"/>
          </a:xfrm>
          <a:prstGeom prst="rect">
            <a:avLst/>
          </a:prstGeom>
        </p:spPr>
        <p:txBody>
          <a:bodyPr vert="horz" lIns="91440" tIns="45720" rIns="91440" bIns="45720" rtlCol="0" anchor="ctr"/>
          <a:lstStyle>
            <a:lvl1pPr algn="l">
              <a:defRPr lang="en-GB" sz="1200">
                <a:solidFill>
                  <a:schemeClr val="tx1"/>
                </a:solidFill>
              </a:defRPr>
            </a:lvl1pPr>
          </a:lstStyle>
          <a:p>
            <a:r>
              <a:rPr lang="en-US"/>
              <a:t>PRESENTATION TITLE</a:t>
            </a:r>
            <a:endParaRPr lang="en-US" dirty="0"/>
          </a:p>
        </p:txBody>
      </p:sp>
      <p:sp>
        <p:nvSpPr>
          <p:cNvPr id="37" name="Text Placeholder 29">
            <a:extLst>
              <a:ext uri="{FF2B5EF4-FFF2-40B4-BE49-F238E27FC236}">
                <a16:creationId xmlns:a16="http://schemas.microsoft.com/office/drawing/2014/main" id="{7014ED8C-D9A2-3233-BF99-B959865B48B9}"/>
              </a:ext>
            </a:extLst>
          </p:cNvPr>
          <p:cNvSpPr>
            <a:spLocks noGrp="1"/>
          </p:cNvSpPr>
          <p:nvPr>
            <p:ph type="body" sz="quarter" idx="43"/>
          </p:nvPr>
        </p:nvSpPr>
        <p:spPr>
          <a:xfrm>
            <a:off x="1090297" y="2077954"/>
            <a:ext cx="2989578" cy="553099"/>
          </a:xfrm>
          <a:prstGeom prst="rect">
            <a:avLst/>
          </a:prstGeom>
        </p:spPr>
        <p:txBody>
          <a:bodyPr tIns="0" bIns="0" anchor="b">
            <a:noAutofit/>
          </a:bodyPr>
          <a:lstStyle>
            <a:lvl1pPr marL="0" indent="0" algn="r">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38" name="Text Placeholder 29">
            <a:extLst>
              <a:ext uri="{FF2B5EF4-FFF2-40B4-BE49-F238E27FC236}">
                <a16:creationId xmlns:a16="http://schemas.microsoft.com/office/drawing/2014/main" id="{27A02D2A-8972-F536-0B27-7D6428470586}"/>
              </a:ext>
            </a:extLst>
          </p:cNvPr>
          <p:cNvSpPr>
            <a:spLocks noGrp="1"/>
          </p:cNvSpPr>
          <p:nvPr>
            <p:ph type="body" sz="quarter" idx="44"/>
          </p:nvPr>
        </p:nvSpPr>
        <p:spPr>
          <a:xfrm>
            <a:off x="1090297" y="2703054"/>
            <a:ext cx="2989578" cy="719417"/>
          </a:xfrm>
          <a:prstGeom prst="rect">
            <a:avLst/>
          </a:prstGeom>
        </p:spPr>
        <p:txBody>
          <a:bodyPr tIns="0" bIns="0">
            <a:noAutofit/>
          </a:bodyPr>
          <a:lstStyle>
            <a:lvl1pPr marL="0" indent="0" algn="r">
              <a:buNone/>
              <a:defRPr sz="16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40" name="Text Placeholder 29">
            <a:extLst>
              <a:ext uri="{FF2B5EF4-FFF2-40B4-BE49-F238E27FC236}">
                <a16:creationId xmlns:a16="http://schemas.microsoft.com/office/drawing/2014/main" id="{5C686B82-2E00-D61D-3AA1-3461944BF439}"/>
              </a:ext>
            </a:extLst>
          </p:cNvPr>
          <p:cNvSpPr>
            <a:spLocks noGrp="1"/>
          </p:cNvSpPr>
          <p:nvPr>
            <p:ph type="body" sz="quarter" idx="45" hasCustomPrompt="1"/>
          </p:nvPr>
        </p:nvSpPr>
        <p:spPr>
          <a:xfrm>
            <a:off x="4160928" y="3609181"/>
            <a:ext cx="1260000" cy="312739"/>
          </a:xfrm>
          <a:prstGeom prst="rect">
            <a:avLst/>
          </a:prstGeom>
        </p:spPr>
        <p:txBody>
          <a:bodyPr tIns="0" bIns="0" anchor="ctr">
            <a:noAutofit/>
          </a:bodyPr>
          <a:lstStyle>
            <a:lvl1pPr marL="0" indent="0" algn="ctr">
              <a:buNone/>
              <a:defRPr sz="1700" b="1">
                <a:solidFill>
                  <a:schemeClr val="accent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Milestone</a:t>
            </a:r>
            <a:endParaRPr lang="en-ID" dirty="0"/>
          </a:p>
        </p:txBody>
      </p:sp>
      <p:sp>
        <p:nvSpPr>
          <p:cNvPr id="60" name="Text Placeholder 29">
            <a:extLst>
              <a:ext uri="{FF2B5EF4-FFF2-40B4-BE49-F238E27FC236}">
                <a16:creationId xmlns:a16="http://schemas.microsoft.com/office/drawing/2014/main" id="{E10C62AC-5F15-FEF7-14F7-69E74FF548BF}"/>
              </a:ext>
            </a:extLst>
          </p:cNvPr>
          <p:cNvSpPr>
            <a:spLocks noGrp="1"/>
          </p:cNvSpPr>
          <p:nvPr>
            <p:ph type="body" sz="quarter" idx="50" hasCustomPrompt="1"/>
          </p:nvPr>
        </p:nvSpPr>
        <p:spPr>
          <a:xfrm>
            <a:off x="5468739" y="3609181"/>
            <a:ext cx="1260000" cy="312739"/>
          </a:xfrm>
          <a:prstGeom prst="rect">
            <a:avLst/>
          </a:prstGeom>
        </p:spPr>
        <p:txBody>
          <a:bodyPr tIns="0" bIns="0" anchor="ctr">
            <a:noAutofit/>
          </a:bodyPr>
          <a:lstStyle>
            <a:lvl1pPr marL="0" indent="0" algn="ctr">
              <a:buNone/>
              <a:defRPr sz="1700" b="1">
                <a:solidFill>
                  <a:schemeClr val="accent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Milestone</a:t>
            </a:r>
            <a:endParaRPr lang="en-ID" dirty="0"/>
          </a:p>
        </p:txBody>
      </p:sp>
      <p:sp>
        <p:nvSpPr>
          <p:cNvPr id="63" name="Text Placeholder 29">
            <a:extLst>
              <a:ext uri="{FF2B5EF4-FFF2-40B4-BE49-F238E27FC236}">
                <a16:creationId xmlns:a16="http://schemas.microsoft.com/office/drawing/2014/main" id="{261031B1-B982-A042-4CFA-1D2651953B25}"/>
              </a:ext>
            </a:extLst>
          </p:cNvPr>
          <p:cNvSpPr>
            <a:spLocks noGrp="1"/>
          </p:cNvSpPr>
          <p:nvPr>
            <p:ph type="body" sz="quarter" idx="53"/>
          </p:nvPr>
        </p:nvSpPr>
        <p:spPr>
          <a:xfrm>
            <a:off x="8112127" y="2077954"/>
            <a:ext cx="2989578" cy="553099"/>
          </a:xfrm>
          <a:prstGeom prst="rect">
            <a:avLst/>
          </a:prstGeom>
        </p:spPr>
        <p:txBody>
          <a:bodyPr tIns="0" bIns="0" anchor="b">
            <a:noAutofit/>
          </a:bodyPr>
          <a:lstStyle>
            <a:lvl1pPr marL="0" indent="0" algn="l">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64" name="Text Placeholder 29">
            <a:extLst>
              <a:ext uri="{FF2B5EF4-FFF2-40B4-BE49-F238E27FC236}">
                <a16:creationId xmlns:a16="http://schemas.microsoft.com/office/drawing/2014/main" id="{9A88BB22-41E4-5ACD-09E4-4157B024B08C}"/>
              </a:ext>
            </a:extLst>
          </p:cNvPr>
          <p:cNvSpPr>
            <a:spLocks noGrp="1"/>
          </p:cNvSpPr>
          <p:nvPr>
            <p:ph type="body" sz="quarter" idx="54"/>
          </p:nvPr>
        </p:nvSpPr>
        <p:spPr>
          <a:xfrm>
            <a:off x="8112127" y="2703054"/>
            <a:ext cx="2989578" cy="719417"/>
          </a:xfrm>
          <a:prstGeom prst="rect">
            <a:avLst/>
          </a:prstGeom>
        </p:spPr>
        <p:txBody>
          <a:bodyPr tIns="0" bIns="0">
            <a:noAutofit/>
          </a:bodyPr>
          <a:lstStyle>
            <a:lvl1pPr marL="0" indent="0" algn="l">
              <a:buNone/>
              <a:defRPr sz="16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65" name="Text Placeholder 29">
            <a:extLst>
              <a:ext uri="{FF2B5EF4-FFF2-40B4-BE49-F238E27FC236}">
                <a16:creationId xmlns:a16="http://schemas.microsoft.com/office/drawing/2014/main" id="{071D6C45-DAA5-4D1C-9957-40129325EB67}"/>
              </a:ext>
            </a:extLst>
          </p:cNvPr>
          <p:cNvSpPr>
            <a:spLocks noGrp="1"/>
          </p:cNvSpPr>
          <p:nvPr>
            <p:ph type="body" sz="quarter" idx="55" hasCustomPrompt="1"/>
          </p:nvPr>
        </p:nvSpPr>
        <p:spPr>
          <a:xfrm>
            <a:off x="6776551" y="3609181"/>
            <a:ext cx="1260000" cy="312739"/>
          </a:xfrm>
          <a:prstGeom prst="rect">
            <a:avLst/>
          </a:prstGeom>
        </p:spPr>
        <p:txBody>
          <a:bodyPr tIns="0" bIns="0" anchor="ctr">
            <a:noAutofit/>
          </a:bodyPr>
          <a:lstStyle>
            <a:lvl1pPr marL="0" indent="0" algn="ctr">
              <a:buNone/>
              <a:defRPr sz="1700" b="1">
                <a:solidFill>
                  <a:schemeClr val="accent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Milestone</a:t>
            </a:r>
            <a:endParaRPr lang="en-ID" dirty="0"/>
          </a:p>
        </p:txBody>
      </p:sp>
      <p:sp>
        <p:nvSpPr>
          <p:cNvPr id="74" name="Text Placeholder 29">
            <a:extLst>
              <a:ext uri="{FF2B5EF4-FFF2-40B4-BE49-F238E27FC236}">
                <a16:creationId xmlns:a16="http://schemas.microsoft.com/office/drawing/2014/main" id="{9A4B37EF-352C-7F66-A0C7-B1AAC332DF0B}"/>
              </a:ext>
            </a:extLst>
          </p:cNvPr>
          <p:cNvSpPr>
            <a:spLocks noGrp="1"/>
          </p:cNvSpPr>
          <p:nvPr>
            <p:ph type="body" sz="quarter" idx="48"/>
          </p:nvPr>
        </p:nvSpPr>
        <p:spPr>
          <a:xfrm>
            <a:off x="4601211" y="4640443"/>
            <a:ext cx="2989578" cy="553099"/>
          </a:xfrm>
          <a:prstGeom prst="rect">
            <a:avLst/>
          </a:prstGeom>
        </p:spPr>
        <p:txBody>
          <a:bodyPr tIns="0" bIns="0" anchor="b">
            <a:noAutofit/>
          </a:bodyPr>
          <a:lstStyle>
            <a:lvl1pPr marL="0" indent="0" algn="ctr">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75" name="Text Placeholder 29">
            <a:extLst>
              <a:ext uri="{FF2B5EF4-FFF2-40B4-BE49-F238E27FC236}">
                <a16:creationId xmlns:a16="http://schemas.microsoft.com/office/drawing/2014/main" id="{8AD0A0A8-C4B1-7D11-7CF8-B6C55DDAF46D}"/>
              </a:ext>
            </a:extLst>
          </p:cNvPr>
          <p:cNvSpPr>
            <a:spLocks noGrp="1"/>
          </p:cNvSpPr>
          <p:nvPr>
            <p:ph type="body" sz="quarter" idx="49"/>
          </p:nvPr>
        </p:nvSpPr>
        <p:spPr>
          <a:xfrm>
            <a:off x="4601211" y="5265543"/>
            <a:ext cx="2989578" cy="719417"/>
          </a:xfrm>
          <a:prstGeom prst="rect">
            <a:avLst/>
          </a:prstGeom>
        </p:spPr>
        <p:txBody>
          <a:bodyPr tIns="0" bIns="0">
            <a:noAutofit/>
          </a:bodyPr>
          <a:lstStyle>
            <a:lvl1pPr marL="0" indent="0" algn="ctr">
              <a:buNone/>
              <a:defRPr sz="16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Tree>
    <p:extLst>
      <p:ext uri="{BB962C8B-B14F-4D97-AF65-F5344CB8AC3E}">
        <p14:creationId xmlns:p14="http://schemas.microsoft.com/office/powerpoint/2010/main" val="2053735867"/>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meline I60V6">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7D5833C4-DC12-C256-8147-AB2E873090F7}"/>
              </a:ext>
            </a:extLst>
          </p:cNvPr>
          <p:cNvGrpSpPr/>
          <p:nvPr userDrawn="1"/>
        </p:nvGrpSpPr>
        <p:grpSpPr>
          <a:xfrm>
            <a:off x="3423758" y="3111644"/>
            <a:ext cx="5231244" cy="1307812"/>
            <a:chOff x="4134283" y="3357980"/>
            <a:chExt cx="5231244" cy="1307812"/>
          </a:xfrm>
        </p:grpSpPr>
        <p:grpSp>
          <p:nvGrpSpPr>
            <p:cNvPr id="15" name="Group 14">
              <a:extLst>
                <a:ext uri="{FF2B5EF4-FFF2-40B4-BE49-F238E27FC236}">
                  <a16:creationId xmlns:a16="http://schemas.microsoft.com/office/drawing/2014/main" id="{301BCF58-0363-AD55-7706-7577015208AD}"/>
                </a:ext>
              </a:extLst>
            </p:cNvPr>
            <p:cNvGrpSpPr/>
            <p:nvPr userDrawn="1"/>
          </p:nvGrpSpPr>
          <p:grpSpPr>
            <a:xfrm>
              <a:off x="6749905" y="3357980"/>
              <a:ext cx="2615622" cy="1307812"/>
              <a:chOff x="4134283" y="2768888"/>
              <a:chExt cx="2615622" cy="1307812"/>
            </a:xfrm>
          </p:grpSpPr>
          <p:sp>
            <p:nvSpPr>
              <p:cNvPr id="27" name="Arc 47">
                <a:extLst>
                  <a:ext uri="{FF2B5EF4-FFF2-40B4-BE49-F238E27FC236}">
                    <a16:creationId xmlns:a16="http://schemas.microsoft.com/office/drawing/2014/main" id="{1BF9A4E5-A19D-055D-8E75-99214E96ED1B}"/>
                  </a:ext>
                </a:extLst>
              </p:cNvPr>
              <p:cNvSpPr/>
              <p:nvPr userDrawn="1"/>
            </p:nvSpPr>
            <p:spPr>
              <a:xfrm>
                <a:off x="4134283" y="2768888"/>
                <a:ext cx="1307811" cy="1307812"/>
              </a:xfrm>
              <a:prstGeom prst="ellipse">
                <a:avLst/>
              </a:prstGeom>
              <a:ln w="5715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8" name="Arc 48">
                <a:extLst>
                  <a:ext uri="{FF2B5EF4-FFF2-40B4-BE49-F238E27FC236}">
                    <a16:creationId xmlns:a16="http://schemas.microsoft.com/office/drawing/2014/main" id="{5CC87E2F-50E6-39DD-CDFC-305C19C07B98}"/>
                  </a:ext>
                </a:extLst>
              </p:cNvPr>
              <p:cNvSpPr/>
              <p:nvPr userDrawn="1"/>
            </p:nvSpPr>
            <p:spPr>
              <a:xfrm flipV="1">
                <a:off x="5442094" y="2768888"/>
                <a:ext cx="1307811" cy="1307812"/>
              </a:xfrm>
              <a:prstGeom prst="ellipse">
                <a:avLst/>
              </a:prstGeom>
              <a:ln w="5715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grpSp>
        <p:grpSp>
          <p:nvGrpSpPr>
            <p:cNvPr id="17" name="Group 16">
              <a:extLst>
                <a:ext uri="{FF2B5EF4-FFF2-40B4-BE49-F238E27FC236}">
                  <a16:creationId xmlns:a16="http://schemas.microsoft.com/office/drawing/2014/main" id="{8E84A738-0246-4B22-A768-845597DB34B1}"/>
                </a:ext>
              </a:extLst>
            </p:cNvPr>
            <p:cNvGrpSpPr/>
            <p:nvPr userDrawn="1"/>
          </p:nvGrpSpPr>
          <p:grpSpPr>
            <a:xfrm>
              <a:off x="4134283" y="3357980"/>
              <a:ext cx="2615622" cy="1307812"/>
              <a:chOff x="4134283" y="2768888"/>
              <a:chExt cx="2615622" cy="1307812"/>
            </a:xfrm>
          </p:grpSpPr>
          <p:sp>
            <p:nvSpPr>
              <p:cNvPr id="25" name="Arc 47">
                <a:extLst>
                  <a:ext uri="{FF2B5EF4-FFF2-40B4-BE49-F238E27FC236}">
                    <a16:creationId xmlns:a16="http://schemas.microsoft.com/office/drawing/2014/main" id="{05BC3C8F-7B44-2BED-6193-E93BB9B72472}"/>
                  </a:ext>
                </a:extLst>
              </p:cNvPr>
              <p:cNvSpPr/>
              <p:nvPr userDrawn="1"/>
            </p:nvSpPr>
            <p:spPr>
              <a:xfrm>
                <a:off x="4134283" y="2768888"/>
                <a:ext cx="1307811" cy="1307812"/>
              </a:xfrm>
              <a:prstGeom prst="ellipse">
                <a:avLst/>
              </a:prstGeom>
              <a:ln w="5715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6" name="Arc 48">
                <a:extLst>
                  <a:ext uri="{FF2B5EF4-FFF2-40B4-BE49-F238E27FC236}">
                    <a16:creationId xmlns:a16="http://schemas.microsoft.com/office/drawing/2014/main" id="{8F3EF4B7-90AB-C7DA-B8CB-018463EB1B1D}"/>
                  </a:ext>
                </a:extLst>
              </p:cNvPr>
              <p:cNvSpPr/>
              <p:nvPr userDrawn="1"/>
            </p:nvSpPr>
            <p:spPr>
              <a:xfrm flipV="1">
                <a:off x="5442094" y="2768888"/>
                <a:ext cx="1307811" cy="1307812"/>
              </a:xfrm>
              <a:prstGeom prst="ellipse">
                <a:avLst/>
              </a:prstGeom>
              <a:ln w="5715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grpSp>
        <p:grpSp>
          <p:nvGrpSpPr>
            <p:cNvPr id="18" name="Group 17">
              <a:extLst>
                <a:ext uri="{FF2B5EF4-FFF2-40B4-BE49-F238E27FC236}">
                  <a16:creationId xmlns:a16="http://schemas.microsoft.com/office/drawing/2014/main" id="{89FB1F07-E1F7-E735-3584-493086F95515}"/>
                </a:ext>
              </a:extLst>
            </p:cNvPr>
            <p:cNvGrpSpPr/>
            <p:nvPr userDrawn="1"/>
          </p:nvGrpSpPr>
          <p:grpSpPr>
            <a:xfrm>
              <a:off x="4134283" y="3357980"/>
              <a:ext cx="2615622" cy="1307812"/>
              <a:chOff x="4134283" y="2775094"/>
              <a:chExt cx="2615622" cy="1307812"/>
            </a:xfrm>
          </p:grpSpPr>
          <p:sp>
            <p:nvSpPr>
              <p:cNvPr id="23" name="Arc 22">
                <a:extLst>
                  <a:ext uri="{FF2B5EF4-FFF2-40B4-BE49-F238E27FC236}">
                    <a16:creationId xmlns:a16="http://schemas.microsoft.com/office/drawing/2014/main" id="{D0384BA1-F92B-41F3-C1AE-23727B73848C}"/>
                  </a:ext>
                </a:extLst>
              </p:cNvPr>
              <p:cNvSpPr/>
              <p:nvPr userDrawn="1"/>
            </p:nvSpPr>
            <p:spPr>
              <a:xfrm>
                <a:off x="4134283" y="2775094"/>
                <a:ext cx="1307811" cy="1307812"/>
              </a:xfrm>
              <a:prstGeom prst="arc">
                <a:avLst>
                  <a:gd name="adj1" fmla="val 10792152"/>
                  <a:gd name="adj2" fmla="val 0"/>
                </a:avLst>
              </a:prstGeom>
              <a:ln w="57150"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4" name="Arc 23">
                <a:extLst>
                  <a:ext uri="{FF2B5EF4-FFF2-40B4-BE49-F238E27FC236}">
                    <a16:creationId xmlns:a16="http://schemas.microsoft.com/office/drawing/2014/main" id="{5EBDB500-C547-2D2E-C1E5-DA481BCDCED5}"/>
                  </a:ext>
                </a:extLst>
              </p:cNvPr>
              <p:cNvSpPr/>
              <p:nvPr userDrawn="1"/>
            </p:nvSpPr>
            <p:spPr>
              <a:xfrm flipV="1">
                <a:off x="5442094" y="2775094"/>
                <a:ext cx="1307811" cy="1307812"/>
              </a:xfrm>
              <a:prstGeom prst="arc">
                <a:avLst>
                  <a:gd name="adj1" fmla="val 10790197"/>
                  <a:gd name="adj2" fmla="val 0"/>
                </a:avLst>
              </a:prstGeom>
              <a:ln w="57150"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grpSp>
        <p:grpSp>
          <p:nvGrpSpPr>
            <p:cNvPr id="19" name="Group 18">
              <a:extLst>
                <a:ext uri="{FF2B5EF4-FFF2-40B4-BE49-F238E27FC236}">
                  <a16:creationId xmlns:a16="http://schemas.microsoft.com/office/drawing/2014/main" id="{E836FD13-85D3-B050-415C-DA5E49AA432F}"/>
                </a:ext>
              </a:extLst>
            </p:cNvPr>
            <p:cNvGrpSpPr/>
            <p:nvPr userDrawn="1"/>
          </p:nvGrpSpPr>
          <p:grpSpPr>
            <a:xfrm>
              <a:off x="6749905" y="3357980"/>
              <a:ext cx="2615622" cy="1307812"/>
              <a:chOff x="4134283" y="2775094"/>
              <a:chExt cx="2615622" cy="1307812"/>
            </a:xfrm>
          </p:grpSpPr>
          <p:sp>
            <p:nvSpPr>
              <p:cNvPr id="20" name="Arc 19">
                <a:extLst>
                  <a:ext uri="{FF2B5EF4-FFF2-40B4-BE49-F238E27FC236}">
                    <a16:creationId xmlns:a16="http://schemas.microsoft.com/office/drawing/2014/main" id="{17EDC98A-FAF8-1636-961C-0E3CB7409E03}"/>
                  </a:ext>
                </a:extLst>
              </p:cNvPr>
              <p:cNvSpPr/>
              <p:nvPr userDrawn="1"/>
            </p:nvSpPr>
            <p:spPr>
              <a:xfrm>
                <a:off x="4134283" y="2775094"/>
                <a:ext cx="1307811" cy="1307812"/>
              </a:xfrm>
              <a:prstGeom prst="arc">
                <a:avLst>
                  <a:gd name="adj1" fmla="val 10792152"/>
                  <a:gd name="adj2" fmla="val 0"/>
                </a:avLst>
              </a:prstGeom>
              <a:ln w="57150"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2" name="Arc 21">
                <a:extLst>
                  <a:ext uri="{FF2B5EF4-FFF2-40B4-BE49-F238E27FC236}">
                    <a16:creationId xmlns:a16="http://schemas.microsoft.com/office/drawing/2014/main" id="{52C6782D-6669-5C6D-6338-0D1D8E749EFB}"/>
                  </a:ext>
                </a:extLst>
              </p:cNvPr>
              <p:cNvSpPr/>
              <p:nvPr userDrawn="1"/>
            </p:nvSpPr>
            <p:spPr>
              <a:xfrm flipV="1">
                <a:off x="5442094" y="2775094"/>
                <a:ext cx="1307811" cy="1307812"/>
              </a:xfrm>
              <a:prstGeom prst="arc">
                <a:avLst>
                  <a:gd name="adj1" fmla="val 10790197"/>
                  <a:gd name="adj2" fmla="val 0"/>
                </a:avLst>
              </a:prstGeom>
              <a:ln w="57150"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grpSp>
      </p:grpSp>
      <p:sp>
        <p:nvSpPr>
          <p:cNvPr id="2" name="Title 1">
            <a:extLst>
              <a:ext uri="{FF2B5EF4-FFF2-40B4-BE49-F238E27FC236}">
                <a16:creationId xmlns:a16="http://schemas.microsoft.com/office/drawing/2014/main" id="{1036477C-8D55-B4B8-85DD-DAF85A20D8C5}"/>
              </a:ext>
            </a:extLst>
          </p:cNvPr>
          <p:cNvSpPr>
            <a:spLocks noGrp="1"/>
          </p:cNvSpPr>
          <p:nvPr>
            <p:ph type="title"/>
          </p:nvPr>
        </p:nvSpPr>
        <p:spPr>
          <a:xfrm>
            <a:off x="731443" y="586105"/>
            <a:ext cx="10873182" cy="709295"/>
          </a:xfrm>
        </p:spPr>
        <p:txBody>
          <a:bodyPr anchor="t">
            <a:noAutofit/>
          </a:bodyPr>
          <a:lstStyle>
            <a:lvl1pPr>
              <a:defRPr>
                <a:solidFill>
                  <a:schemeClr val="tx1"/>
                </a:solidFill>
              </a:defRPr>
            </a:lvl1pPr>
          </a:lstStyle>
          <a:p>
            <a:r>
              <a:rPr lang="en-US" dirty="0"/>
              <a:t>Click to edit Master title style</a:t>
            </a:r>
            <a:endParaRPr lang="en-ID" dirty="0"/>
          </a:p>
        </p:txBody>
      </p:sp>
      <p:sp>
        <p:nvSpPr>
          <p:cNvPr id="11" name="Slide Number Placeholder 5">
            <a:extLst>
              <a:ext uri="{FF2B5EF4-FFF2-40B4-BE49-F238E27FC236}">
                <a16:creationId xmlns:a16="http://schemas.microsoft.com/office/drawing/2014/main" id="{752E3F75-A181-1CEF-4892-A00A828F0DEC}"/>
              </a:ext>
            </a:extLst>
          </p:cNvPr>
          <p:cNvSpPr>
            <a:spLocks noGrp="1"/>
          </p:cNvSpPr>
          <p:nvPr>
            <p:ph type="sldNum" sz="quarter" idx="4"/>
          </p:nvPr>
        </p:nvSpPr>
        <p:spPr>
          <a:xfrm>
            <a:off x="11058525" y="6409951"/>
            <a:ext cx="546100" cy="273799"/>
          </a:xfrm>
          <a:prstGeom prst="rect">
            <a:avLst/>
          </a:prstGeom>
        </p:spPr>
        <p:txBody>
          <a:bodyPr vert="horz" lIns="91440" tIns="45720" rIns="91440" bIns="45720" rtlCol="0" anchor="b"/>
          <a:lstStyle>
            <a:lvl1pPr algn="r">
              <a:defRPr sz="1200">
                <a:solidFill>
                  <a:schemeClr val="tx1"/>
                </a:solidFill>
                <a:latin typeface="+mn-lt"/>
              </a:defRPr>
            </a:lvl1pPr>
          </a:lstStyle>
          <a:p>
            <a:fld id="{5E0C3BBE-9543-48E5-A6E1-C646F9A01966}" type="slidenum">
              <a:rPr lang="en-ID" smtClean="0"/>
              <a:pPr/>
              <a:t>‹#›</a:t>
            </a:fld>
            <a:endParaRPr lang="en-ID" dirty="0"/>
          </a:p>
        </p:txBody>
      </p:sp>
      <p:cxnSp>
        <p:nvCxnSpPr>
          <p:cNvPr id="16" name="Straight Connector 15">
            <a:extLst>
              <a:ext uri="{FF2B5EF4-FFF2-40B4-BE49-F238E27FC236}">
                <a16:creationId xmlns:a16="http://schemas.microsoft.com/office/drawing/2014/main" id="{0657BBCF-CA9E-FB2C-CA76-82D2795FF965}"/>
              </a:ext>
            </a:extLst>
          </p:cNvPr>
          <p:cNvCxnSpPr>
            <a:cxnSpLocks/>
          </p:cNvCxnSpPr>
          <p:nvPr userDrawn="1"/>
        </p:nvCxnSpPr>
        <p:spPr>
          <a:xfrm>
            <a:off x="587375" y="585690"/>
            <a:ext cx="0" cy="70971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Footer Placeholder 4">
            <a:extLst>
              <a:ext uri="{FF2B5EF4-FFF2-40B4-BE49-F238E27FC236}">
                <a16:creationId xmlns:a16="http://schemas.microsoft.com/office/drawing/2014/main" id="{FC465D62-3382-034B-3BC4-9FA6DDBCBF3D}"/>
              </a:ext>
            </a:extLst>
          </p:cNvPr>
          <p:cNvSpPr>
            <a:spLocks noGrp="1"/>
          </p:cNvSpPr>
          <p:nvPr>
            <p:ph type="ftr" sz="quarter" idx="3"/>
          </p:nvPr>
        </p:nvSpPr>
        <p:spPr>
          <a:xfrm>
            <a:off x="584200" y="6364288"/>
            <a:ext cx="5511800" cy="365125"/>
          </a:xfrm>
          <a:prstGeom prst="rect">
            <a:avLst/>
          </a:prstGeom>
        </p:spPr>
        <p:txBody>
          <a:bodyPr vert="horz" lIns="91440" tIns="45720" rIns="91440" bIns="45720" rtlCol="0" anchor="ctr"/>
          <a:lstStyle>
            <a:lvl1pPr algn="l">
              <a:defRPr lang="en-GB" sz="1200">
                <a:solidFill>
                  <a:schemeClr val="tx1"/>
                </a:solidFill>
              </a:defRPr>
            </a:lvl1pPr>
          </a:lstStyle>
          <a:p>
            <a:r>
              <a:rPr lang="en-US"/>
              <a:t>PRESENTATION TITLE</a:t>
            </a:r>
            <a:endParaRPr lang="en-US" dirty="0"/>
          </a:p>
        </p:txBody>
      </p:sp>
      <p:sp>
        <p:nvSpPr>
          <p:cNvPr id="37" name="Text Placeholder 29">
            <a:extLst>
              <a:ext uri="{FF2B5EF4-FFF2-40B4-BE49-F238E27FC236}">
                <a16:creationId xmlns:a16="http://schemas.microsoft.com/office/drawing/2014/main" id="{7014ED8C-D9A2-3233-BF99-B959865B48B9}"/>
              </a:ext>
            </a:extLst>
          </p:cNvPr>
          <p:cNvSpPr>
            <a:spLocks noGrp="1"/>
          </p:cNvSpPr>
          <p:nvPr>
            <p:ph type="body" sz="quarter" idx="43"/>
          </p:nvPr>
        </p:nvSpPr>
        <p:spPr>
          <a:xfrm>
            <a:off x="760807" y="2946490"/>
            <a:ext cx="2526766" cy="553099"/>
          </a:xfrm>
          <a:prstGeom prst="rect">
            <a:avLst/>
          </a:prstGeom>
        </p:spPr>
        <p:txBody>
          <a:bodyPr tIns="0" bIns="0" anchor="b">
            <a:noAutofit/>
          </a:bodyPr>
          <a:lstStyle>
            <a:lvl1pPr marL="0" indent="0" algn="r">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38" name="Text Placeholder 29">
            <a:extLst>
              <a:ext uri="{FF2B5EF4-FFF2-40B4-BE49-F238E27FC236}">
                <a16:creationId xmlns:a16="http://schemas.microsoft.com/office/drawing/2014/main" id="{27A02D2A-8972-F536-0B27-7D6428470586}"/>
              </a:ext>
            </a:extLst>
          </p:cNvPr>
          <p:cNvSpPr>
            <a:spLocks noGrp="1"/>
          </p:cNvSpPr>
          <p:nvPr>
            <p:ph type="body" sz="quarter" idx="44"/>
          </p:nvPr>
        </p:nvSpPr>
        <p:spPr>
          <a:xfrm>
            <a:off x="760807" y="3571590"/>
            <a:ext cx="2526766" cy="972433"/>
          </a:xfrm>
          <a:prstGeom prst="rect">
            <a:avLst/>
          </a:prstGeom>
        </p:spPr>
        <p:txBody>
          <a:bodyPr tIns="0" bIns="0">
            <a:noAutofit/>
          </a:bodyPr>
          <a:lstStyle>
            <a:lvl1pPr marL="0" indent="0" algn="r">
              <a:buNone/>
              <a:defRPr sz="16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63" name="Text Placeholder 29">
            <a:extLst>
              <a:ext uri="{FF2B5EF4-FFF2-40B4-BE49-F238E27FC236}">
                <a16:creationId xmlns:a16="http://schemas.microsoft.com/office/drawing/2014/main" id="{261031B1-B982-A042-4CFA-1D2651953B25}"/>
              </a:ext>
            </a:extLst>
          </p:cNvPr>
          <p:cNvSpPr>
            <a:spLocks noGrp="1"/>
          </p:cNvSpPr>
          <p:nvPr>
            <p:ph type="body" sz="quarter" idx="53"/>
          </p:nvPr>
        </p:nvSpPr>
        <p:spPr>
          <a:xfrm>
            <a:off x="5429903" y="1441696"/>
            <a:ext cx="2526766" cy="553099"/>
          </a:xfrm>
          <a:prstGeom prst="rect">
            <a:avLst/>
          </a:prstGeom>
        </p:spPr>
        <p:txBody>
          <a:bodyPr tIns="0" bIns="0" anchor="b">
            <a:noAutofit/>
          </a:bodyPr>
          <a:lstStyle>
            <a:lvl1pPr marL="0" indent="0" algn="ctr">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64" name="Text Placeholder 29">
            <a:extLst>
              <a:ext uri="{FF2B5EF4-FFF2-40B4-BE49-F238E27FC236}">
                <a16:creationId xmlns:a16="http://schemas.microsoft.com/office/drawing/2014/main" id="{9A88BB22-41E4-5ACD-09E4-4157B024B08C}"/>
              </a:ext>
            </a:extLst>
          </p:cNvPr>
          <p:cNvSpPr>
            <a:spLocks noGrp="1"/>
          </p:cNvSpPr>
          <p:nvPr>
            <p:ph type="body" sz="quarter" idx="54"/>
          </p:nvPr>
        </p:nvSpPr>
        <p:spPr>
          <a:xfrm>
            <a:off x="5429903" y="2066796"/>
            <a:ext cx="2526766" cy="972433"/>
          </a:xfrm>
          <a:prstGeom prst="rect">
            <a:avLst/>
          </a:prstGeom>
        </p:spPr>
        <p:txBody>
          <a:bodyPr tIns="0" bIns="0">
            <a:noAutofit/>
          </a:bodyPr>
          <a:lstStyle>
            <a:lvl1pPr marL="0" indent="0" algn="ctr">
              <a:buNone/>
              <a:defRPr sz="16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74" name="Text Placeholder 29">
            <a:extLst>
              <a:ext uri="{FF2B5EF4-FFF2-40B4-BE49-F238E27FC236}">
                <a16:creationId xmlns:a16="http://schemas.microsoft.com/office/drawing/2014/main" id="{9A4B37EF-352C-7F66-A0C7-B1AAC332DF0B}"/>
              </a:ext>
            </a:extLst>
          </p:cNvPr>
          <p:cNvSpPr>
            <a:spLocks noGrp="1"/>
          </p:cNvSpPr>
          <p:nvPr>
            <p:ph type="body" sz="quarter" idx="48"/>
          </p:nvPr>
        </p:nvSpPr>
        <p:spPr>
          <a:xfrm>
            <a:off x="4124015" y="4596925"/>
            <a:ext cx="2526766" cy="553099"/>
          </a:xfrm>
          <a:prstGeom prst="rect">
            <a:avLst/>
          </a:prstGeom>
        </p:spPr>
        <p:txBody>
          <a:bodyPr tIns="0" bIns="0" anchor="b">
            <a:noAutofit/>
          </a:bodyPr>
          <a:lstStyle>
            <a:lvl1pPr marL="0" indent="0" algn="ctr">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75" name="Text Placeholder 29">
            <a:extLst>
              <a:ext uri="{FF2B5EF4-FFF2-40B4-BE49-F238E27FC236}">
                <a16:creationId xmlns:a16="http://schemas.microsoft.com/office/drawing/2014/main" id="{8AD0A0A8-C4B1-7D11-7CF8-B6C55DDAF46D}"/>
              </a:ext>
            </a:extLst>
          </p:cNvPr>
          <p:cNvSpPr>
            <a:spLocks noGrp="1"/>
          </p:cNvSpPr>
          <p:nvPr>
            <p:ph type="body" sz="quarter" idx="49"/>
          </p:nvPr>
        </p:nvSpPr>
        <p:spPr>
          <a:xfrm>
            <a:off x="4124015" y="5222025"/>
            <a:ext cx="2526766" cy="972433"/>
          </a:xfrm>
          <a:prstGeom prst="rect">
            <a:avLst/>
          </a:prstGeom>
        </p:spPr>
        <p:txBody>
          <a:bodyPr tIns="0" bIns="0">
            <a:noAutofit/>
          </a:bodyPr>
          <a:lstStyle>
            <a:lvl1pPr marL="0" indent="0" algn="ctr">
              <a:buNone/>
              <a:defRPr sz="16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76" name="Text Placeholder 29">
            <a:extLst>
              <a:ext uri="{FF2B5EF4-FFF2-40B4-BE49-F238E27FC236}">
                <a16:creationId xmlns:a16="http://schemas.microsoft.com/office/drawing/2014/main" id="{9F88D094-280F-4883-8661-9A0BF47D066B}"/>
              </a:ext>
            </a:extLst>
          </p:cNvPr>
          <p:cNvSpPr>
            <a:spLocks noGrp="1"/>
          </p:cNvSpPr>
          <p:nvPr>
            <p:ph type="body" sz="quarter" idx="58"/>
          </p:nvPr>
        </p:nvSpPr>
        <p:spPr>
          <a:xfrm>
            <a:off x="8901380" y="2946490"/>
            <a:ext cx="2526766" cy="553099"/>
          </a:xfrm>
          <a:prstGeom prst="rect">
            <a:avLst/>
          </a:prstGeom>
        </p:spPr>
        <p:txBody>
          <a:bodyPr tIns="0" bIns="0" anchor="b">
            <a:noAutofit/>
          </a:bodyPr>
          <a:lstStyle>
            <a:lvl1pPr marL="0" indent="0" algn="l">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77" name="Text Placeholder 29">
            <a:extLst>
              <a:ext uri="{FF2B5EF4-FFF2-40B4-BE49-F238E27FC236}">
                <a16:creationId xmlns:a16="http://schemas.microsoft.com/office/drawing/2014/main" id="{A9F31ADB-E84D-0E5A-C855-7382535346A9}"/>
              </a:ext>
            </a:extLst>
          </p:cNvPr>
          <p:cNvSpPr>
            <a:spLocks noGrp="1"/>
          </p:cNvSpPr>
          <p:nvPr>
            <p:ph type="body" sz="quarter" idx="59"/>
          </p:nvPr>
        </p:nvSpPr>
        <p:spPr>
          <a:xfrm>
            <a:off x="8901380" y="3571590"/>
            <a:ext cx="2526766" cy="972433"/>
          </a:xfrm>
          <a:prstGeom prst="rect">
            <a:avLst/>
          </a:prstGeom>
        </p:spPr>
        <p:txBody>
          <a:bodyPr tIns="0" bIns="0">
            <a:noAutofit/>
          </a:bodyPr>
          <a:lstStyle>
            <a:lvl1pPr marL="0" indent="0" algn="l">
              <a:buNone/>
              <a:defRPr sz="16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40" name="Text Placeholder 29">
            <a:extLst>
              <a:ext uri="{FF2B5EF4-FFF2-40B4-BE49-F238E27FC236}">
                <a16:creationId xmlns:a16="http://schemas.microsoft.com/office/drawing/2014/main" id="{5C686B82-2E00-D61D-3AA1-3461944BF439}"/>
              </a:ext>
            </a:extLst>
          </p:cNvPr>
          <p:cNvSpPr>
            <a:spLocks noGrp="1"/>
          </p:cNvSpPr>
          <p:nvPr>
            <p:ph type="body" sz="quarter" idx="45" hasCustomPrompt="1"/>
          </p:nvPr>
        </p:nvSpPr>
        <p:spPr>
          <a:xfrm>
            <a:off x="3447663" y="3609181"/>
            <a:ext cx="1260000" cy="312739"/>
          </a:xfrm>
          <a:prstGeom prst="rect">
            <a:avLst/>
          </a:prstGeom>
        </p:spPr>
        <p:txBody>
          <a:bodyPr tIns="0" bIns="0" anchor="ctr">
            <a:noAutofit/>
          </a:bodyPr>
          <a:lstStyle>
            <a:lvl1pPr marL="0" indent="0" algn="ctr">
              <a:buNone/>
              <a:defRPr sz="1700" b="1">
                <a:solidFill>
                  <a:schemeClr val="accent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Milestone</a:t>
            </a:r>
            <a:endParaRPr lang="en-ID" dirty="0"/>
          </a:p>
        </p:txBody>
      </p:sp>
      <p:sp>
        <p:nvSpPr>
          <p:cNvPr id="60" name="Text Placeholder 29">
            <a:extLst>
              <a:ext uri="{FF2B5EF4-FFF2-40B4-BE49-F238E27FC236}">
                <a16:creationId xmlns:a16="http://schemas.microsoft.com/office/drawing/2014/main" id="{E10C62AC-5F15-FEF7-14F7-69E74FF548BF}"/>
              </a:ext>
            </a:extLst>
          </p:cNvPr>
          <p:cNvSpPr>
            <a:spLocks noGrp="1"/>
          </p:cNvSpPr>
          <p:nvPr>
            <p:ph type="body" sz="quarter" idx="50" hasCustomPrompt="1"/>
          </p:nvPr>
        </p:nvSpPr>
        <p:spPr>
          <a:xfrm>
            <a:off x="4756949" y="3609181"/>
            <a:ext cx="1260000" cy="312739"/>
          </a:xfrm>
          <a:prstGeom prst="rect">
            <a:avLst/>
          </a:prstGeom>
        </p:spPr>
        <p:txBody>
          <a:bodyPr tIns="0" bIns="0" anchor="ctr">
            <a:noAutofit/>
          </a:bodyPr>
          <a:lstStyle>
            <a:lvl1pPr marL="0" indent="0" algn="ctr">
              <a:buNone/>
              <a:defRPr sz="1700" b="1">
                <a:solidFill>
                  <a:schemeClr val="accent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Milestone</a:t>
            </a:r>
            <a:endParaRPr lang="en-ID" dirty="0"/>
          </a:p>
        </p:txBody>
      </p:sp>
      <p:sp>
        <p:nvSpPr>
          <p:cNvPr id="65" name="Text Placeholder 29">
            <a:extLst>
              <a:ext uri="{FF2B5EF4-FFF2-40B4-BE49-F238E27FC236}">
                <a16:creationId xmlns:a16="http://schemas.microsoft.com/office/drawing/2014/main" id="{071D6C45-DAA5-4D1C-9957-40129325EB67}"/>
              </a:ext>
            </a:extLst>
          </p:cNvPr>
          <p:cNvSpPr>
            <a:spLocks noGrp="1"/>
          </p:cNvSpPr>
          <p:nvPr>
            <p:ph type="body" sz="quarter" idx="55" hasCustomPrompt="1"/>
          </p:nvPr>
        </p:nvSpPr>
        <p:spPr>
          <a:xfrm>
            <a:off x="6066235" y="3609181"/>
            <a:ext cx="1260000" cy="312739"/>
          </a:xfrm>
          <a:prstGeom prst="rect">
            <a:avLst/>
          </a:prstGeom>
        </p:spPr>
        <p:txBody>
          <a:bodyPr tIns="0" bIns="0" anchor="ctr">
            <a:noAutofit/>
          </a:bodyPr>
          <a:lstStyle>
            <a:lvl1pPr marL="0" indent="0" algn="ctr">
              <a:buNone/>
              <a:defRPr sz="1700" b="1">
                <a:solidFill>
                  <a:schemeClr val="accent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Milestone</a:t>
            </a:r>
            <a:endParaRPr lang="en-ID" dirty="0"/>
          </a:p>
        </p:txBody>
      </p:sp>
      <p:sp>
        <p:nvSpPr>
          <p:cNvPr id="70" name="Text Placeholder 29">
            <a:extLst>
              <a:ext uri="{FF2B5EF4-FFF2-40B4-BE49-F238E27FC236}">
                <a16:creationId xmlns:a16="http://schemas.microsoft.com/office/drawing/2014/main" id="{32E39F6E-5616-1EC7-DA06-FA903B0B9CC4}"/>
              </a:ext>
            </a:extLst>
          </p:cNvPr>
          <p:cNvSpPr>
            <a:spLocks noGrp="1"/>
          </p:cNvSpPr>
          <p:nvPr>
            <p:ph type="body" sz="quarter" idx="60" hasCustomPrompt="1"/>
          </p:nvPr>
        </p:nvSpPr>
        <p:spPr>
          <a:xfrm>
            <a:off x="7375521" y="3609181"/>
            <a:ext cx="1260000" cy="312739"/>
          </a:xfrm>
          <a:prstGeom prst="rect">
            <a:avLst/>
          </a:prstGeom>
        </p:spPr>
        <p:txBody>
          <a:bodyPr tIns="0" bIns="0" anchor="ctr">
            <a:noAutofit/>
          </a:bodyPr>
          <a:lstStyle>
            <a:lvl1pPr marL="0" indent="0" algn="ctr">
              <a:buNone/>
              <a:defRPr sz="1700" b="1">
                <a:solidFill>
                  <a:schemeClr val="accent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Milestone</a:t>
            </a:r>
            <a:endParaRPr lang="en-ID" dirty="0"/>
          </a:p>
        </p:txBody>
      </p:sp>
    </p:spTree>
    <p:extLst>
      <p:ext uri="{BB962C8B-B14F-4D97-AF65-F5344CB8AC3E}">
        <p14:creationId xmlns:p14="http://schemas.microsoft.com/office/powerpoint/2010/main" val="3182925318"/>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meline I60V7">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1FE2AD4A-FFA7-E356-533B-3682CE748F60}"/>
              </a:ext>
            </a:extLst>
          </p:cNvPr>
          <p:cNvGrpSpPr/>
          <p:nvPr userDrawn="1"/>
        </p:nvGrpSpPr>
        <p:grpSpPr>
          <a:xfrm>
            <a:off x="2750272" y="3111644"/>
            <a:ext cx="6539055" cy="1307812"/>
            <a:chOff x="3480378" y="3357980"/>
            <a:chExt cx="6539055" cy="1307812"/>
          </a:xfrm>
        </p:grpSpPr>
        <p:sp>
          <p:nvSpPr>
            <p:cNvPr id="12" name="Arc 47">
              <a:extLst>
                <a:ext uri="{FF2B5EF4-FFF2-40B4-BE49-F238E27FC236}">
                  <a16:creationId xmlns:a16="http://schemas.microsoft.com/office/drawing/2014/main" id="{5ADE87A4-1E17-504F-FC08-4E5317FA8905}"/>
                </a:ext>
              </a:extLst>
            </p:cNvPr>
            <p:cNvSpPr/>
            <p:nvPr userDrawn="1"/>
          </p:nvSpPr>
          <p:spPr>
            <a:xfrm>
              <a:off x="8711622" y="3357980"/>
              <a:ext cx="1307811" cy="1307812"/>
            </a:xfrm>
            <a:prstGeom prst="ellipse">
              <a:avLst/>
            </a:prstGeom>
            <a:ln w="5715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 name="Arc 47">
              <a:extLst>
                <a:ext uri="{FF2B5EF4-FFF2-40B4-BE49-F238E27FC236}">
                  <a16:creationId xmlns:a16="http://schemas.microsoft.com/office/drawing/2014/main" id="{58CDE690-F1D3-A2E1-1A15-211FF078FDDB}"/>
                </a:ext>
              </a:extLst>
            </p:cNvPr>
            <p:cNvSpPr/>
            <p:nvPr userDrawn="1"/>
          </p:nvSpPr>
          <p:spPr>
            <a:xfrm>
              <a:off x="6096000" y="3357980"/>
              <a:ext cx="1307811" cy="1307812"/>
            </a:xfrm>
            <a:prstGeom prst="ellipse">
              <a:avLst/>
            </a:prstGeom>
            <a:ln w="5715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4" name="Arc 48">
              <a:extLst>
                <a:ext uri="{FF2B5EF4-FFF2-40B4-BE49-F238E27FC236}">
                  <a16:creationId xmlns:a16="http://schemas.microsoft.com/office/drawing/2014/main" id="{98761B8C-B84E-693F-B36F-FB9CE49972F3}"/>
                </a:ext>
              </a:extLst>
            </p:cNvPr>
            <p:cNvSpPr/>
            <p:nvPr userDrawn="1"/>
          </p:nvSpPr>
          <p:spPr>
            <a:xfrm flipV="1">
              <a:off x="7403811" y="3357980"/>
              <a:ext cx="1307811" cy="1307812"/>
            </a:xfrm>
            <a:prstGeom prst="ellipse">
              <a:avLst/>
            </a:prstGeom>
            <a:ln w="5715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Arc 47">
              <a:extLst>
                <a:ext uri="{FF2B5EF4-FFF2-40B4-BE49-F238E27FC236}">
                  <a16:creationId xmlns:a16="http://schemas.microsoft.com/office/drawing/2014/main" id="{1D5F6001-25C6-ED50-DAA0-C9A450EADBDD}"/>
                </a:ext>
              </a:extLst>
            </p:cNvPr>
            <p:cNvSpPr/>
            <p:nvPr userDrawn="1"/>
          </p:nvSpPr>
          <p:spPr>
            <a:xfrm>
              <a:off x="3480378" y="3357980"/>
              <a:ext cx="1307811" cy="1307812"/>
            </a:xfrm>
            <a:prstGeom prst="ellipse">
              <a:avLst/>
            </a:prstGeom>
            <a:ln w="5715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 name="Arc 48">
              <a:extLst>
                <a:ext uri="{FF2B5EF4-FFF2-40B4-BE49-F238E27FC236}">
                  <a16:creationId xmlns:a16="http://schemas.microsoft.com/office/drawing/2014/main" id="{0DB28EB5-007D-E1A3-1B43-13A6960317E9}"/>
                </a:ext>
              </a:extLst>
            </p:cNvPr>
            <p:cNvSpPr/>
            <p:nvPr userDrawn="1"/>
          </p:nvSpPr>
          <p:spPr>
            <a:xfrm flipV="1">
              <a:off x="4788189" y="3357980"/>
              <a:ext cx="1307811" cy="1307812"/>
            </a:xfrm>
            <a:prstGeom prst="ellipse">
              <a:avLst/>
            </a:prstGeom>
            <a:ln w="5715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8" name="Arc 17">
              <a:extLst>
                <a:ext uri="{FF2B5EF4-FFF2-40B4-BE49-F238E27FC236}">
                  <a16:creationId xmlns:a16="http://schemas.microsoft.com/office/drawing/2014/main" id="{B5A7E809-373A-B623-3766-CF30FDAA10EB}"/>
                </a:ext>
              </a:extLst>
            </p:cNvPr>
            <p:cNvSpPr/>
            <p:nvPr userDrawn="1"/>
          </p:nvSpPr>
          <p:spPr>
            <a:xfrm>
              <a:off x="3480378" y="3357980"/>
              <a:ext cx="1307811" cy="1307812"/>
            </a:xfrm>
            <a:prstGeom prst="arc">
              <a:avLst>
                <a:gd name="adj1" fmla="val 10792152"/>
                <a:gd name="adj2" fmla="val 0"/>
              </a:avLst>
            </a:prstGeom>
            <a:ln w="57150"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9" name="Arc 18">
              <a:extLst>
                <a:ext uri="{FF2B5EF4-FFF2-40B4-BE49-F238E27FC236}">
                  <a16:creationId xmlns:a16="http://schemas.microsoft.com/office/drawing/2014/main" id="{93CEF93B-B80E-035A-FF60-EEF1EF615D77}"/>
                </a:ext>
              </a:extLst>
            </p:cNvPr>
            <p:cNvSpPr/>
            <p:nvPr userDrawn="1"/>
          </p:nvSpPr>
          <p:spPr>
            <a:xfrm flipV="1">
              <a:off x="4788189" y="3357980"/>
              <a:ext cx="1307811" cy="1307812"/>
            </a:xfrm>
            <a:prstGeom prst="arc">
              <a:avLst>
                <a:gd name="adj1" fmla="val 10790197"/>
                <a:gd name="adj2" fmla="val 0"/>
              </a:avLst>
            </a:prstGeom>
            <a:ln w="57150"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0" name="Arc 19">
              <a:extLst>
                <a:ext uri="{FF2B5EF4-FFF2-40B4-BE49-F238E27FC236}">
                  <a16:creationId xmlns:a16="http://schemas.microsoft.com/office/drawing/2014/main" id="{BAFB1B3D-BB79-C97B-8395-4A58A130AAD1}"/>
                </a:ext>
              </a:extLst>
            </p:cNvPr>
            <p:cNvSpPr/>
            <p:nvPr userDrawn="1"/>
          </p:nvSpPr>
          <p:spPr>
            <a:xfrm>
              <a:off x="6096000" y="3357980"/>
              <a:ext cx="1307811" cy="1307812"/>
            </a:xfrm>
            <a:prstGeom prst="arc">
              <a:avLst>
                <a:gd name="adj1" fmla="val 10792152"/>
                <a:gd name="adj2" fmla="val 0"/>
              </a:avLst>
            </a:prstGeom>
            <a:ln w="57150"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2" name="Arc 21">
              <a:extLst>
                <a:ext uri="{FF2B5EF4-FFF2-40B4-BE49-F238E27FC236}">
                  <a16:creationId xmlns:a16="http://schemas.microsoft.com/office/drawing/2014/main" id="{5058C121-2A3B-AC59-790A-F454E0E4910D}"/>
                </a:ext>
              </a:extLst>
            </p:cNvPr>
            <p:cNvSpPr/>
            <p:nvPr userDrawn="1"/>
          </p:nvSpPr>
          <p:spPr>
            <a:xfrm flipV="1">
              <a:off x="7403811" y="3357980"/>
              <a:ext cx="1307811" cy="1307812"/>
            </a:xfrm>
            <a:prstGeom prst="arc">
              <a:avLst>
                <a:gd name="adj1" fmla="val 10790197"/>
                <a:gd name="adj2" fmla="val 0"/>
              </a:avLst>
            </a:prstGeom>
            <a:ln w="57150"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3" name="Arc 22">
              <a:extLst>
                <a:ext uri="{FF2B5EF4-FFF2-40B4-BE49-F238E27FC236}">
                  <a16:creationId xmlns:a16="http://schemas.microsoft.com/office/drawing/2014/main" id="{64F625EA-4806-1F64-7CEA-1D02E08887B3}"/>
                </a:ext>
              </a:extLst>
            </p:cNvPr>
            <p:cNvSpPr/>
            <p:nvPr userDrawn="1"/>
          </p:nvSpPr>
          <p:spPr>
            <a:xfrm>
              <a:off x="8711622" y="3357980"/>
              <a:ext cx="1307811" cy="1307812"/>
            </a:xfrm>
            <a:prstGeom prst="arc">
              <a:avLst>
                <a:gd name="adj1" fmla="val 10792152"/>
                <a:gd name="adj2" fmla="val 0"/>
              </a:avLst>
            </a:prstGeom>
            <a:ln w="57150"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grpSp>
      <p:sp>
        <p:nvSpPr>
          <p:cNvPr id="2" name="Title 1">
            <a:extLst>
              <a:ext uri="{FF2B5EF4-FFF2-40B4-BE49-F238E27FC236}">
                <a16:creationId xmlns:a16="http://schemas.microsoft.com/office/drawing/2014/main" id="{1036477C-8D55-B4B8-85DD-DAF85A20D8C5}"/>
              </a:ext>
            </a:extLst>
          </p:cNvPr>
          <p:cNvSpPr>
            <a:spLocks noGrp="1"/>
          </p:cNvSpPr>
          <p:nvPr>
            <p:ph type="title"/>
          </p:nvPr>
        </p:nvSpPr>
        <p:spPr>
          <a:xfrm>
            <a:off x="731443" y="586105"/>
            <a:ext cx="10873182" cy="709295"/>
          </a:xfrm>
        </p:spPr>
        <p:txBody>
          <a:bodyPr anchor="t">
            <a:noAutofit/>
          </a:bodyPr>
          <a:lstStyle>
            <a:lvl1pPr>
              <a:defRPr>
                <a:solidFill>
                  <a:schemeClr val="tx1"/>
                </a:solidFill>
              </a:defRPr>
            </a:lvl1pPr>
          </a:lstStyle>
          <a:p>
            <a:r>
              <a:rPr lang="en-US" dirty="0"/>
              <a:t>Click to edit Master title style</a:t>
            </a:r>
            <a:endParaRPr lang="en-ID" dirty="0"/>
          </a:p>
        </p:txBody>
      </p:sp>
      <p:sp>
        <p:nvSpPr>
          <p:cNvPr id="11" name="Slide Number Placeholder 5">
            <a:extLst>
              <a:ext uri="{FF2B5EF4-FFF2-40B4-BE49-F238E27FC236}">
                <a16:creationId xmlns:a16="http://schemas.microsoft.com/office/drawing/2014/main" id="{752E3F75-A181-1CEF-4892-A00A828F0DEC}"/>
              </a:ext>
            </a:extLst>
          </p:cNvPr>
          <p:cNvSpPr>
            <a:spLocks noGrp="1"/>
          </p:cNvSpPr>
          <p:nvPr>
            <p:ph type="sldNum" sz="quarter" idx="4"/>
          </p:nvPr>
        </p:nvSpPr>
        <p:spPr>
          <a:xfrm>
            <a:off x="11058525" y="6409951"/>
            <a:ext cx="546100" cy="273799"/>
          </a:xfrm>
          <a:prstGeom prst="rect">
            <a:avLst/>
          </a:prstGeom>
        </p:spPr>
        <p:txBody>
          <a:bodyPr vert="horz" lIns="91440" tIns="45720" rIns="91440" bIns="45720" rtlCol="0" anchor="b"/>
          <a:lstStyle>
            <a:lvl1pPr algn="r">
              <a:defRPr sz="1200">
                <a:solidFill>
                  <a:schemeClr val="tx1"/>
                </a:solidFill>
                <a:latin typeface="+mn-lt"/>
              </a:defRPr>
            </a:lvl1pPr>
          </a:lstStyle>
          <a:p>
            <a:fld id="{5E0C3BBE-9543-48E5-A6E1-C646F9A01966}" type="slidenum">
              <a:rPr lang="en-ID" smtClean="0"/>
              <a:pPr/>
              <a:t>‹#›</a:t>
            </a:fld>
            <a:endParaRPr lang="en-ID" dirty="0"/>
          </a:p>
        </p:txBody>
      </p:sp>
      <p:cxnSp>
        <p:nvCxnSpPr>
          <p:cNvPr id="16" name="Straight Connector 15">
            <a:extLst>
              <a:ext uri="{FF2B5EF4-FFF2-40B4-BE49-F238E27FC236}">
                <a16:creationId xmlns:a16="http://schemas.microsoft.com/office/drawing/2014/main" id="{0657BBCF-CA9E-FB2C-CA76-82D2795FF965}"/>
              </a:ext>
            </a:extLst>
          </p:cNvPr>
          <p:cNvCxnSpPr>
            <a:cxnSpLocks/>
          </p:cNvCxnSpPr>
          <p:nvPr userDrawn="1"/>
        </p:nvCxnSpPr>
        <p:spPr>
          <a:xfrm>
            <a:off x="587375" y="585690"/>
            <a:ext cx="0" cy="70971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Footer Placeholder 4">
            <a:extLst>
              <a:ext uri="{FF2B5EF4-FFF2-40B4-BE49-F238E27FC236}">
                <a16:creationId xmlns:a16="http://schemas.microsoft.com/office/drawing/2014/main" id="{FC465D62-3382-034B-3BC4-9FA6DDBCBF3D}"/>
              </a:ext>
            </a:extLst>
          </p:cNvPr>
          <p:cNvSpPr>
            <a:spLocks noGrp="1"/>
          </p:cNvSpPr>
          <p:nvPr>
            <p:ph type="ftr" sz="quarter" idx="3"/>
          </p:nvPr>
        </p:nvSpPr>
        <p:spPr>
          <a:xfrm>
            <a:off x="584200" y="6364288"/>
            <a:ext cx="5511800" cy="365125"/>
          </a:xfrm>
          <a:prstGeom prst="rect">
            <a:avLst/>
          </a:prstGeom>
        </p:spPr>
        <p:txBody>
          <a:bodyPr vert="horz" lIns="91440" tIns="45720" rIns="91440" bIns="45720" rtlCol="0" anchor="ctr"/>
          <a:lstStyle>
            <a:lvl1pPr algn="l">
              <a:defRPr lang="en-GB" sz="1200">
                <a:solidFill>
                  <a:schemeClr val="tx1"/>
                </a:solidFill>
              </a:defRPr>
            </a:lvl1pPr>
          </a:lstStyle>
          <a:p>
            <a:r>
              <a:rPr lang="en-US"/>
              <a:t>PRESENTATION TITLE</a:t>
            </a:r>
            <a:endParaRPr lang="en-US" dirty="0"/>
          </a:p>
        </p:txBody>
      </p:sp>
      <p:sp>
        <p:nvSpPr>
          <p:cNvPr id="37" name="Text Placeholder 29">
            <a:extLst>
              <a:ext uri="{FF2B5EF4-FFF2-40B4-BE49-F238E27FC236}">
                <a16:creationId xmlns:a16="http://schemas.microsoft.com/office/drawing/2014/main" id="{7014ED8C-D9A2-3233-BF99-B959865B48B9}"/>
              </a:ext>
            </a:extLst>
          </p:cNvPr>
          <p:cNvSpPr>
            <a:spLocks noGrp="1"/>
          </p:cNvSpPr>
          <p:nvPr>
            <p:ph type="body" sz="quarter" idx="43"/>
          </p:nvPr>
        </p:nvSpPr>
        <p:spPr>
          <a:xfrm>
            <a:off x="2401423" y="1507452"/>
            <a:ext cx="2034264" cy="478718"/>
          </a:xfrm>
          <a:prstGeom prst="rect">
            <a:avLst/>
          </a:prstGeom>
        </p:spPr>
        <p:txBody>
          <a:bodyPr tIns="0" bIns="0" anchor="b">
            <a:noAutofit/>
          </a:bodyPr>
          <a:lstStyle>
            <a:lvl1pPr marL="0" indent="0" algn="ctr">
              <a:buNone/>
              <a:defRPr sz="14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38" name="Text Placeholder 29">
            <a:extLst>
              <a:ext uri="{FF2B5EF4-FFF2-40B4-BE49-F238E27FC236}">
                <a16:creationId xmlns:a16="http://schemas.microsoft.com/office/drawing/2014/main" id="{27A02D2A-8972-F536-0B27-7D6428470586}"/>
              </a:ext>
            </a:extLst>
          </p:cNvPr>
          <p:cNvSpPr>
            <a:spLocks noGrp="1"/>
          </p:cNvSpPr>
          <p:nvPr>
            <p:ph type="body" sz="quarter" idx="44"/>
          </p:nvPr>
        </p:nvSpPr>
        <p:spPr>
          <a:xfrm>
            <a:off x="2401423" y="2058171"/>
            <a:ext cx="2034264" cy="890030"/>
          </a:xfrm>
          <a:prstGeom prst="rect">
            <a:avLst/>
          </a:prstGeom>
        </p:spPr>
        <p:txBody>
          <a:bodyPr tIns="0" bIns="0">
            <a:noAutofit/>
          </a:bodyPr>
          <a:lstStyle>
            <a:lvl1pPr marL="0" indent="0" algn="ctr">
              <a:buNone/>
              <a:defRPr sz="12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40" name="Text Placeholder 29">
            <a:extLst>
              <a:ext uri="{FF2B5EF4-FFF2-40B4-BE49-F238E27FC236}">
                <a16:creationId xmlns:a16="http://schemas.microsoft.com/office/drawing/2014/main" id="{5C686B82-2E00-D61D-3AA1-3461944BF439}"/>
              </a:ext>
            </a:extLst>
          </p:cNvPr>
          <p:cNvSpPr>
            <a:spLocks noGrp="1"/>
          </p:cNvSpPr>
          <p:nvPr>
            <p:ph type="body" sz="quarter" idx="45" hasCustomPrompt="1"/>
          </p:nvPr>
        </p:nvSpPr>
        <p:spPr>
          <a:xfrm>
            <a:off x="2774178" y="3609181"/>
            <a:ext cx="1260000" cy="312739"/>
          </a:xfrm>
          <a:prstGeom prst="rect">
            <a:avLst/>
          </a:prstGeom>
        </p:spPr>
        <p:txBody>
          <a:bodyPr tIns="0" bIns="0" anchor="ctr">
            <a:noAutofit/>
          </a:bodyPr>
          <a:lstStyle>
            <a:lvl1pPr marL="0" indent="0" algn="ctr">
              <a:buNone/>
              <a:defRPr sz="1300" b="1">
                <a:solidFill>
                  <a:schemeClr val="accent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Milestone</a:t>
            </a:r>
            <a:endParaRPr lang="en-ID" dirty="0"/>
          </a:p>
        </p:txBody>
      </p:sp>
      <p:sp>
        <p:nvSpPr>
          <p:cNvPr id="163" name="Text Placeholder 29">
            <a:extLst>
              <a:ext uri="{FF2B5EF4-FFF2-40B4-BE49-F238E27FC236}">
                <a16:creationId xmlns:a16="http://schemas.microsoft.com/office/drawing/2014/main" id="{C5DD8546-7846-83DD-C69C-139A5A7F21FE}"/>
              </a:ext>
            </a:extLst>
          </p:cNvPr>
          <p:cNvSpPr>
            <a:spLocks noGrp="1"/>
          </p:cNvSpPr>
          <p:nvPr>
            <p:ph type="body" sz="quarter" idx="48"/>
          </p:nvPr>
        </p:nvSpPr>
        <p:spPr>
          <a:xfrm>
            <a:off x="3706574" y="4552265"/>
            <a:ext cx="2034264" cy="478718"/>
          </a:xfrm>
          <a:prstGeom prst="rect">
            <a:avLst/>
          </a:prstGeom>
        </p:spPr>
        <p:txBody>
          <a:bodyPr tIns="0" bIns="0" anchor="b">
            <a:noAutofit/>
          </a:bodyPr>
          <a:lstStyle>
            <a:lvl1pPr marL="0" indent="0" algn="ctr">
              <a:buNone/>
              <a:defRPr sz="14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164" name="Text Placeholder 29">
            <a:extLst>
              <a:ext uri="{FF2B5EF4-FFF2-40B4-BE49-F238E27FC236}">
                <a16:creationId xmlns:a16="http://schemas.microsoft.com/office/drawing/2014/main" id="{F16E4A49-2C01-191F-8326-F61D104B88EC}"/>
              </a:ext>
            </a:extLst>
          </p:cNvPr>
          <p:cNvSpPr>
            <a:spLocks noGrp="1"/>
          </p:cNvSpPr>
          <p:nvPr>
            <p:ph type="body" sz="quarter" idx="49"/>
          </p:nvPr>
        </p:nvSpPr>
        <p:spPr>
          <a:xfrm>
            <a:off x="3706574" y="5102984"/>
            <a:ext cx="2034264" cy="890030"/>
          </a:xfrm>
          <a:prstGeom prst="rect">
            <a:avLst/>
          </a:prstGeom>
        </p:spPr>
        <p:txBody>
          <a:bodyPr tIns="0" bIns="0">
            <a:noAutofit/>
          </a:bodyPr>
          <a:lstStyle>
            <a:lvl1pPr marL="0" indent="0" algn="ctr">
              <a:buNone/>
              <a:defRPr sz="12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165" name="Text Placeholder 29">
            <a:extLst>
              <a:ext uri="{FF2B5EF4-FFF2-40B4-BE49-F238E27FC236}">
                <a16:creationId xmlns:a16="http://schemas.microsoft.com/office/drawing/2014/main" id="{B5F67B93-A329-BE6A-41F1-59E419F2B5B9}"/>
              </a:ext>
            </a:extLst>
          </p:cNvPr>
          <p:cNvSpPr>
            <a:spLocks noGrp="1"/>
          </p:cNvSpPr>
          <p:nvPr>
            <p:ph type="body" sz="quarter" idx="50" hasCustomPrompt="1"/>
          </p:nvPr>
        </p:nvSpPr>
        <p:spPr>
          <a:xfrm>
            <a:off x="4081989" y="3609181"/>
            <a:ext cx="1260000" cy="312739"/>
          </a:xfrm>
          <a:prstGeom prst="rect">
            <a:avLst/>
          </a:prstGeom>
        </p:spPr>
        <p:txBody>
          <a:bodyPr tIns="0" bIns="0" anchor="ctr">
            <a:noAutofit/>
          </a:bodyPr>
          <a:lstStyle>
            <a:lvl1pPr marL="0" indent="0" algn="ctr">
              <a:buNone/>
              <a:defRPr sz="1300" b="1">
                <a:solidFill>
                  <a:schemeClr val="accent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Milestone</a:t>
            </a:r>
            <a:endParaRPr lang="en-ID" dirty="0"/>
          </a:p>
        </p:txBody>
      </p:sp>
      <p:sp>
        <p:nvSpPr>
          <p:cNvPr id="168" name="Text Placeholder 29">
            <a:extLst>
              <a:ext uri="{FF2B5EF4-FFF2-40B4-BE49-F238E27FC236}">
                <a16:creationId xmlns:a16="http://schemas.microsoft.com/office/drawing/2014/main" id="{48A5C6E0-43E1-EBAC-3627-302E662E8650}"/>
              </a:ext>
            </a:extLst>
          </p:cNvPr>
          <p:cNvSpPr>
            <a:spLocks noGrp="1"/>
          </p:cNvSpPr>
          <p:nvPr>
            <p:ph type="body" sz="quarter" idx="53"/>
          </p:nvPr>
        </p:nvSpPr>
        <p:spPr>
          <a:xfrm>
            <a:off x="5011725" y="1507452"/>
            <a:ext cx="2034264" cy="478718"/>
          </a:xfrm>
          <a:prstGeom prst="rect">
            <a:avLst/>
          </a:prstGeom>
        </p:spPr>
        <p:txBody>
          <a:bodyPr tIns="0" bIns="0" anchor="b">
            <a:noAutofit/>
          </a:bodyPr>
          <a:lstStyle>
            <a:lvl1pPr marL="0" indent="0" algn="ctr">
              <a:buNone/>
              <a:defRPr sz="14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169" name="Text Placeholder 29">
            <a:extLst>
              <a:ext uri="{FF2B5EF4-FFF2-40B4-BE49-F238E27FC236}">
                <a16:creationId xmlns:a16="http://schemas.microsoft.com/office/drawing/2014/main" id="{92ADEB34-3562-FF59-B5E4-127C5221B69D}"/>
              </a:ext>
            </a:extLst>
          </p:cNvPr>
          <p:cNvSpPr>
            <a:spLocks noGrp="1"/>
          </p:cNvSpPr>
          <p:nvPr>
            <p:ph type="body" sz="quarter" idx="54"/>
          </p:nvPr>
        </p:nvSpPr>
        <p:spPr>
          <a:xfrm>
            <a:off x="5011725" y="2058171"/>
            <a:ext cx="2034264" cy="890030"/>
          </a:xfrm>
          <a:prstGeom prst="rect">
            <a:avLst/>
          </a:prstGeom>
        </p:spPr>
        <p:txBody>
          <a:bodyPr tIns="0" bIns="0">
            <a:noAutofit/>
          </a:bodyPr>
          <a:lstStyle>
            <a:lvl1pPr marL="0" indent="0" algn="ctr">
              <a:buNone/>
              <a:defRPr sz="12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170" name="Text Placeholder 29">
            <a:extLst>
              <a:ext uri="{FF2B5EF4-FFF2-40B4-BE49-F238E27FC236}">
                <a16:creationId xmlns:a16="http://schemas.microsoft.com/office/drawing/2014/main" id="{AEB128F4-BE54-8A4E-8B71-C822615400B1}"/>
              </a:ext>
            </a:extLst>
          </p:cNvPr>
          <p:cNvSpPr>
            <a:spLocks noGrp="1"/>
          </p:cNvSpPr>
          <p:nvPr>
            <p:ph type="body" sz="quarter" idx="55" hasCustomPrompt="1"/>
          </p:nvPr>
        </p:nvSpPr>
        <p:spPr>
          <a:xfrm>
            <a:off x="5389800" y="3609181"/>
            <a:ext cx="1260000" cy="312739"/>
          </a:xfrm>
          <a:prstGeom prst="rect">
            <a:avLst/>
          </a:prstGeom>
        </p:spPr>
        <p:txBody>
          <a:bodyPr tIns="0" bIns="0" anchor="ctr">
            <a:noAutofit/>
          </a:bodyPr>
          <a:lstStyle>
            <a:lvl1pPr marL="0" indent="0" algn="ctr">
              <a:buNone/>
              <a:defRPr sz="1300" b="1">
                <a:solidFill>
                  <a:schemeClr val="accent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Milestone</a:t>
            </a:r>
            <a:endParaRPr lang="en-ID" dirty="0"/>
          </a:p>
        </p:txBody>
      </p:sp>
      <p:sp>
        <p:nvSpPr>
          <p:cNvPr id="173" name="Text Placeholder 29">
            <a:extLst>
              <a:ext uri="{FF2B5EF4-FFF2-40B4-BE49-F238E27FC236}">
                <a16:creationId xmlns:a16="http://schemas.microsoft.com/office/drawing/2014/main" id="{F761310B-EE7F-0F87-C86E-E6D63D440E48}"/>
              </a:ext>
            </a:extLst>
          </p:cNvPr>
          <p:cNvSpPr>
            <a:spLocks noGrp="1"/>
          </p:cNvSpPr>
          <p:nvPr>
            <p:ph type="body" sz="quarter" idx="58"/>
          </p:nvPr>
        </p:nvSpPr>
        <p:spPr>
          <a:xfrm>
            <a:off x="6316876" y="4552265"/>
            <a:ext cx="2034264" cy="478718"/>
          </a:xfrm>
          <a:prstGeom prst="rect">
            <a:avLst/>
          </a:prstGeom>
        </p:spPr>
        <p:txBody>
          <a:bodyPr tIns="0" bIns="0" anchor="b">
            <a:noAutofit/>
          </a:bodyPr>
          <a:lstStyle>
            <a:lvl1pPr marL="0" indent="0" algn="ctr">
              <a:buNone/>
              <a:defRPr sz="14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174" name="Text Placeholder 29">
            <a:extLst>
              <a:ext uri="{FF2B5EF4-FFF2-40B4-BE49-F238E27FC236}">
                <a16:creationId xmlns:a16="http://schemas.microsoft.com/office/drawing/2014/main" id="{22D679C5-9724-078D-4FB9-33695B27C36A}"/>
              </a:ext>
            </a:extLst>
          </p:cNvPr>
          <p:cNvSpPr>
            <a:spLocks noGrp="1"/>
          </p:cNvSpPr>
          <p:nvPr>
            <p:ph type="body" sz="quarter" idx="59"/>
          </p:nvPr>
        </p:nvSpPr>
        <p:spPr>
          <a:xfrm>
            <a:off x="6316876" y="5102984"/>
            <a:ext cx="2034264" cy="890030"/>
          </a:xfrm>
          <a:prstGeom prst="rect">
            <a:avLst/>
          </a:prstGeom>
        </p:spPr>
        <p:txBody>
          <a:bodyPr tIns="0" bIns="0">
            <a:noAutofit/>
          </a:bodyPr>
          <a:lstStyle>
            <a:lvl1pPr marL="0" indent="0" algn="ctr">
              <a:buNone/>
              <a:defRPr sz="12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175" name="Text Placeholder 29">
            <a:extLst>
              <a:ext uri="{FF2B5EF4-FFF2-40B4-BE49-F238E27FC236}">
                <a16:creationId xmlns:a16="http://schemas.microsoft.com/office/drawing/2014/main" id="{6B7B7D1C-51CE-D9FF-4225-896F49CA329F}"/>
              </a:ext>
            </a:extLst>
          </p:cNvPr>
          <p:cNvSpPr>
            <a:spLocks noGrp="1"/>
          </p:cNvSpPr>
          <p:nvPr>
            <p:ph type="body" sz="quarter" idx="60" hasCustomPrompt="1"/>
          </p:nvPr>
        </p:nvSpPr>
        <p:spPr>
          <a:xfrm>
            <a:off x="6697611" y="3609181"/>
            <a:ext cx="1260000" cy="312739"/>
          </a:xfrm>
          <a:prstGeom prst="rect">
            <a:avLst/>
          </a:prstGeom>
        </p:spPr>
        <p:txBody>
          <a:bodyPr tIns="0" bIns="0" anchor="ctr">
            <a:noAutofit/>
          </a:bodyPr>
          <a:lstStyle>
            <a:lvl1pPr marL="0" indent="0" algn="ctr">
              <a:buNone/>
              <a:defRPr sz="1300" b="1">
                <a:solidFill>
                  <a:schemeClr val="accent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Milestone</a:t>
            </a:r>
            <a:endParaRPr lang="en-ID" dirty="0"/>
          </a:p>
        </p:txBody>
      </p:sp>
      <p:sp>
        <p:nvSpPr>
          <p:cNvPr id="178" name="Text Placeholder 29">
            <a:extLst>
              <a:ext uri="{FF2B5EF4-FFF2-40B4-BE49-F238E27FC236}">
                <a16:creationId xmlns:a16="http://schemas.microsoft.com/office/drawing/2014/main" id="{C9739B77-26F8-B08C-60D1-B8A8F10A4102}"/>
              </a:ext>
            </a:extLst>
          </p:cNvPr>
          <p:cNvSpPr>
            <a:spLocks noGrp="1"/>
          </p:cNvSpPr>
          <p:nvPr>
            <p:ph type="body" sz="quarter" idx="63"/>
          </p:nvPr>
        </p:nvSpPr>
        <p:spPr>
          <a:xfrm>
            <a:off x="7622026" y="1507452"/>
            <a:ext cx="2034264" cy="478718"/>
          </a:xfrm>
          <a:prstGeom prst="rect">
            <a:avLst/>
          </a:prstGeom>
        </p:spPr>
        <p:txBody>
          <a:bodyPr tIns="0" bIns="0" anchor="b">
            <a:noAutofit/>
          </a:bodyPr>
          <a:lstStyle>
            <a:lvl1pPr marL="0" indent="0" algn="ctr">
              <a:buNone/>
              <a:defRPr sz="14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179" name="Text Placeholder 29">
            <a:extLst>
              <a:ext uri="{FF2B5EF4-FFF2-40B4-BE49-F238E27FC236}">
                <a16:creationId xmlns:a16="http://schemas.microsoft.com/office/drawing/2014/main" id="{58402617-6AC8-711D-F79A-1D2968B5E9FF}"/>
              </a:ext>
            </a:extLst>
          </p:cNvPr>
          <p:cNvSpPr>
            <a:spLocks noGrp="1"/>
          </p:cNvSpPr>
          <p:nvPr>
            <p:ph type="body" sz="quarter" idx="64"/>
          </p:nvPr>
        </p:nvSpPr>
        <p:spPr>
          <a:xfrm>
            <a:off x="7622026" y="2058171"/>
            <a:ext cx="2034264" cy="890030"/>
          </a:xfrm>
          <a:prstGeom prst="rect">
            <a:avLst/>
          </a:prstGeom>
        </p:spPr>
        <p:txBody>
          <a:bodyPr tIns="0" bIns="0">
            <a:noAutofit/>
          </a:bodyPr>
          <a:lstStyle>
            <a:lvl1pPr marL="0" indent="0" algn="ctr">
              <a:buNone/>
              <a:defRPr sz="12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180" name="Text Placeholder 29">
            <a:extLst>
              <a:ext uri="{FF2B5EF4-FFF2-40B4-BE49-F238E27FC236}">
                <a16:creationId xmlns:a16="http://schemas.microsoft.com/office/drawing/2014/main" id="{EEF0B2A5-748A-C294-5F9B-7654A8F55050}"/>
              </a:ext>
            </a:extLst>
          </p:cNvPr>
          <p:cNvSpPr>
            <a:spLocks noGrp="1"/>
          </p:cNvSpPr>
          <p:nvPr>
            <p:ph type="body" sz="quarter" idx="65" hasCustomPrompt="1"/>
          </p:nvPr>
        </p:nvSpPr>
        <p:spPr>
          <a:xfrm>
            <a:off x="8005421" y="3609181"/>
            <a:ext cx="1260000" cy="312739"/>
          </a:xfrm>
          <a:prstGeom prst="rect">
            <a:avLst/>
          </a:prstGeom>
        </p:spPr>
        <p:txBody>
          <a:bodyPr tIns="0" bIns="0" anchor="ctr">
            <a:noAutofit/>
          </a:bodyPr>
          <a:lstStyle>
            <a:lvl1pPr marL="0" indent="0" algn="ctr">
              <a:buNone/>
              <a:defRPr sz="1300" b="1">
                <a:solidFill>
                  <a:schemeClr val="accent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Milestone</a:t>
            </a:r>
            <a:endParaRPr lang="en-ID" dirty="0"/>
          </a:p>
        </p:txBody>
      </p:sp>
    </p:spTree>
    <p:extLst>
      <p:ext uri="{BB962C8B-B14F-4D97-AF65-F5344CB8AC3E}">
        <p14:creationId xmlns:p14="http://schemas.microsoft.com/office/powerpoint/2010/main" val="2428473380"/>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S02V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D6FF304-8F5A-AE9D-9F8A-073146069168}"/>
              </a:ext>
            </a:extLst>
          </p:cNvPr>
          <p:cNvSpPr/>
          <p:nvPr userDrawn="1"/>
        </p:nvSpPr>
        <p:spPr>
          <a:xfrm>
            <a:off x="4079875" y="-1"/>
            <a:ext cx="8112125" cy="6235699"/>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Slide Number Placeholder 5">
            <a:extLst>
              <a:ext uri="{FF2B5EF4-FFF2-40B4-BE49-F238E27FC236}">
                <a16:creationId xmlns:a16="http://schemas.microsoft.com/office/drawing/2014/main" id="{752E3F75-A181-1CEF-4892-A00A828F0DEC}"/>
              </a:ext>
            </a:extLst>
          </p:cNvPr>
          <p:cNvSpPr>
            <a:spLocks noGrp="1"/>
          </p:cNvSpPr>
          <p:nvPr>
            <p:ph type="sldNum" sz="quarter" idx="4"/>
          </p:nvPr>
        </p:nvSpPr>
        <p:spPr>
          <a:xfrm>
            <a:off x="11058525" y="6409951"/>
            <a:ext cx="546100" cy="273799"/>
          </a:xfrm>
          <a:prstGeom prst="rect">
            <a:avLst/>
          </a:prstGeom>
        </p:spPr>
        <p:txBody>
          <a:bodyPr vert="horz" lIns="91440" tIns="45720" rIns="91440" bIns="45720" rtlCol="0" anchor="b"/>
          <a:lstStyle>
            <a:lvl1pPr algn="r">
              <a:defRPr sz="1200">
                <a:solidFill>
                  <a:schemeClr val="accent4"/>
                </a:solidFill>
                <a:latin typeface="+mn-lt"/>
              </a:defRPr>
            </a:lvl1pPr>
          </a:lstStyle>
          <a:p>
            <a:fld id="{5E0C3BBE-9543-48E5-A6E1-C646F9A01966}" type="slidenum">
              <a:rPr lang="en-ID" smtClean="0"/>
              <a:pPr/>
              <a:t>‹#›</a:t>
            </a:fld>
            <a:endParaRPr lang="en-ID" dirty="0"/>
          </a:p>
        </p:txBody>
      </p:sp>
      <p:sp>
        <p:nvSpPr>
          <p:cNvPr id="21" name="Footer Placeholder 4">
            <a:extLst>
              <a:ext uri="{FF2B5EF4-FFF2-40B4-BE49-F238E27FC236}">
                <a16:creationId xmlns:a16="http://schemas.microsoft.com/office/drawing/2014/main" id="{FC465D62-3382-034B-3BC4-9FA6DDBCBF3D}"/>
              </a:ext>
            </a:extLst>
          </p:cNvPr>
          <p:cNvSpPr>
            <a:spLocks noGrp="1"/>
          </p:cNvSpPr>
          <p:nvPr>
            <p:ph type="ftr" sz="quarter" idx="3"/>
          </p:nvPr>
        </p:nvSpPr>
        <p:spPr>
          <a:xfrm>
            <a:off x="584200" y="6364288"/>
            <a:ext cx="5511800" cy="365125"/>
          </a:xfrm>
          <a:prstGeom prst="rect">
            <a:avLst/>
          </a:prstGeom>
        </p:spPr>
        <p:txBody>
          <a:bodyPr vert="horz" lIns="91440" tIns="45720" rIns="91440" bIns="45720" rtlCol="0" anchor="ctr"/>
          <a:lstStyle>
            <a:lvl1pPr algn="l">
              <a:defRPr lang="en-GB" sz="1200">
                <a:solidFill>
                  <a:schemeClr val="accent4"/>
                </a:solidFill>
              </a:defRPr>
            </a:lvl1pPr>
          </a:lstStyle>
          <a:p>
            <a:r>
              <a:rPr lang="en-US"/>
              <a:t>PRESENTATION TITLE</a:t>
            </a:r>
            <a:endParaRPr lang="en-US" dirty="0"/>
          </a:p>
        </p:txBody>
      </p:sp>
      <p:sp>
        <p:nvSpPr>
          <p:cNvPr id="76" name="Picture Placeholder 11">
            <a:extLst>
              <a:ext uri="{FF2B5EF4-FFF2-40B4-BE49-F238E27FC236}">
                <a16:creationId xmlns:a16="http://schemas.microsoft.com/office/drawing/2014/main" id="{A8355845-DE26-7198-B2CF-7868C1CEAA3F}"/>
              </a:ext>
            </a:extLst>
          </p:cNvPr>
          <p:cNvSpPr>
            <a:spLocks noGrp="1"/>
          </p:cNvSpPr>
          <p:nvPr>
            <p:ph type="pic" sz="quarter" idx="10"/>
          </p:nvPr>
        </p:nvSpPr>
        <p:spPr>
          <a:xfrm>
            <a:off x="701676" y="1117600"/>
            <a:ext cx="5271689" cy="4622800"/>
          </a:xfrm>
          <a:prstGeom prst="rect">
            <a:avLst/>
          </a:prstGeom>
          <a:solidFill>
            <a:schemeClr val="accent2">
              <a:lumMod val="20000"/>
              <a:lumOff val="80000"/>
            </a:schemeClr>
          </a:solidFill>
        </p:spPr>
        <p:txBody>
          <a:bodyPr anchor="ctr">
            <a:normAutofit/>
          </a:bodyPr>
          <a:lstStyle>
            <a:lvl1pPr marL="0" indent="0" algn="ctr">
              <a:buNone/>
              <a:defRPr sz="1333"/>
            </a:lvl1pPr>
          </a:lstStyle>
          <a:p>
            <a:endParaRPr lang="en-ID"/>
          </a:p>
        </p:txBody>
      </p:sp>
      <p:sp>
        <p:nvSpPr>
          <p:cNvPr id="80" name="Text Placeholder 29">
            <a:extLst>
              <a:ext uri="{FF2B5EF4-FFF2-40B4-BE49-F238E27FC236}">
                <a16:creationId xmlns:a16="http://schemas.microsoft.com/office/drawing/2014/main" id="{F86EE282-1EF4-62A2-779C-EB878597B925}"/>
              </a:ext>
            </a:extLst>
          </p:cNvPr>
          <p:cNvSpPr>
            <a:spLocks noGrp="1"/>
          </p:cNvSpPr>
          <p:nvPr>
            <p:ph type="body" sz="quarter" idx="39"/>
          </p:nvPr>
        </p:nvSpPr>
        <p:spPr>
          <a:xfrm>
            <a:off x="6560742" y="3821174"/>
            <a:ext cx="5043883" cy="323521"/>
          </a:xfrm>
          <a:prstGeom prst="rect">
            <a:avLst/>
          </a:prstGeom>
        </p:spPr>
        <p:txBody>
          <a:bodyPr tIns="0" bIns="0" anchor="t">
            <a:noAutofit/>
          </a:bodyPr>
          <a:lstStyle>
            <a:lvl1pPr marL="0" indent="0">
              <a:buNone/>
              <a:defRPr sz="1800" b="1">
                <a:solidFill>
                  <a:srgbClr val="FFFFFF"/>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81" name="Title 1">
            <a:extLst>
              <a:ext uri="{FF2B5EF4-FFF2-40B4-BE49-F238E27FC236}">
                <a16:creationId xmlns:a16="http://schemas.microsoft.com/office/drawing/2014/main" id="{4C3A2759-D421-466C-0049-BF74449438BE}"/>
              </a:ext>
            </a:extLst>
          </p:cNvPr>
          <p:cNvSpPr>
            <a:spLocks noGrp="1"/>
          </p:cNvSpPr>
          <p:nvPr>
            <p:ph type="title"/>
          </p:nvPr>
        </p:nvSpPr>
        <p:spPr>
          <a:xfrm>
            <a:off x="6560743" y="1485900"/>
            <a:ext cx="5043882" cy="1943100"/>
          </a:xfrm>
        </p:spPr>
        <p:txBody>
          <a:bodyPr anchor="b">
            <a:noAutofit/>
          </a:bodyPr>
          <a:lstStyle>
            <a:lvl1pPr>
              <a:defRPr>
                <a:solidFill>
                  <a:srgbClr val="FFFFFF"/>
                </a:solidFill>
              </a:defRPr>
            </a:lvl1pPr>
          </a:lstStyle>
          <a:p>
            <a:r>
              <a:rPr lang="en-US" dirty="0"/>
              <a:t>Click to edit Master title style</a:t>
            </a:r>
            <a:endParaRPr lang="en-ID" dirty="0"/>
          </a:p>
        </p:txBody>
      </p:sp>
      <p:cxnSp>
        <p:nvCxnSpPr>
          <p:cNvPr id="82" name="Straight Connector 81">
            <a:extLst>
              <a:ext uri="{FF2B5EF4-FFF2-40B4-BE49-F238E27FC236}">
                <a16:creationId xmlns:a16="http://schemas.microsoft.com/office/drawing/2014/main" id="{441C7500-A827-04B9-B0EF-2DBB9A14BDDD}"/>
              </a:ext>
            </a:extLst>
          </p:cNvPr>
          <p:cNvCxnSpPr>
            <a:cxnSpLocks/>
          </p:cNvCxnSpPr>
          <p:nvPr userDrawn="1"/>
        </p:nvCxnSpPr>
        <p:spPr>
          <a:xfrm>
            <a:off x="6416675" y="1485900"/>
            <a:ext cx="0" cy="1941036"/>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84" name="Rectangle 83">
            <a:extLst>
              <a:ext uri="{FF2B5EF4-FFF2-40B4-BE49-F238E27FC236}">
                <a16:creationId xmlns:a16="http://schemas.microsoft.com/office/drawing/2014/main" id="{86A68FF5-D245-3670-D1FD-1CBCD14BC34E}"/>
              </a:ext>
            </a:extLst>
          </p:cNvPr>
          <p:cNvSpPr/>
          <p:nvPr userDrawn="1"/>
        </p:nvSpPr>
        <p:spPr>
          <a:xfrm rot="10800000">
            <a:off x="584200" y="2476501"/>
            <a:ext cx="117475" cy="1904998"/>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270380633"/>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meline I60V8">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B3C0172F-B0C5-5179-7441-64802A951866}"/>
              </a:ext>
            </a:extLst>
          </p:cNvPr>
          <p:cNvGrpSpPr/>
          <p:nvPr userDrawn="1"/>
        </p:nvGrpSpPr>
        <p:grpSpPr>
          <a:xfrm>
            <a:off x="2105892" y="3111644"/>
            <a:ext cx="7846866" cy="1307812"/>
            <a:chOff x="2105892" y="3357980"/>
            <a:chExt cx="7846866" cy="1307812"/>
          </a:xfrm>
        </p:grpSpPr>
        <p:sp>
          <p:nvSpPr>
            <p:cNvPr id="8" name="Arc 48">
              <a:extLst>
                <a:ext uri="{FF2B5EF4-FFF2-40B4-BE49-F238E27FC236}">
                  <a16:creationId xmlns:a16="http://schemas.microsoft.com/office/drawing/2014/main" id="{9A253063-EE6B-D083-6F61-BBE64C38960B}"/>
                </a:ext>
              </a:extLst>
            </p:cNvPr>
            <p:cNvSpPr/>
            <p:nvPr userDrawn="1"/>
          </p:nvSpPr>
          <p:spPr>
            <a:xfrm flipV="1">
              <a:off x="8644947" y="3357980"/>
              <a:ext cx="1307811" cy="1307812"/>
            </a:xfrm>
            <a:prstGeom prst="ellipse">
              <a:avLst/>
            </a:prstGeom>
            <a:ln w="5715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 name="Arc 47">
              <a:extLst>
                <a:ext uri="{FF2B5EF4-FFF2-40B4-BE49-F238E27FC236}">
                  <a16:creationId xmlns:a16="http://schemas.microsoft.com/office/drawing/2014/main" id="{4EDBEE68-316F-FC47-07A7-0FAC8903F7DA}"/>
                </a:ext>
              </a:extLst>
            </p:cNvPr>
            <p:cNvSpPr/>
            <p:nvPr userDrawn="1"/>
          </p:nvSpPr>
          <p:spPr>
            <a:xfrm>
              <a:off x="7337136" y="3357980"/>
              <a:ext cx="1307811" cy="1307812"/>
            </a:xfrm>
            <a:prstGeom prst="ellipse">
              <a:avLst/>
            </a:prstGeom>
            <a:ln w="5715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 name="Arc 47">
              <a:extLst>
                <a:ext uri="{FF2B5EF4-FFF2-40B4-BE49-F238E27FC236}">
                  <a16:creationId xmlns:a16="http://schemas.microsoft.com/office/drawing/2014/main" id="{1EFE890F-CEFD-D528-19D9-E4CBFABB117D}"/>
                </a:ext>
              </a:extLst>
            </p:cNvPr>
            <p:cNvSpPr/>
            <p:nvPr userDrawn="1"/>
          </p:nvSpPr>
          <p:spPr>
            <a:xfrm>
              <a:off x="4721514" y="3357980"/>
              <a:ext cx="1307811" cy="1307812"/>
            </a:xfrm>
            <a:prstGeom prst="ellipse">
              <a:avLst/>
            </a:prstGeom>
            <a:ln w="5715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 name="Arc 48">
              <a:extLst>
                <a:ext uri="{FF2B5EF4-FFF2-40B4-BE49-F238E27FC236}">
                  <a16:creationId xmlns:a16="http://schemas.microsoft.com/office/drawing/2014/main" id="{A57667EE-D2C4-239A-030B-7C8B4BBAF00B}"/>
                </a:ext>
              </a:extLst>
            </p:cNvPr>
            <p:cNvSpPr/>
            <p:nvPr userDrawn="1"/>
          </p:nvSpPr>
          <p:spPr>
            <a:xfrm flipV="1">
              <a:off x="6029325" y="3357980"/>
              <a:ext cx="1307811" cy="1307812"/>
            </a:xfrm>
            <a:prstGeom prst="ellipse">
              <a:avLst/>
            </a:prstGeom>
            <a:ln w="5715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8" name="Arc 47">
              <a:extLst>
                <a:ext uri="{FF2B5EF4-FFF2-40B4-BE49-F238E27FC236}">
                  <a16:creationId xmlns:a16="http://schemas.microsoft.com/office/drawing/2014/main" id="{00C81707-9191-4714-D517-44546ED45566}"/>
                </a:ext>
              </a:extLst>
            </p:cNvPr>
            <p:cNvSpPr/>
            <p:nvPr userDrawn="1"/>
          </p:nvSpPr>
          <p:spPr>
            <a:xfrm>
              <a:off x="2105892" y="3357980"/>
              <a:ext cx="1307811" cy="1307812"/>
            </a:xfrm>
            <a:prstGeom prst="ellipse">
              <a:avLst/>
            </a:prstGeom>
            <a:ln w="5715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3" name="Arc 48">
              <a:extLst>
                <a:ext uri="{FF2B5EF4-FFF2-40B4-BE49-F238E27FC236}">
                  <a16:creationId xmlns:a16="http://schemas.microsoft.com/office/drawing/2014/main" id="{7FBC14EA-9CCC-BEEB-B54C-53700C77D219}"/>
                </a:ext>
              </a:extLst>
            </p:cNvPr>
            <p:cNvSpPr/>
            <p:nvPr userDrawn="1"/>
          </p:nvSpPr>
          <p:spPr>
            <a:xfrm flipV="1">
              <a:off x="3413703" y="3357980"/>
              <a:ext cx="1307811" cy="1307812"/>
            </a:xfrm>
            <a:prstGeom prst="ellipse">
              <a:avLst/>
            </a:prstGeom>
            <a:ln w="5715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4" name="Arc 23">
              <a:extLst>
                <a:ext uri="{FF2B5EF4-FFF2-40B4-BE49-F238E27FC236}">
                  <a16:creationId xmlns:a16="http://schemas.microsoft.com/office/drawing/2014/main" id="{B35155D2-A2D3-10AB-5EF6-072F8751001D}"/>
                </a:ext>
              </a:extLst>
            </p:cNvPr>
            <p:cNvSpPr/>
            <p:nvPr userDrawn="1"/>
          </p:nvSpPr>
          <p:spPr>
            <a:xfrm>
              <a:off x="2105892" y="3357980"/>
              <a:ext cx="1307811" cy="1307812"/>
            </a:xfrm>
            <a:prstGeom prst="arc">
              <a:avLst>
                <a:gd name="adj1" fmla="val 10792152"/>
                <a:gd name="adj2" fmla="val 0"/>
              </a:avLst>
            </a:prstGeom>
            <a:ln w="57150"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5" name="Arc 24">
              <a:extLst>
                <a:ext uri="{FF2B5EF4-FFF2-40B4-BE49-F238E27FC236}">
                  <a16:creationId xmlns:a16="http://schemas.microsoft.com/office/drawing/2014/main" id="{AB8117C9-E8C5-9596-F171-65CE5050C18D}"/>
                </a:ext>
              </a:extLst>
            </p:cNvPr>
            <p:cNvSpPr/>
            <p:nvPr userDrawn="1"/>
          </p:nvSpPr>
          <p:spPr>
            <a:xfrm flipV="1">
              <a:off x="3413703" y="3357980"/>
              <a:ext cx="1307811" cy="1307812"/>
            </a:xfrm>
            <a:prstGeom prst="arc">
              <a:avLst>
                <a:gd name="adj1" fmla="val 10790197"/>
                <a:gd name="adj2" fmla="val 0"/>
              </a:avLst>
            </a:prstGeom>
            <a:ln w="57150"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9" name="Arc 28">
              <a:extLst>
                <a:ext uri="{FF2B5EF4-FFF2-40B4-BE49-F238E27FC236}">
                  <a16:creationId xmlns:a16="http://schemas.microsoft.com/office/drawing/2014/main" id="{10E889D3-429D-A6B3-DEB6-A47E3EFB5D17}"/>
                </a:ext>
              </a:extLst>
            </p:cNvPr>
            <p:cNvSpPr/>
            <p:nvPr userDrawn="1"/>
          </p:nvSpPr>
          <p:spPr>
            <a:xfrm>
              <a:off x="4721514" y="3357980"/>
              <a:ext cx="1307811" cy="1307812"/>
            </a:xfrm>
            <a:prstGeom prst="arc">
              <a:avLst>
                <a:gd name="adj1" fmla="val 10792152"/>
                <a:gd name="adj2" fmla="val 0"/>
              </a:avLst>
            </a:prstGeom>
            <a:ln w="57150"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0" name="Arc 29">
              <a:extLst>
                <a:ext uri="{FF2B5EF4-FFF2-40B4-BE49-F238E27FC236}">
                  <a16:creationId xmlns:a16="http://schemas.microsoft.com/office/drawing/2014/main" id="{539BBFBC-57F0-2F45-4572-94B259910D99}"/>
                </a:ext>
              </a:extLst>
            </p:cNvPr>
            <p:cNvSpPr/>
            <p:nvPr userDrawn="1"/>
          </p:nvSpPr>
          <p:spPr>
            <a:xfrm flipV="1">
              <a:off x="6029325" y="3357980"/>
              <a:ext cx="1307811" cy="1307812"/>
            </a:xfrm>
            <a:prstGeom prst="arc">
              <a:avLst>
                <a:gd name="adj1" fmla="val 10790197"/>
                <a:gd name="adj2" fmla="val 0"/>
              </a:avLst>
            </a:prstGeom>
            <a:ln w="57150"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3" name="Arc 42">
              <a:extLst>
                <a:ext uri="{FF2B5EF4-FFF2-40B4-BE49-F238E27FC236}">
                  <a16:creationId xmlns:a16="http://schemas.microsoft.com/office/drawing/2014/main" id="{D40E2498-6077-B609-5EFB-A6A94E3FCD7D}"/>
                </a:ext>
              </a:extLst>
            </p:cNvPr>
            <p:cNvSpPr/>
            <p:nvPr userDrawn="1"/>
          </p:nvSpPr>
          <p:spPr>
            <a:xfrm>
              <a:off x="7337136" y="3357980"/>
              <a:ext cx="1307811" cy="1307812"/>
            </a:xfrm>
            <a:prstGeom prst="arc">
              <a:avLst>
                <a:gd name="adj1" fmla="val 10792152"/>
                <a:gd name="adj2" fmla="val 0"/>
              </a:avLst>
            </a:prstGeom>
            <a:ln w="57150"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4" name="Arc 43">
              <a:extLst>
                <a:ext uri="{FF2B5EF4-FFF2-40B4-BE49-F238E27FC236}">
                  <a16:creationId xmlns:a16="http://schemas.microsoft.com/office/drawing/2014/main" id="{59492140-7C6C-86CC-854C-D950D30A7216}"/>
                </a:ext>
              </a:extLst>
            </p:cNvPr>
            <p:cNvSpPr/>
            <p:nvPr userDrawn="1"/>
          </p:nvSpPr>
          <p:spPr>
            <a:xfrm flipV="1">
              <a:off x="8644947" y="3357980"/>
              <a:ext cx="1307811" cy="1307812"/>
            </a:xfrm>
            <a:prstGeom prst="arc">
              <a:avLst>
                <a:gd name="adj1" fmla="val 10790197"/>
                <a:gd name="adj2" fmla="val 0"/>
              </a:avLst>
            </a:prstGeom>
            <a:ln w="57150"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grpSp>
      <p:sp>
        <p:nvSpPr>
          <p:cNvPr id="2" name="Title 1">
            <a:extLst>
              <a:ext uri="{FF2B5EF4-FFF2-40B4-BE49-F238E27FC236}">
                <a16:creationId xmlns:a16="http://schemas.microsoft.com/office/drawing/2014/main" id="{1036477C-8D55-B4B8-85DD-DAF85A20D8C5}"/>
              </a:ext>
            </a:extLst>
          </p:cNvPr>
          <p:cNvSpPr>
            <a:spLocks noGrp="1"/>
          </p:cNvSpPr>
          <p:nvPr>
            <p:ph type="title"/>
          </p:nvPr>
        </p:nvSpPr>
        <p:spPr>
          <a:xfrm>
            <a:off x="731443" y="586105"/>
            <a:ext cx="10873182" cy="709295"/>
          </a:xfrm>
        </p:spPr>
        <p:txBody>
          <a:bodyPr anchor="t">
            <a:noAutofit/>
          </a:bodyPr>
          <a:lstStyle>
            <a:lvl1pPr>
              <a:defRPr>
                <a:solidFill>
                  <a:schemeClr val="tx1"/>
                </a:solidFill>
              </a:defRPr>
            </a:lvl1pPr>
          </a:lstStyle>
          <a:p>
            <a:r>
              <a:rPr lang="en-US" dirty="0"/>
              <a:t>Click to edit Master title style</a:t>
            </a:r>
            <a:endParaRPr lang="en-ID" dirty="0"/>
          </a:p>
        </p:txBody>
      </p:sp>
      <p:sp>
        <p:nvSpPr>
          <p:cNvPr id="11" name="Slide Number Placeholder 5">
            <a:extLst>
              <a:ext uri="{FF2B5EF4-FFF2-40B4-BE49-F238E27FC236}">
                <a16:creationId xmlns:a16="http://schemas.microsoft.com/office/drawing/2014/main" id="{752E3F75-A181-1CEF-4892-A00A828F0DEC}"/>
              </a:ext>
            </a:extLst>
          </p:cNvPr>
          <p:cNvSpPr>
            <a:spLocks noGrp="1"/>
          </p:cNvSpPr>
          <p:nvPr>
            <p:ph type="sldNum" sz="quarter" idx="4"/>
          </p:nvPr>
        </p:nvSpPr>
        <p:spPr>
          <a:xfrm>
            <a:off x="11058525" y="6409951"/>
            <a:ext cx="546100" cy="273799"/>
          </a:xfrm>
          <a:prstGeom prst="rect">
            <a:avLst/>
          </a:prstGeom>
        </p:spPr>
        <p:txBody>
          <a:bodyPr vert="horz" lIns="91440" tIns="45720" rIns="91440" bIns="45720" rtlCol="0" anchor="b"/>
          <a:lstStyle>
            <a:lvl1pPr algn="r">
              <a:defRPr sz="1200">
                <a:solidFill>
                  <a:schemeClr val="tx1"/>
                </a:solidFill>
                <a:latin typeface="+mn-lt"/>
              </a:defRPr>
            </a:lvl1pPr>
          </a:lstStyle>
          <a:p>
            <a:fld id="{5E0C3BBE-9543-48E5-A6E1-C646F9A01966}" type="slidenum">
              <a:rPr lang="en-ID" smtClean="0"/>
              <a:pPr/>
              <a:t>‹#›</a:t>
            </a:fld>
            <a:endParaRPr lang="en-ID" dirty="0"/>
          </a:p>
        </p:txBody>
      </p:sp>
      <p:cxnSp>
        <p:nvCxnSpPr>
          <p:cNvPr id="16" name="Straight Connector 15">
            <a:extLst>
              <a:ext uri="{FF2B5EF4-FFF2-40B4-BE49-F238E27FC236}">
                <a16:creationId xmlns:a16="http://schemas.microsoft.com/office/drawing/2014/main" id="{0657BBCF-CA9E-FB2C-CA76-82D2795FF965}"/>
              </a:ext>
            </a:extLst>
          </p:cNvPr>
          <p:cNvCxnSpPr>
            <a:cxnSpLocks/>
          </p:cNvCxnSpPr>
          <p:nvPr userDrawn="1"/>
        </p:nvCxnSpPr>
        <p:spPr>
          <a:xfrm>
            <a:off x="587375" y="585690"/>
            <a:ext cx="0" cy="70971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Footer Placeholder 4">
            <a:extLst>
              <a:ext uri="{FF2B5EF4-FFF2-40B4-BE49-F238E27FC236}">
                <a16:creationId xmlns:a16="http://schemas.microsoft.com/office/drawing/2014/main" id="{FC465D62-3382-034B-3BC4-9FA6DDBCBF3D}"/>
              </a:ext>
            </a:extLst>
          </p:cNvPr>
          <p:cNvSpPr>
            <a:spLocks noGrp="1"/>
          </p:cNvSpPr>
          <p:nvPr>
            <p:ph type="ftr" sz="quarter" idx="3"/>
          </p:nvPr>
        </p:nvSpPr>
        <p:spPr>
          <a:xfrm>
            <a:off x="584200" y="6364288"/>
            <a:ext cx="5511800" cy="365125"/>
          </a:xfrm>
          <a:prstGeom prst="rect">
            <a:avLst/>
          </a:prstGeom>
        </p:spPr>
        <p:txBody>
          <a:bodyPr vert="horz" lIns="91440" tIns="45720" rIns="91440" bIns="45720" rtlCol="0" anchor="ctr"/>
          <a:lstStyle>
            <a:lvl1pPr algn="l">
              <a:defRPr lang="en-GB" sz="1200">
                <a:solidFill>
                  <a:schemeClr val="tx1"/>
                </a:solidFill>
              </a:defRPr>
            </a:lvl1pPr>
          </a:lstStyle>
          <a:p>
            <a:r>
              <a:rPr lang="en-US"/>
              <a:t>PRESENTATION TITLE</a:t>
            </a:r>
            <a:endParaRPr lang="en-US" dirty="0"/>
          </a:p>
        </p:txBody>
      </p:sp>
      <p:sp>
        <p:nvSpPr>
          <p:cNvPr id="37" name="Text Placeholder 29">
            <a:extLst>
              <a:ext uri="{FF2B5EF4-FFF2-40B4-BE49-F238E27FC236}">
                <a16:creationId xmlns:a16="http://schemas.microsoft.com/office/drawing/2014/main" id="{7014ED8C-D9A2-3233-BF99-B959865B48B9}"/>
              </a:ext>
            </a:extLst>
          </p:cNvPr>
          <p:cNvSpPr>
            <a:spLocks noGrp="1"/>
          </p:cNvSpPr>
          <p:nvPr>
            <p:ph type="body" sz="quarter" idx="43"/>
          </p:nvPr>
        </p:nvSpPr>
        <p:spPr>
          <a:xfrm>
            <a:off x="1817226" y="1540905"/>
            <a:ext cx="1876714" cy="478950"/>
          </a:xfrm>
          <a:prstGeom prst="rect">
            <a:avLst/>
          </a:prstGeom>
        </p:spPr>
        <p:txBody>
          <a:bodyPr tIns="0" bIns="0" anchor="b">
            <a:noAutofit/>
          </a:bodyPr>
          <a:lstStyle>
            <a:lvl1pPr marL="0" indent="0" algn="ctr">
              <a:buNone/>
              <a:defRPr sz="14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a:t>
            </a:r>
            <a:endParaRPr lang="en-ID" dirty="0"/>
          </a:p>
        </p:txBody>
      </p:sp>
      <p:sp>
        <p:nvSpPr>
          <p:cNvPr id="38" name="Text Placeholder 29">
            <a:extLst>
              <a:ext uri="{FF2B5EF4-FFF2-40B4-BE49-F238E27FC236}">
                <a16:creationId xmlns:a16="http://schemas.microsoft.com/office/drawing/2014/main" id="{27A02D2A-8972-F536-0B27-7D6428470586}"/>
              </a:ext>
            </a:extLst>
          </p:cNvPr>
          <p:cNvSpPr>
            <a:spLocks noGrp="1"/>
          </p:cNvSpPr>
          <p:nvPr>
            <p:ph type="body" sz="quarter" idx="44"/>
          </p:nvPr>
        </p:nvSpPr>
        <p:spPr>
          <a:xfrm>
            <a:off x="1817226" y="2091856"/>
            <a:ext cx="1876714" cy="885737"/>
          </a:xfrm>
          <a:prstGeom prst="rect">
            <a:avLst/>
          </a:prstGeom>
        </p:spPr>
        <p:txBody>
          <a:bodyPr tIns="0" bIns="0">
            <a:noAutofit/>
          </a:bodyPr>
          <a:lstStyle>
            <a:lvl1pPr marL="0" indent="0" algn="ctr">
              <a:buNone/>
              <a:defRPr sz="12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40" name="Text Placeholder 29">
            <a:extLst>
              <a:ext uri="{FF2B5EF4-FFF2-40B4-BE49-F238E27FC236}">
                <a16:creationId xmlns:a16="http://schemas.microsoft.com/office/drawing/2014/main" id="{5C686B82-2E00-D61D-3AA1-3461944BF439}"/>
              </a:ext>
            </a:extLst>
          </p:cNvPr>
          <p:cNvSpPr>
            <a:spLocks noGrp="1"/>
          </p:cNvSpPr>
          <p:nvPr>
            <p:ph type="body" sz="quarter" idx="45" hasCustomPrompt="1"/>
          </p:nvPr>
        </p:nvSpPr>
        <p:spPr>
          <a:xfrm>
            <a:off x="2131218" y="3609181"/>
            <a:ext cx="1260000" cy="312739"/>
          </a:xfrm>
          <a:prstGeom prst="rect">
            <a:avLst/>
          </a:prstGeom>
        </p:spPr>
        <p:txBody>
          <a:bodyPr tIns="0" bIns="0" anchor="ctr">
            <a:noAutofit/>
          </a:bodyPr>
          <a:lstStyle>
            <a:lvl1pPr marL="0" indent="0" algn="ctr">
              <a:buNone/>
              <a:defRPr sz="1300" b="1">
                <a:solidFill>
                  <a:schemeClr val="accent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Milestone</a:t>
            </a:r>
            <a:endParaRPr lang="en-ID" dirty="0"/>
          </a:p>
        </p:txBody>
      </p:sp>
      <p:sp>
        <p:nvSpPr>
          <p:cNvPr id="6" name="Text Placeholder 29">
            <a:extLst>
              <a:ext uri="{FF2B5EF4-FFF2-40B4-BE49-F238E27FC236}">
                <a16:creationId xmlns:a16="http://schemas.microsoft.com/office/drawing/2014/main" id="{38C63DFC-2B10-361A-FCA7-CF7597B18397}"/>
              </a:ext>
            </a:extLst>
          </p:cNvPr>
          <p:cNvSpPr>
            <a:spLocks noGrp="1"/>
          </p:cNvSpPr>
          <p:nvPr>
            <p:ph type="body" sz="quarter" idx="48"/>
          </p:nvPr>
        </p:nvSpPr>
        <p:spPr>
          <a:xfrm>
            <a:off x="3126024" y="4553507"/>
            <a:ext cx="1876714" cy="478950"/>
          </a:xfrm>
          <a:prstGeom prst="rect">
            <a:avLst/>
          </a:prstGeom>
        </p:spPr>
        <p:txBody>
          <a:bodyPr tIns="0" bIns="0" anchor="b">
            <a:noAutofit/>
          </a:bodyPr>
          <a:lstStyle>
            <a:lvl1pPr marL="0" indent="0" algn="ctr">
              <a:buNone/>
              <a:defRPr sz="14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a:t>
            </a:r>
            <a:endParaRPr lang="en-ID" dirty="0"/>
          </a:p>
        </p:txBody>
      </p:sp>
      <p:sp>
        <p:nvSpPr>
          <p:cNvPr id="7" name="Text Placeholder 29">
            <a:extLst>
              <a:ext uri="{FF2B5EF4-FFF2-40B4-BE49-F238E27FC236}">
                <a16:creationId xmlns:a16="http://schemas.microsoft.com/office/drawing/2014/main" id="{B083110B-0B44-1AE1-53ED-162013C095D9}"/>
              </a:ext>
            </a:extLst>
          </p:cNvPr>
          <p:cNvSpPr>
            <a:spLocks noGrp="1"/>
          </p:cNvSpPr>
          <p:nvPr>
            <p:ph type="body" sz="quarter" idx="49"/>
          </p:nvPr>
        </p:nvSpPr>
        <p:spPr>
          <a:xfrm>
            <a:off x="3126024" y="5104458"/>
            <a:ext cx="1876714" cy="885737"/>
          </a:xfrm>
          <a:prstGeom prst="rect">
            <a:avLst/>
          </a:prstGeom>
        </p:spPr>
        <p:txBody>
          <a:bodyPr tIns="0" bIns="0">
            <a:noAutofit/>
          </a:bodyPr>
          <a:lstStyle>
            <a:lvl1pPr marL="0" indent="0" algn="ctr">
              <a:buNone/>
              <a:defRPr sz="12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9" name="Text Placeholder 29">
            <a:extLst>
              <a:ext uri="{FF2B5EF4-FFF2-40B4-BE49-F238E27FC236}">
                <a16:creationId xmlns:a16="http://schemas.microsoft.com/office/drawing/2014/main" id="{A255DCBF-68F9-FF27-692F-BEEBCCC1EABD}"/>
              </a:ext>
            </a:extLst>
          </p:cNvPr>
          <p:cNvSpPr>
            <a:spLocks noGrp="1"/>
          </p:cNvSpPr>
          <p:nvPr>
            <p:ph type="body" sz="quarter" idx="50" hasCustomPrompt="1"/>
          </p:nvPr>
        </p:nvSpPr>
        <p:spPr>
          <a:xfrm>
            <a:off x="3437616" y="3609181"/>
            <a:ext cx="1260000" cy="312739"/>
          </a:xfrm>
          <a:prstGeom prst="rect">
            <a:avLst/>
          </a:prstGeom>
        </p:spPr>
        <p:txBody>
          <a:bodyPr tIns="0" bIns="0" anchor="ctr">
            <a:noAutofit/>
          </a:bodyPr>
          <a:lstStyle>
            <a:lvl1pPr marL="0" indent="0" algn="ctr">
              <a:buNone/>
              <a:defRPr sz="1300" b="1">
                <a:solidFill>
                  <a:schemeClr val="accent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Milestone</a:t>
            </a:r>
            <a:endParaRPr lang="en-ID" dirty="0"/>
          </a:p>
        </p:txBody>
      </p:sp>
      <p:sp>
        <p:nvSpPr>
          <p:cNvPr id="13" name="Text Placeholder 29">
            <a:extLst>
              <a:ext uri="{FF2B5EF4-FFF2-40B4-BE49-F238E27FC236}">
                <a16:creationId xmlns:a16="http://schemas.microsoft.com/office/drawing/2014/main" id="{94F075A8-69C1-48E5-5F7F-3498229CA9E4}"/>
              </a:ext>
            </a:extLst>
          </p:cNvPr>
          <p:cNvSpPr>
            <a:spLocks noGrp="1"/>
          </p:cNvSpPr>
          <p:nvPr>
            <p:ph type="body" sz="quarter" idx="53"/>
          </p:nvPr>
        </p:nvSpPr>
        <p:spPr>
          <a:xfrm>
            <a:off x="4434822" y="1540905"/>
            <a:ext cx="1876714" cy="478950"/>
          </a:xfrm>
          <a:prstGeom prst="rect">
            <a:avLst/>
          </a:prstGeom>
        </p:spPr>
        <p:txBody>
          <a:bodyPr tIns="0" bIns="0" anchor="b">
            <a:noAutofit/>
          </a:bodyPr>
          <a:lstStyle>
            <a:lvl1pPr marL="0" indent="0" algn="ctr">
              <a:buNone/>
              <a:defRPr sz="14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a:t>
            </a:r>
            <a:endParaRPr lang="en-ID" dirty="0"/>
          </a:p>
        </p:txBody>
      </p:sp>
      <p:sp>
        <p:nvSpPr>
          <p:cNvPr id="14" name="Text Placeholder 29">
            <a:extLst>
              <a:ext uri="{FF2B5EF4-FFF2-40B4-BE49-F238E27FC236}">
                <a16:creationId xmlns:a16="http://schemas.microsoft.com/office/drawing/2014/main" id="{1EBDC6D4-7B18-8ABB-464C-5594F2C77E24}"/>
              </a:ext>
            </a:extLst>
          </p:cNvPr>
          <p:cNvSpPr>
            <a:spLocks noGrp="1"/>
          </p:cNvSpPr>
          <p:nvPr>
            <p:ph type="body" sz="quarter" idx="54"/>
          </p:nvPr>
        </p:nvSpPr>
        <p:spPr>
          <a:xfrm>
            <a:off x="4434822" y="2091856"/>
            <a:ext cx="1876714" cy="885737"/>
          </a:xfrm>
          <a:prstGeom prst="rect">
            <a:avLst/>
          </a:prstGeom>
        </p:spPr>
        <p:txBody>
          <a:bodyPr tIns="0" bIns="0">
            <a:noAutofit/>
          </a:bodyPr>
          <a:lstStyle>
            <a:lvl1pPr marL="0" indent="0" algn="ctr">
              <a:buNone/>
              <a:defRPr sz="12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15" name="Text Placeholder 29">
            <a:extLst>
              <a:ext uri="{FF2B5EF4-FFF2-40B4-BE49-F238E27FC236}">
                <a16:creationId xmlns:a16="http://schemas.microsoft.com/office/drawing/2014/main" id="{A7B1BFF0-812C-FDEC-F620-A11909471D21}"/>
              </a:ext>
            </a:extLst>
          </p:cNvPr>
          <p:cNvSpPr>
            <a:spLocks noGrp="1"/>
          </p:cNvSpPr>
          <p:nvPr>
            <p:ph type="body" sz="quarter" idx="55" hasCustomPrompt="1"/>
          </p:nvPr>
        </p:nvSpPr>
        <p:spPr>
          <a:xfrm>
            <a:off x="4744014" y="3609181"/>
            <a:ext cx="1260000" cy="312739"/>
          </a:xfrm>
          <a:prstGeom prst="rect">
            <a:avLst/>
          </a:prstGeom>
        </p:spPr>
        <p:txBody>
          <a:bodyPr tIns="0" bIns="0" anchor="ctr">
            <a:noAutofit/>
          </a:bodyPr>
          <a:lstStyle>
            <a:lvl1pPr marL="0" indent="0" algn="ctr">
              <a:buNone/>
              <a:defRPr sz="1300" b="1">
                <a:solidFill>
                  <a:schemeClr val="accent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Milestone</a:t>
            </a:r>
            <a:endParaRPr lang="en-ID" dirty="0"/>
          </a:p>
        </p:txBody>
      </p:sp>
      <p:sp>
        <p:nvSpPr>
          <p:cNvPr id="19" name="Text Placeholder 29">
            <a:extLst>
              <a:ext uri="{FF2B5EF4-FFF2-40B4-BE49-F238E27FC236}">
                <a16:creationId xmlns:a16="http://schemas.microsoft.com/office/drawing/2014/main" id="{DFB0D309-AB17-47AE-C87C-CB3AE74D48F7}"/>
              </a:ext>
            </a:extLst>
          </p:cNvPr>
          <p:cNvSpPr>
            <a:spLocks noGrp="1"/>
          </p:cNvSpPr>
          <p:nvPr>
            <p:ph type="body" sz="quarter" idx="58"/>
          </p:nvPr>
        </p:nvSpPr>
        <p:spPr>
          <a:xfrm>
            <a:off x="5743620" y="4553507"/>
            <a:ext cx="1876714" cy="478950"/>
          </a:xfrm>
          <a:prstGeom prst="rect">
            <a:avLst/>
          </a:prstGeom>
        </p:spPr>
        <p:txBody>
          <a:bodyPr tIns="0" bIns="0" anchor="b">
            <a:noAutofit/>
          </a:bodyPr>
          <a:lstStyle>
            <a:lvl1pPr marL="0" indent="0" algn="ctr">
              <a:buNone/>
              <a:defRPr sz="14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a:t>
            </a:r>
            <a:endParaRPr lang="en-ID" dirty="0"/>
          </a:p>
        </p:txBody>
      </p:sp>
      <p:sp>
        <p:nvSpPr>
          <p:cNvPr id="20" name="Text Placeholder 29">
            <a:extLst>
              <a:ext uri="{FF2B5EF4-FFF2-40B4-BE49-F238E27FC236}">
                <a16:creationId xmlns:a16="http://schemas.microsoft.com/office/drawing/2014/main" id="{ED0C3C28-B9D9-204C-3BAC-8C8324471AB7}"/>
              </a:ext>
            </a:extLst>
          </p:cNvPr>
          <p:cNvSpPr>
            <a:spLocks noGrp="1"/>
          </p:cNvSpPr>
          <p:nvPr>
            <p:ph type="body" sz="quarter" idx="59"/>
          </p:nvPr>
        </p:nvSpPr>
        <p:spPr>
          <a:xfrm>
            <a:off x="5743620" y="5104458"/>
            <a:ext cx="1876714" cy="885737"/>
          </a:xfrm>
          <a:prstGeom prst="rect">
            <a:avLst/>
          </a:prstGeom>
        </p:spPr>
        <p:txBody>
          <a:bodyPr tIns="0" bIns="0">
            <a:noAutofit/>
          </a:bodyPr>
          <a:lstStyle>
            <a:lvl1pPr marL="0" indent="0" algn="ctr">
              <a:buNone/>
              <a:defRPr sz="12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22" name="Text Placeholder 29">
            <a:extLst>
              <a:ext uri="{FF2B5EF4-FFF2-40B4-BE49-F238E27FC236}">
                <a16:creationId xmlns:a16="http://schemas.microsoft.com/office/drawing/2014/main" id="{8DAE8AB0-2EDB-576D-0B84-B8E513187788}"/>
              </a:ext>
            </a:extLst>
          </p:cNvPr>
          <p:cNvSpPr>
            <a:spLocks noGrp="1"/>
          </p:cNvSpPr>
          <p:nvPr>
            <p:ph type="body" sz="quarter" idx="60" hasCustomPrompt="1"/>
          </p:nvPr>
        </p:nvSpPr>
        <p:spPr>
          <a:xfrm>
            <a:off x="6050412" y="3609181"/>
            <a:ext cx="1260000" cy="312739"/>
          </a:xfrm>
          <a:prstGeom prst="rect">
            <a:avLst/>
          </a:prstGeom>
        </p:spPr>
        <p:txBody>
          <a:bodyPr tIns="0" bIns="0" anchor="ctr">
            <a:noAutofit/>
          </a:bodyPr>
          <a:lstStyle>
            <a:lvl1pPr marL="0" indent="0" algn="ctr">
              <a:buNone/>
              <a:defRPr sz="1300" b="1">
                <a:solidFill>
                  <a:schemeClr val="accent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Milestone</a:t>
            </a:r>
            <a:endParaRPr lang="en-ID" dirty="0"/>
          </a:p>
        </p:txBody>
      </p:sp>
      <p:sp>
        <p:nvSpPr>
          <p:cNvPr id="26" name="Text Placeholder 29">
            <a:extLst>
              <a:ext uri="{FF2B5EF4-FFF2-40B4-BE49-F238E27FC236}">
                <a16:creationId xmlns:a16="http://schemas.microsoft.com/office/drawing/2014/main" id="{AD762095-069D-4BD6-640E-EA976F90EBE8}"/>
              </a:ext>
            </a:extLst>
          </p:cNvPr>
          <p:cNvSpPr>
            <a:spLocks noGrp="1"/>
          </p:cNvSpPr>
          <p:nvPr>
            <p:ph type="body" sz="quarter" idx="63"/>
          </p:nvPr>
        </p:nvSpPr>
        <p:spPr>
          <a:xfrm>
            <a:off x="7052418" y="1540905"/>
            <a:ext cx="1876714" cy="478950"/>
          </a:xfrm>
          <a:prstGeom prst="rect">
            <a:avLst/>
          </a:prstGeom>
        </p:spPr>
        <p:txBody>
          <a:bodyPr tIns="0" bIns="0" anchor="b">
            <a:noAutofit/>
          </a:bodyPr>
          <a:lstStyle>
            <a:lvl1pPr marL="0" indent="0" algn="ctr">
              <a:buNone/>
              <a:defRPr sz="14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a:t>
            </a:r>
            <a:endParaRPr lang="en-ID" dirty="0"/>
          </a:p>
        </p:txBody>
      </p:sp>
      <p:sp>
        <p:nvSpPr>
          <p:cNvPr id="27" name="Text Placeholder 29">
            <a:extLst>
              <a:ext uri="{FF2B5EF4-FFF2-40B4-BE49-F238E27FC236}">
                <a16:creationId xmlns:a16="http://schemas.microsoft.com/office/drawing/2014/main" id="{8B4A0DAC-82E4-6662-A9B3-71544EC46FB8}"/>
              </a:ext>
            </a:extLst>
          </p:cNvPr>
          <p:cNvSpPr>
            <a:spLocks noGrp="1"/>
          </p:cNvSpPr>
          <p:nvPr>
            <p:ph type="body" sz="quarter" idx="64"/>
          </p:nvPr>
        </p:nvSpPr>
        <p:spPr>
          <a:xfrm>
            <a:off x="7052418" y="2091856"/>
            <a:ext cx="1876714" cy="885737"/>
          </a:xfrm>
          <a:prstGeom prst="rect">
            <a:avLst/>
          </a:prstGeom>
        </p:spPr>
        <p:txBody>
          <a:bodyPr tIns="0" bIns="0">
            <a:noAutofit/>
          </a:bodyPr>
          <a:lstStyle>
            <a:lvl1pPr marL="0" indent="0" algn="ctr">
              <a:buNone/>
              <a:defRPr sz="12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28" name="Text Placeholder 29">
            <a:extLst>
              <a:ext uri="{FF2B5EF4-FFF2-40B4-BE49-F238E27FC236}">
                <a16:creationId xmlns:a16="http://schemas.microsoft.com/office/drawing/2014/main" id="{80354A45-56CA-A32F-60C5-C779D9B604C7}"/>
              </a:ext>
            </a:extLst>
          </p:cNvPr>
          <p:cNvSpPr>
            <a:spLocks noGrp="1"/>
          </p:cNvSpPr>
          <p:nvPr>
            <p:ph type="body" sz="quarter" idx="65" hasCustomPrompt="1"/>
          </p:nvPr>
        </p:nvSpPr>
        <p:spPr>
          <a:xfrm>
            <a:off x="7356810" y="3609181"/>
            <a:ext cx="1260000" cy="312739"/>
          </a:xfrm>
          <a:prstGeom prst="rect">
            <a:avLst/>
          </a:prstGeom>
        </p:spPr>
        <p:txBody>
          <a:bodyPr tIns="0" bIns="0" anchor="ctr">
            <a:noAutofit/>
          </a:bodyPr>
          <a:lstStyle>
            <a:lvl1pPr marL="0" indent="0" algn="ctr">
              <a:buNone/>
              <a:defRPr sz="1300" b="1">
                <a:solidFill>
                  <a:schemeClr val="accent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Milestone</a:t>
            </a:r>
            <a:endParaRPr lang="en-ID" dirty="0"/>
          </a:p>
        </p:txBody>
      </p:sp>
      <p:sp>
        <p:nvSpPr>
          <p:cNvPr id="31" name="Text Placeholder 29">
            <a:extLst>
              <a:ext uri="{FF2B5EF4-FFF2-40B4-BE49-F238E27FC236}">
                <a16:creationId xmlns:a16="http://schemas.microsoft.com/office/drawing/2014/main" id="{5F91528B-4016-9A18-C984-2859E73B2C44}"/>
              </a:ext>
            </a:extLst>
          </p:cNvPr>
          <p:cNvSpPr>
            <a:spLocks noGrp="1"/>
          </p:cNvSpPr>
          <p:nvPr>
            <p:ph type="body" sz="quarter" idx="68"/>
          </p:nvPr>
        </p:nvSpPr>
        <p:spPr>
          <a:xfrm>
            <a:off x="8361218" y="4553507"/>
            <a:ext cx="1876714" cy="478950"/>
          </a:xfrm>
          <a:prstGeom prst="rect">
            <a:avLst/>
          </a:prstGeom>
        </p:spPr>
        <p:txBody>
          <a:bodyPr tIns="0" bIns="0" anchor="b">
            <a:noAutofit/>
          </a:bodyPr>
          <a:lstStyle>
            <a:lvl1pPr marL="0" indent="0" algn="ctr">
              <a:buNone/>
              <a:defRPr sz="14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a:t>
            </a:r>
            <a:endParaRPr lang="en-ID" dirty="0"/>
          </a:p>
        </p:txBody>
      </p:sp>
      <p:sp>
        <p:nvSpPr>
          <p:cNvPr id="32" name="Text Placeholder 29">
            <a:extLst>
              <a:ext uri="{FF2B5EF4-FFF2-40B4-BE49-F238E27FC236}">
                <a16:creationId xmlns:a16="http://schemas.microsoft.com/office/drawing/2014/main" id="{49AA65F4-5D9F-C19E-6142-74B8F0A68D43}"/>
              </a:ext>
            </a:extLst>
          </p:cNvPr>
          <p:cNvSpPr>
            <a:spLocks noGrp="1"/>
          </p:cNvSpPr>
          <p:nvPr>
            <p:ph type="body" sz="quarter" idx="69"/>
          </p:nvPr>
        </p:nvSpPr>
        <p:spPr>
          <a:xfrm>
            <a:off x="8361218" y="5104458"/>
            <a:ext cx="1876714" cy="885737"/>
          </a:xfrm>
          <a:prstGeom prst="rect">
            <a:avLst/>
          </a:prstGeom>
        </p:spPr>
        <p:txBody>
          <a:bodyPr tIns="0" bIns="0">
            <a:noAutofit/>
          </a:bodyPr>
          <a:lstStyle>
            <a:lvl1pPr marL="0" indent="0" algn="ctr">
              <a:buNone/>
              <a:defRPr sz="1200" b="0">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33" name="Text Placeholder 29">
            <a:extLst>
              <a:ext uri="{FF2B5EF4-FFF2-40B4-BE49-F238E27FC236}">
                <a16:creationId xmlns:a16="http://schemas.microsoft.com/office/drawing/2014/main" id="{4989308E-DDCB-3B4E-8245-6F016843BB64}"/>
              </a:ext>
            </a:extLst>
          </p:cNvPr>
          <p:cNvSpPr>
            <a:spLocks noGrp="1"/>
          </p:cNvSpPr>
          <p:nvPr>
            <p:ph type="body" sz="quarter" idx="70" hasCustomPrompt="1"/>
          </p:nvPr>
        </p:nvSpPr>
        <p:spPr>
          <a:xfrm>
            <a:off x="8663206" y="3609181"/>
            <a:ext cx="1260000" cy="312739"/>
          </a:xfrm>
          <a:prstGeom prst="rect">
            <a:avLst/>
          </a:prstGeom>
        </p:spPr>
        <p:txBody>
          <a:bodyPr tIns="0" bIns="0" anchor="ctr">
            <a:noAutofit/>
          </a:bodyPr>
          <a:lstStyle>
            <a:lvl1pPr marL="0" indent="0" algn="ctr">
              <a:buNone/>
              <a:defRPr sz="1300" b="1">
                <a:solidFill>
                  <a:schemeClr val="accent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Milestone</a:t>
            </a:r>
            <a:endParaRPr lang="en-ID" dirty="0"/>
          </a:p>
        </p:txBody>
      </p:sp>
    </p:spTree>
    <p:extLst>
      <p:ext uri="{BB962C8B-B14F-4D97-AF65-F5344CB8AC3E}">
        <p14:creationId xmlns:p14="http://schemas.microsoft.com/office/powerpoint/2010/main" val="4166445593"/>
      </p:ext>
    </p:extLst>
  </p:cSld>
  <p:clrMapOvr>
    <a:masterClrMapping/>
  </p:clrMapOvr>
  <p:extLst>
    <p:ext uri="{DCECCB84-F9BA-43D5-87BE-67443E8EF086}">
      <p15:sldGuideLst xmlns:p15="http://schemas.microsoft.com/office/powerpoint/2012/main">
        <p15:guide id="1" pos="1731" userDrawn="1">
          <p15:clr>
            <a:srgbClr val="FBAE40"/>
          </p15:clr>
        </p15:guide>
        <p15:guide id="2" pos="5858"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6477C-8D55-B4B8-85DD-DAF85A20D8C5}"/>
              </a:ext>
            </a:extLst>
          </p:cNvPr>
          <p:cNvSpPr>
            <a:spLocks noGrp="1"/>
          </p:cNvSpPr>
          <p:nvPr>
            <p:ph type="title"/>
          </p:nvPr>
        </p:nvSpPr>
        <p:spPr>
          <a:xfrm>
            <a:off x="731443" y="590778"/>
            <a:ext cx="10873181" cy="1334770"/>
          </a:xfrm>
        </p:spPr>
        <p:txBody>
          <a:bodyPr anchor="t">
            <a:noAutofit/>
          </a:bodyPr>
          <a:lstStyle>
            <a:lvl1pPr>
              <a:defRPr>
                <a:solidFill>
                  <a:schemeClr val="tx1"/>
                </a:solidFill>
              </a:defRPr>
            </a:lvl1pPr>
          </a:lstStyle>
          <a:p>
            <a:r>
              <a:rPr lang="en-US" dirty="0"/>
              <a:t>Click to edit Master title style</a:t>
            </a:r>
            <a:endParaRPr lang="en-ID" dirty="0"/>
          </a:p>
        </p:txBody>
      </p:sp>
      <p:sp>
        <p:nvSpPr>
          <p:cNvPr id="11" name="Slide Number Placeholder 5">
            <a:extLst>
              <a:ext uri="{FF2B5EF4-FFF2-40B4-BE49-F238E27FC236}">
                <a16:creationId xmlns:a16="http://schemas.microsoft.com/office/drawing/2014/main" id="{752E3F75-A181-1CEF-4892-A00A828F0DEC}"/>
              </a:ext>
            </a:extLst>
          </p:cNvPr>
          <p:cNvSpPr>
            <a:spLocks noGrp="1"/>
          </p:cNvSpPr>
          <p:nvPr>
            <p:ph type="sldNum" sz="quarter" idx="4"/>
          </p:nvPr>
        </p:nvSpPr>
        <p:spPr>
          <a:xfrm>
            <a:off x="11058525" y="6409951"/>
            <a:ext cx="546100" cy="273799"/>
          </a:xfrm>
          <a:prstGeom prst="rect">
            <a:avLst/>
          </a:prstGeom>
        </p:spPr>
        <p:txBody>
          <a:bodyPr vert="horz" lIns="91440" tIns="45720" rIns="91440" bIns="45720" rtlCol="0" anchor="b"/>
          <a:lstStyle>
            <a:lvl1pPr algn="r">
              <a:defRPr sz="1200">
                <a:solidFill>
                  <a:schemeClr val="tx1"/>
                </a:solidFill>
                <a:latin typeface="+mn-lt"/>
              </a:defRPr>
            </a:lvl1pPr>
          </a:lstStyle>
          <a:p>
            <a:fld id="{5E0C3BBE-9543-48E5-A6E1-C646F9A01966}" type="slidenum">
              <a:rPr lang="en-ID" smtClean="0"/>
              <a:pPr/>
              <a:t>‹#›</a:t>
            </a:fld>
            <a:endParaRPr lang="en-ID" dirty="0"/>
          </a:p>
        </p:txBody>
      </p:sp>
      <p:cxnSp>
        <p:nvCxnSpPr>
          <p:cNvPr id="16" name="Straight Connector 15">
            <a:extLst>
              <a:ext uri="{FF2B5EF4-FFF2-40B4-BE49-F238E27FC236}">
                <a16:creationId xmlns:a16="http://schemas.microsoft.com/office/drawing/2014/main" id="{0657BBCF-CA9E-FB2C-CA76-82D2795FF965}"/>
              </a:ext>
            </a:extLst>
          </p:cNvPr>
          <p:cNvCxnSpPr>
            <a:cxnSpLocks/>
          </p:cNvCxnSpPr>
          <p:nvPr userDrawn="1"/>
        </p:nvCxnSpPr>
        <p:spPr>
          <a:xfrm>
            <a:off x="587375" y="590363"/>
            <a:ext cx="0" cy="133560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Footer Placeholder 4">
            <a:extLst>
              <a:ext uri="{FF2B5EF4-FFF2-40B4-BE49-F238E27FC236}">
                <a16:creationId xmlns:a16="http://schemas.microsoft.com/office/drawing/2014/main" id="{FC465D62-3382-034B-3BC4-9FA6DDBCBF3D}"/>
              </a:ext>
            </a:extLst>
          </p:cNvPr>
          <p:cNvSpPr>
            <a:spLocks noGrp="1"/>
          </p:cNvSpPr>
          <p:nvPr>
            <p:ph type="ftr" sz="quarter" idx="3"/>
          </p:nvPr>
        </p:nvSpPr>
        <p:spPr>
          <a:xfrm>
            <a:off x="584200" y="6364288"/>
            <a:ext cx="5511800" cy="365125"/>
          </a:xfrm>
          <a:prstGeom prst="rect">
            <a:avLst/>
          </a:prstGeom>
        </p:spPr>
        <p:txBody>
          <a:bodyPr vert="horz" lIns="91440" tIns="45720" rIns="91440" bIns="45720" rtlCol="0" anchor="ctr"/>
          <a:lstStyle>
            <a:lvl1pPr algn="l">
              <a:defRPr lang="en-GB" sz="1200">
                <a:solidFill>
                  <a:schemeClr val="tx1"/>
                </a:solidFill>
              </a:defRPr>
            </a:lvl1pPr>
          </a:lstStyle>
          <a:p>
            <a:r>
              <a:rPr lang="en-US"/>
              <a:t>PRESENTATION TITLE</a:t>
            </a:r>
            <a:endParaRPr lang="en-US" dirty="0"/>
          </a:p>
        </p:txBody>
      </p:sp>
    </p:spTree>
    <p:extLst>
      <p:ext uri="{BB962C8B-B14F-4D97-AF65-F5344CB8AC3E}">
        <p14:creationId xmlns:p14="http://schemas.microsoft.com/office/powerpoint/2010/main" val="2752192730"/>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752E3F75-A181-1CEF-4892-A00A828F0DEC}"/>
              </a:ext>
            </a:extLst>
          </p:cNvPr>
          <p:cNvSpPr>
            <a:spLocks noGrp="1"/>
          </p:cNvSpPr>
          <p:nvPr>
            <p:ph type="sldNum" sz="quarter" idx="4"/>
          </p:nvPr>
        </p:nvSpPr>
        <p:spPr>
          <a:xfrm>
            <a:off x="11058525" y="6409951"/>
            <a:ext cx="546100" cy="273799"/>
          </a:xfrm>
          <a:prstGeom prst="rect">
            <a:avLst/>
          </a:prstGeom>
        </p:spPr>
        <p:txBody>
          <a:bodyPr vert="horz" lIns="91440" tIns="45720" rIns="91440" bIns="45720" rtlCol="0" anchor="b"/>
          <a:lstStyle>
            <a:lvl1pPr algn="r">
              <a:defRPr sz="1200">
                <a:solidFill>
                  <a:schemeClr val="tx1"/>
                </a:solidFill>
                <a:latin typeface="+mn-lt"/>
              </a:defRPr>
            </a:lvl1pPr>
          </a:lstStyle>
          <a:p>
            <a:fld id="{5E0C3BBE-9543-48E5-A6E1-C646F9A01966}" type="slidenum">
              <a:rPr lang="en-ID" smtClean="0"/>
              <a:pPr/>
              <a:t>‹#›</a:t>
            </a:fld>
            <a:endParaRPr lang="en-ID" dirty="0"/>
          </a:p>
        </p:txBody>
      </p:sp>
      <p:sp>
        <p:nvSpPr>
          <p:cNvPr id="21" name="Footer Placeholder 4">
            <a:extLst>
              <a:ext uri="{FF2B5EF4-FFF2-40B4-BE49-F238E27FC236}">
                <a16:creationId xmlns:a16="http://schemas.microsoft.com/office/drawing/2014/main" id="{FC465D62-3382-034B-3BC4-9FA6DDBCBF3D}"/>
              </a:ext>
            </a:extLst>
          </p:cNvPr>
          <p:cNvSpPr>
            <a:spLocks noGrp="1"/>
          </p:cNvSpPr>
          <p:nvPr>
            <p:ph type="ftr" sz="quarter" idx="3"/>
          </p:nvPr>
        </p:nvSpPr>
        <p:spPr>
          <a:xfrm>
            <a:off x="584200" y="6364288"/>
            <a:ext cx="5511800" cy="365125"/>
          </a:xfrm>
          <a:prstGeom prst="rect">
            <a:avLst/>
          </a:prstGeom>
        </p:spPr>
        <p:txBody>
          <a:bodyPr vert="horz" lIns="91440" tIns="45720" rIns="91440" bIns="45720" rtlCol="0" anchor="ctr"/>
          <a:lstStyle>
            <a:lvl1pPr algn="l">
              <a:defRPr lang="en-GB" sz="1200">
                <a:solidFill>
                  <a:schemeClr val="tx1"/>
                </a:solidFill>
              </a:defRPr>
            </a:lvl1pPr>
          </a:lstStyle>
          <a:p>
            <a:r>
              <a:rPr lang="en-US"/>
              <a:t>PRESENTATION TITLE</a:t>
            </a:r>
            <a:endParaRPr lang="en-US" dirty="0"/>
          </a:p>
        </p:txBody>
      </p:sp>
    </p:spTree>
    <p:extLst>
      <p:ext uri="{BB962C8B-B14F-4D97-AF65-F5344CB8AC3E}">
        <p14:creationId xmlns:p14="http://schemas.microsoft.com/office/powerpoint/2010/main" val="1272959380"/>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5BCAD085-E8A6-8845-BD4E-CB4CCA059FC4}" type="datetimeFigureOut">
              <a:rPr lang="en-US" smtClean="0"/>
              <a:t>5/17/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dirty="0"/>
          </a:p>
        </p:txBody>
      </p:sp>
    </p:spTree>
    <p:extLst>
      <p:ext uri="{BB962C8B-B14F-4D97-AF65-F5344CB8AC3E}">
        <p14:creationId xmlns:p14="http://schemas.microsoft.com/office/powerpoint/2010/main" val="423862714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BCAD085-E8A6-8845-BD4E-CB4CCA059FC4}" type="datetimeFigureOut">
              <a:rPr lang="en-US" smtClean="0"/>
              <a:t>5/17/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dirty="0"/>
          </a:p>
        </p:txBody>
      </p:sp>
    </p:spTree>
    <p:extLst>
      <p:ext uri="{BB962C8B-B14F-4D97-AF65-F5344CB8AC3E}">
        <p14:creationId xmlns:p14="http://schemas.microsoft.com/office/powerpoint/2010/main" val="13245031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BCAD085-E8A6-8845-BD4E-CB4CCA059FC4}" type="datetimeFigureOut">
              <a:rPr lang="en-US" smtClean="0"/>
              <a:t>5/17/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dirty="0"/>
          </a:p>
        </p:txBody>
      </p:sp>
    </p:spTree>
    <p:extLst>
      <p:ext uri="{BB962C8B-B14F-4D97-AF65-F5344CB8AC3E}">
        <p14:creationId xmlns:p14="http://schemas.microsoft.com/office/powerpoint/2010/main" val="130349463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BCAD085-E8A6-8845-BD4E-CB4CCA059FC4}" type="datetimeFigureOut">
              <a:rPr lang="en-US" smtClean="0"/>
              <a:t>5/17/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C1FF6DA9-008F-8B48-92A6-B652298478BF}" type="slidenum">
              <a:rPr lang="en-US" smtClean="0"/>
              <a:t>‹#›</a:t>
            </a:fld>
            <a:endParaRPr lang="en-US" dirty="0"/>
          </a:p>
        </p:txBody>
      </p:sp>
    </p:spTree>
    <p:extLst>
      <p:ext uri="{BB962C8B-B14F-4D97-AF65-F5344CB8AC3E}">
        <p14:creationId xmlns:p14="http://schemas.microsoft.com/office/powerpoint/2010/main" val="119219451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BCAD085-E8A6-8845-BD4E-CB4CCA059FC4}" type="datetimeFigureOut">
              <a:rPr lang="en-US" smtClean="0"/>
              <a:t>5/17/202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C1FF6DA9-008F-8B48-92A6-B652298478BF}" type="slidenum">
              <a:rPr lang="en-US" smtClean="0"/>
              <a:t>‹#›</a:t>
            </a:fld>
            <a:endParaRPr lang="en-US" dirty="0"/>
          </a:p>
        </p:txBody>
      </p:sp>
    </p:spTree>
    <p:extLst>
      <p:ext uri="{BB962C8B-B14F-4D97-AF65-F5344CB8AC3E}">
        <p14:creationId xmlns:p14="http://schemas.microsoft.com/office/powerpoint/2010/main" val="27913183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BCAD085-E8A6-8845-BD4E-CB4CCA059FC4}" type="datetimeFigureOut">
              <a:rPr lang="en-US" smtClean="0"/>
              <a:t>5/17/202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C1FF6DA9-008F-8B48-92A6-B652298478BF}" type="slidenum">
              <a:rPr lang="en-US" smtClean="0"/>
              <a:t>‹#›</a:t>
            </a:fld>
            <a:endParaRPr lang="en-US" dirty="0"/>
          </a:p>
        </p:txBody>
      </p:sp>
    </p:spTree>
    <p:extLst>
      <p:ext uri="{BB962C8B-B14F-4D97-AF65-F5344CB8AC3E}">
        <p14:creationId xmlns:p14="http://schemas.microsoft.com/office/powerpoint/2010/main" val="121128433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BCAD085-E8A6-8845-BD4E-CB4CCA059FC4}" type="datetimeFigureOut">
              <a:rPr lang="en-US" smtClean="0"/>
              <a:t>5/17/202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C1FF6DA9-008F-8B48-92A6-B652298478BF}" type="slidenum">
              <a:rPr lang="en-US" smtClean="0"/>
              <a:t>‹#›</a:t>
            </a:fld>
            <a:endParaRPr lang="en-US" dirty="0"/>
          </a:p>
        </p:txBody>
      </p:sp>
    </p:spTree>
    <p:extLst>
      <p:ext uri="{BB962C8B-B14F-4D97-AF65-F5344CB8AC3E}">
        <p14:creationId xmlns:p14="http://schemas.microsoft.com/office/powerpoint/2010/main" val="21406762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Header S02V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D6FF304-8F5A-AE9D-9F8A-073146069168}"/>
              </a:ext>
            </a:extLst>
          </p:cNvPr>
          <p:cNvSpPr/>
          <p:nvPr userDrawn="1"/>
        </p:nvSpPr>
        <p:spPr>
          <a:xfrm>
            <a:off x="587375" y="1622423"/>
            <a:ext cx="11604625" cy="361315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Slide Number Placeholder 5">
            <a:extLst>
              <a:ext uri="{FF2B5EF4-FFF2-40B4-BE49-F238E27FC236}">
                <a16:creationId xmlns:a16="http://schemas.microsoft.com/office/drawing/2014/main" id="{752E3F75-A181-1CEF-4892-A00A828F0DEC}"/>
              </a:ext>
            </a:extLst>
          </p:cNvPr>
          <p:cNvSpPr>
            <a:spLocks noGrp="1"/>
          </p:cNvSpPr>
          <p:nvPr>
            <p:ph type="sldNum" sz="quarter" idx="4"/>
          </p:nvPr>
        </p:nvSpPr>
        <p:spPr>
          <a:xfrm>
            <a:off x="11058525" y="6409951"/>
            <a:ext cx="546100" cy="273799"/>
          </a:xfrm>
          <a:prstGeom prst="rect">
            <a:avLst/>
          </a:prstGeom>
        </p:spPr>
        <p:txBody>
          <a:bodyPr vert="horz" lIns="91440" tIns="45720" rIns="91440" bIns="45720" rtlCol="0" anchor="b"/>
          <a:lstStyle>
            <a:lvl1pPr algn="r">
              <a:defRPr sz="1200">
                <a:solidFill>
                  <a:schemeClr val="accent4"/>
                </a:solidFill>
                <a:latin typeface="+mn-lt"/>
              </a:defRPr>
            </a:lvl1pPr>
          </a:lstStyle>
          <a:p>
            <a:fld id="{5E0C3BBE-9543-48E5-A6E1-C646F9A01966}" type="slidenum">
              <a:rPr lang="en-ID" smtClean="0"/>
              <a:pPr/>
              <a:t>‹#›</a:t>
            </a:fld>
            <a:endParaRPr lang="en-ID" dirty="0"/>
          </a:p>
        </p:txBody>
      </p:sp>
      <p:sp>
        <p:nvSpPr>
          <p:cNvPr id="21" name="Footer Placeholder 4">
            <a:extLst>
              <a:ext uri="{FF2B5EF4-FFF2-40B4-BE49-F238E27FC236}">
                <a16:creationId xmlns:a16="http://schemas.microsoft.com/office/drawing/2014/main" id="{FC465D62-3382-034B-3BC4-9FA6DDBCBF3D}"/>
              </a:ext>
            </a:extLst>
          </p:cNvPr>
          <p:cNvSpPr>
            <a:spLocks noGrp="1"/>
          </p:cNvSpPr>
          <p:nvPr>
            <p:ph type="ftr" sz="quarter" idx="3"/>
          </p:nvPr>
        </p:nvSpPr>
        <p:spPr>
          <a:xfrm>
            <a:off x="584200" y="6364288"/>
            <a:ext cx="5511800" cy="365125"/>
          </a:xfrm>
          <a:prstGeom prst="rect">
            <a:avLst/>
          </a:prstGeom>
        </p:spPr>
        <p:txBody>
          <a:bodyPr vert="horz" lIns="91440" tIns="45720" rIns="91440" bIns="45720" rtlCol="0" anchor="ctr"/>
          <a:lstStyle>
            <a:lvl1pPr algn="l">
              <a:defRPr lang="en-GB" sz="1200">
                <a:solidFill>
                  <a:schemeClr val="accent4"/>
                </a:solidFill>
              </a:defRPr>
            </a:lvl1pPr>
          </a:lstStyle>
          <a:p>
            <a:r>
              <a:rPr lang="en-US"/>
              <a:t>PRESENTATION TITLE</a:t>
            </a:r>
            <a:endParaRPr lang="en-US" dirty="0"/>
          </a:p>
        </p:txBody>
      </p:sp>
      <p:sp>
        <p:nvSpPr>
          <p:cNvPr id="80" name="Text Placeholder 29">
            <a:extLst>
              <a:ext uri="{FF2B5EF4-FFF2-40B4-BE49-F238E27FC236}">
                <a16:creationId xmlns:a16="http://schemas.microsoft.com/office/drawing/2014/main" id="{F86EE282-1EF4-62A2-779C-EB878597B925}"/>
              </a:ext>
            </a:extLst>
          </p:cNvPr>
          <p:cNvSpPr>
            <a:spLocks noGrp="1"/>
          </p:cNvSpPr>
          <p:nvPr>
            <p:ph type="body" sz="quarter" idx="39"/>
          </p:nvPr>
        </p:nvSpPr>
        <p:spPr>
          <a:xfrm>
            <a:off x="1217613" y="4640352"/>
            <a:ext cx="10387012" cy="323521"/>
          </a:xfrm>
          <a:prstGeom prst="rect">
            <a:avLst/>
          </a:prstGeom>
        </p:spPr>
        <p:txBody>
          <a:bodyPr tIns="0" bIns="0" anchor="t">
            <a:noAutofit/>
          </a:bodyPr>
          <a:lstStyle>
            <a:lvl1pPr marL="0" indent="0">
              <a:buNone/>
              <a:defRPr sz="1800" b="1">
                <a:solidFill>
                  <a:srgbClr val="FFFFFF"/>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81" name="Title 1">
            <a:extLst>
              <a:ext uri="{FF2B5EF4-FFF2-40B4-BE49-F238E27FC236}">
                <a16:creationId xmlns:a16="http://schemas.microsoft.com/office/drawing/2014/main" id="{4C3A2759-D421-466C-0049-BF74449438BE}"/>
              </a:ext>
            </a:extLst>
          </p:cNvPr>
          <p:cNvSpPr>
            <a:spLocks noGrp="1"/>
          </p:cNvSpPr>
          <p:nvPr>
            <p:ph type="title"/>
          </p:nvPr>
        </p:nvSpPr>
        <p:spPr>
          <a:xfrm>
            <a:off x="1217613" y="2456418"/>
            <a:ext cx="10387012" cy="1943100"/>
          </a:xfrm>
        </p:spPr>
        <p:txBody>
          <a:bodyPr anchor="ctr">
            <a:noAutofit/>
          </a:bodyPr>
          <a:lstStyle>
            <a:lvl1pPr>
              <a:defRPr>
                <a:solidFill>
                  <a:srgbClr val="FFFFFF"/>
                </a:solidFill>
              </a:defRPr>
            </a:lvl1pPr>
          </a:lstStyle>
          <a:p>
            <a:r>
              <a:rPr lang="en-US" dirty="0"/>
              <a:t>Click to edit Master title style</a:t>
            </a:r>
            <a:endParaRPr lang="en-ID" dirty="0"/>
          </a:p>
        </p:txBody>
      </p:sp>
      <p:cxnSp>
        <p:nvCxnSpPr>
          <p:cNvPr id="82" name="Straight Connector 81">
            <a:extLst>
              <a:ext uri="{FF2B5EF4-FFF2-40B4-BE49-F238E27FC236}">
                <a16:creationId xmlns:a16="http://schemas.microsoft.com/office/drawing/2014/main" id="{441C7500-A827-04B9-B0EF-2DBB9A14BDDD}"/>
              </a:ext>
            </a:extLst>
          </p:cNvPr>
          <p:cNvCxnSpPr>
            <a:cxnSpLocks/>
          </p:cNvCxnSpPr>
          <p:nvPr userDrawn="1"/>
        </p:nvCxnSpPr>
        <p:spPr>
          <a:xfrm>
            <a:off x="1063625" y="2457450"/>
            <a:ext cx="0" cy="1941036"/>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6226768"/>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BCAD085-E8A6-8845-BD4E-CB4CCA059FC4}" type="datetimeFigureOut">
              <a:rPr lang="en-US" smtClean="0"/>
              <a:t>5/17/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C1FF6DA9-008F-8B48-92A6-B652298478BF}" type="slidenum">
              <a:rPr lang="en-US" smtClean="0"/>
              <a:t>‹#›</a:t>
            </a:fld>
            <a:endParaRPr lang="en-US" dirty="0"/>
          </a:p>
        </p:txBody>
      </p:sp>
    </p:spTree>
    <p:extLst>
      <p:ext uri="{BB962C8B-B14F-4D97-AF65-F5344CB8AC3E}">
        <p14:creationId xmlns:p14="http://schemas.microsoft.com/office/powerpoint/2010/main" val="59575031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BCAD085-E8A6-8845-BD4E-CB4CCA059FC4}" type="datetimeFigureOut">
              <a:rPr lang="en-US" smtClean="0"/>
              <a:t>5/17/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C1FF6DA9-008F-8B48-92A6-B652298478BF}" type="slidenum">
              <a:rPr lang="en-US" smtClean="0"/>
              <a:t>‹#›</a:t>
            </a:fld>
            <a:endParaRPr lang="en-US" dirty="0"/>
          </a:p>
        </p:txBody>
      </p:sp>
    </p:spTree>
    <p:extLst>
      <p:ext uri="{BB962C8B-B14F-4D97-AF65-F5344CB8AC3E}">
        <p14:creationId xmlns:p14="http://schemas.microsoft.com/office/powerpoint/2010/main" val="37833982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BCAD085-E8A6-8845-BD4E-CB4CCA059FC4}" type="datetimeFigureOut">
              <a:rPr lang="en-US" smtClean="0"/>
              <a:t>5/17/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dirty="0"/>
          </a:p>
        </p:txBody>
      </p:sp>
    </p:spTree>
    <p:extLst>
      <p:ext uri="{BB962C8B-B14F-4D97-AF65-F5344CB8AC3E}">
        <p14:creationId xmlns:p14="http://schemas.microsoft.com/office/powerpoint/2010/main" val="233829736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BCAD085-E8A6-8845-BD4E-CB4CCA059FC4}" type="datetimeFigureOut">
              <a:rPr lang="en-US" smtClean="0"/>
              <a:t>5/17/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dirty="0"/>
          </a:p>
        </p:txBody>
      </p:sp>
    </p:spTree>
    <p:extLst>
      <p:ext uri="{BB962C8B-B14F-4D97-AF65-F5344CB8AC3E}">
        <p14:creationId xmlns:p14="http://schemas.microsoft.com/office/powerpoint/2010/main" val="364339828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68CB51ED-8FA4-0802-9E9D-D05EA3EDE314}"/>
              </a:ext>
            </a:extLst>
          </p:cNvPr>
          <p:cNvGraphicFramePr>
            <a:graphicFrameLocks noChangeAspect="1"/>
          </p:cNvGraphicFramePr>
          <p:nvPr userDrawn="1">
            <p:custDataLst>
              <p:tags r:id="rId1"/>
            </p:custDataLst>
            <p:extLst>
              <p:ext uri="{D42A27DB-BD31-4B8C-83A1-F6EECF244321}">
                <p14:modId xmlns:p14="http://schemas.microsoft.com/office/powerpoint/2010/main" val="1772352490"/>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4" name="think-cell data - do not delete" hidden="1">
                        <a:extLst>
                          <a:ext uri="{FF2B5EF4-FFF2-40B4-BE49-F238E27FC236}">
                            <a16:creationId xmlns:a16="http://schemas.microsoft.com/office/drawing/2014/main" id="{68CB51ED-8FA4-0802-9E9D-D05EA3EDE314}"/>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3D6CA609-2E26-90AB-FF7A-C1C0F1C34C48}"/>
              </a:ext>
            </a:extLst>
          </p:cNvPr>
          <p:cNvSpPr/>
          <p:nvPr userDrawn="1"/>
        </p:nvSpPr>
        <p:spPr>
          <a:xfrm>
            <a:off x="11384280" y="376080"/>
            <a:ext cx="82462" cy="615554"/>
          </a:xfrm>
          <a:prstGeom prst="rect">
            <a:avLst/>
          </a:prstGeom>
          <a:solidFill>
            <a:srgbClr val="94BCCB"/>
          </a:solidFill>
          <a:ln>
            <a:solidFill>
              <a:srgbClr val="94BC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943" hangingPunct="1">
              <a:defRPr/>
            </a:pPr>
            <a:endParaRPr lang="en-US" sz="1799" kern="1200">
              <a:solidFill>
                <a:prstClr val="white"/>
              </a:solidFill>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sp>
        <p:nvSpPr>
          <p:cNvPr id="7" name="Rectangle 6">
            <a:extLst>
              <a:ext uri="{FF2B5EF4-FFF2-40B4-BE49-F238E27FC236}">
                <a16:creationId xmlns:a16="http://schemas.microsoft.com/office/drawing/2014/main" id="{4DDD1096-32E6-977F-AD4B-47CC325CB022}"/>
              </a:ext>
            </a:extLst>
          </p:cNvPr>
          <p:cNvSpPr/>
          <p:nvPr userDrawn="1"/>
        </p:nvSpPr>
        <p:spPr>
          <a:xfrm rot="5400000">
            <a:off x="-415899" y="415899"/>
            <a:ext cx="914345" cy="82551"/>
          </a:xfrm>
          <a:prstGeom prst="rect">
            <a:avLst/>
          </a:prstGeom>
          <a:solidFill>
            <a:srgbClr val="B9986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913943" hangingPunct="1">
              <a:defRPr/>
            </a:pPr>
            <a:endParaRPr lang="en-US" sz="999" b="1" kern="1200">
              <a:solidFill>
                <a:srgbClr val="C69934"/>
              </a:solidFill>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sp>
        <p:nvSpPr>
          <p:cNvPr id="8" name="Rectangle 7">
            <a:extLst>
              <a:ext uri="{FF2B5EF4-FFF2-40B4-BE49-F238E27FC236}">
                <a16:creationId xmlns:a16="http://schemas.microsoft.com/office/drawing/2014/main" id="{1EBE074D-F433-8435-183A-AD74AF6D8414}"/>
              </a:ext>
            </a:extLst>
          </p:cNvPr>
          <p:cNvSpPr/>
          <p:nvPr userDrawn="1"/>
        </p:nvSpPr>
        <p:spPr>
          <a:xfrm rot="5400000">
            <a:off x="-415899" y="1267387"/>
            <a:ext cx="914345" cy="82551"/>
          </a:xfrm>
          <a:prstGeom prst="rect">
            <a:avLst/>
          </a:prstGeom>
          <a:solidFill>
            <a:srgbClr val="94BCC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913943" hangingPunct="1">
              <a:defRPr/>
            </a:pPr>
            <a:endParaRPr lang="en-US" sz="999" b="1" kern="1200">
              <a:solidFill>
                <a:srgbClr val="C69934"/>
              </a:solidFill>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pic>
        <p:nvPicPr>
          <p:cNvPr id="9" name="Picture 8" descr="A roof of a building with a roof overhang&#10;&#10;Description automatically generated">
            <a:extLst>
              <a:ext uri="{FF2B5EF4-FFF2-40B4-BE49-F238E27FC236}">
                <a16:creationId xmlns:a16="http://schemas.microsoft.com/office/drawing/2014/main" id="{BEF9ADED-886B-8DFE-9926-57F5098EBCED}"/>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11582400" y="0"/>
            <a:ext cx="609600" cy="3449640"/>
          </a:xfrm>
          <a:prstGeom prst="rect">
            <a:avLst/>
          </a:prstGeom>
        </p:spPr>
      </p:pic>
      <p:sp>
        <p:nvSpPr>
          <p:cNvPr id="11" name="Rectangle 10">
            <a:extLst>
              <a:ext uri="{FF2B5EF4-FFF2-40B4-BE49-F238E27FC236}">
                <a16:creationId xmlns:a16="http://schemas.microsoft.com/office/drawing/2014/main" id="{EEB512BA-72A7-EF9F-4113-41AAFD285F27}"/>
              </a:ext>
            </a:extLst>
          </p:cNvPr>
          <p:cNvSpPr/>
          <p:nvPr userDrawn="1"/>
        </p:nvSpPr>
        <p:spPr>
          <a:xfrm>
            <a:off x="11582402" y="3449640"/>
            <a:ext cx="609598" cy="3408360"/>
          </a:xfrm>
          <a:prstGeom prst="rect">
            <a:avLst/>
          </a:prstGeom>
          <a:solidFill>
            <a:srgbClr val="A78B5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74" tIns="50774" rIns="50774" bIns="50774" numCol="1" spcCol="38100" rtlCol="0" anchor="ctr">
            <a:noAutofit/>
          </a:bodyPr>
          <a:lstStyle/>
          <a:p>
            <a:pPr defTabSz="825088">
              <a:defRPr/>
            </a:pPr>
            <a:endParaRPr lang="en-SA" sz="3199" kern="1200">
              <a:solidFill>
                <a:srgbClr val="5B9BD5">
                  <a:hueOff val="5781826"/>
                  <a:lumOff val="34716"/>
                </a:srgbClr>
              </a:solidFill>
              <a:latin typeface="Avenir Next Arabic Demi" panose="020B0703020202020204" pitchFamily="34" charset="-78"/>
              <a:ea typeface="Helvetica Neue Medium"/>
              <a:cs typeface="Avenir Next Arabic Demi" panose="020B0703020202020204" pitchFamily="34" charset="-78"/>
              <a:sym typeface="Avenir Next Arabic Demi" panose="020B0703020202020204" pitchFamily="34" charset="-78"/>
            </a:endParaRPr>
          </a:p>
        </p:txBody>
      </p:sp>
      <p:sp>
        <p:nvSpPr>
          <p:cNvPr id="12" name="Slide Number Placeholder 43">
            <a:extLst>
              <a:ext uri="{FF2B5EF4-FFF2-40B4-BE49-F238E27FC236}">
                <a16:creationId xmlns:a16="http://schemas.microsoft.com/office/drawing/2014/main" id="{8EE42965-C8F6-5A78-AA0B-F598A86E1A94}"/>
              </a:ext>
            </a:extLst>
          </p:cNvPr>
          <p:cNvSpPr txBox="1">
            <a:spLocks/>
          </p:cNvSpPr>
          <p:nvPr userDrawn="1"/>
        </p:nvSpPr>
        <p:spPr>
          <a:xfrm flipH="1">
            <a:off x="11650070" y="6399342"/>
            <a:ext cx="465666" cy="260899"/>
          </a:xfrm>
          <a:prstGeom prst="rect">
            <a:avLst/>
          </a:prstGeom>
        </p:spPr>
        <p:txBody>
          <a:bodyPr vert="horz" lIns="91393" tIns="45696" rIns="91393" bIns="45696"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943">
              <a:lnSpc>
                <a:spcPct val="150000"/>
              </a:lnSpc>
              <a:spcBef>
                <a:spcPts val="600"/>
              </a:spcBef>
              <a:defRPr/>
            </a:pPr>
            <a:fld id="{565F9F93-2CF9-B248-8553-9536072F76F5}" type="slidenum">
              <a:rPr lang="en-SA" sz="1200" b="1">
                <a:solidFill>
                  <a:prstClr val="white"/>
                </a:solidFill>
                <a:latin typeface="Avenir Next Arabic Demi" panose="020B0703020202020204" pitchFamily="34" charset="-78"/>
                <a:cs typeface="Avenir Next Arabic Demi" panose="020B0703020202020204" pitchFamily="34" charset="-78"/>
                <a:sym typeface="Avenir Next Arabic Demi" panose="020B0703020202020204" pitchFamily="34" charset="-78"/>
              </a:rPr>
              <a:pPr algn="ctr" defTabSz="913943">
                <a:lnSpc>
                  <a:spcPct val="150000"/>
                </a:lnSpc>
                <a:spcBef>
                  <a:spcPts val="600"/>
                </a:spcBef>
                <a:defRPr/>
              </a:pPr>
              <a:t>‹#›</a:t>
            </a:fld>
            <a:endParaRPr lang="en-SA" sz="1200" b="1">
              <a:solidFill>
                <a:prstClr val="white"/>
              </a:solidFill>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pic>
        <p:nvPicPr>
          <p:cNvPr id="52" name="Picture 51" descr="A white logo with black background&#10;&#10;Description automatically generated">
            <a:extLst>
              <a:ext uri="{FF2B5EF4-FFF2-40B4-BE49-F238E27FC236}">
                <a16:creationId xmlns:a16="http://schemas.microsoft.com/office/drawing/2014/main" id="{467BB959-0427-0040-CE00-82407858698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656008" y="95562"/>
            <a:ext cx="490410" cy="569456"/>
          </a:xfrm>
          <a:prstGeom prst="rect">
            <a:avLst/>
          </a:prstGeom>
        </p:spPr>
      </p:pic>
      <p:sp>
        <p:nvSpPr>
          <p:cNvPr id="3" name="Text Placeholder 2">
            <a:extLst>
              <a:ext uri="{FF2B5EF4-FFF2-40B4-BE49-F238E27FC236}">
                <a16:creationId xmlns:a16="http://schemas.microsoft.com/office/drawing/2014/main" id="{BA0FD81B-BD59-9A87-4209-F5858056C313}"/>
              </a:ext>
            </a:extLst>
          </p:cNvPr>
          <p:cNvSpPr>
            <a:spLocks noGrp="1"/>
          </p:cNvSpPr>
          <p:nvPr>
            <p:ph type="body" sz="quarter" idx="10"/>
          </p:nvPr>
        </p:nvSpPr>
        <p:spPr>
          <a:xfrm>
            <a:off x="198208" y="376279"/>
            <a:ext cx="11140025" cy="615156"/>
          </a:xfrm>
        </p:spPr>
        <p:txBody>
          <a:bodyPr anchor="ctr"/>
          <a:lstStyle>
            <a:lvl1pPr marL="0" indent="0" algn="r" rtl="1">
              <a:buNone/>
              <a:defRPr>
                <a:solidFill>
                  <a:srgbClr val="BC9A69"/>
                </a:solidFill>
                <a:latin typeface="Avenir Next Arabic Demi" panose="020B0703020202020204" pitchFamily="34" charset="-78"/>
                <a:cs typeface="Avenir Next Arabic Demi" panose="020B0703020202020204" pitchFamily="34" charset="-78"/>
              </a:defRPr>
            </a:lvl1pPr>
            <a:lvl2pPr marL="304648" indent="0" algn="r" rtl="1">
              <a:buNone/>
              <a:defRPr/>
            </a:lvl2pPr>
            <a:lvl3pPr marL="609296" indent="0" algn="r" rtl="1">
              <a:buNone/>
              <a:defRPr/>
            </a:lvl3pPr>
            <a:lvl4pPr marL="913943" indent="0" algn="r" rtl="1">
              <a:buNone/>
              <a:defRPr/>
            </a:lvl4pPr>
            <a:lvl5pPr marL="1218591" indent="0" algn="r" rtl="1">
              <a:buNone/>
              <a:defRPr/>
            </a:lvl5pPr>
          </a:lstStyle>
          <a:p>
            <a:pPr lvl="0"/>
            <a:r>
              <a:rPr lang="en-US"/>
              <a:t>Click to edit Master text styles</a:t>
            </a:r>
          </a:p>
        </p:txBody>
      </p:sp>
    </p:spTree>
    <p:extLst>
      <p:ext uri="{BB962C8B-B14F-4D97-AF65-F5344CB8AC3E}">
        <p14:creationId xmlns:p14="http://schemas.microsoft.com/office/powerpoint/2010/main" val="1182622044"/>
      </p:ext>
    </p:extLst>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userDrawn="1">
  <p:cSld name="3_Title &amp; Photo cop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61ADF12-C31E-B9F4-93F4-EE6D0EB70B84}"/>
              </a:ext>
            </a:extLst>
          </p:cNvPr>
          <p:cNvGraphicFramePr>
            <a:graphicFrameLocks noChangeAspect="1"/>
          </p:cNvGraphicFramePr>
          <p:nvPr userDrawn="1">
            <p:custDataLst>
              <p:tags r:id="rId1"/>
            </p:custDataLst>
            <p:extLst>
              <p:ext uri="{D42A27DB-BD31-4B8C-83A1-F6EECF244321}">
                <p14:modId xmlns:p14="http://schemas.microsoft.com/office/powerpoint/2010/main" val="21451285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761ADF12-C31E-B9F4-93F4-EE6D0EB70B84}"/>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555687D9-BC1D-7B1B-98AE-A3C641DF572B}"/>
              </a:ext>
            </a:extLst>
          </p:cNvPr>
          <p:cNvSpPr>
            <a:spLocks noGrp="1"/>
          </p:cNvSpPr>
          <p:nvPr>
            <p:ph type="pic" sz="quarter" idx="23"/>
          </p:nvPr>
        </p:nvSpPr>
        <p:spPr>
          <a:xfrm>
            <a:off x="6954044" y="0"/>
            <a:ext cx="5250656" cy="6858000"/>
          </a:xfrm>
        </p:spPr>
        <p:txBody>
          <a:bodyPr/>
          <a:lstStyle>
            <a:lvl1pPr marL="304800" marR="0" indent="-304800" algn="l" defTabSz="1219169" rtl="0" latinLnBrk="0">
              <a:lnSpc>
                <a:spcPct val="90000"/>
              </a:lnSpc>
              <a:spcBef>
                <a:spcPts val="2250"/>
              </a:spcBef>
              <a:spcAft>
                <a:spcPts val="0"/>
              </a:spcAft>
              <a:buClrTx/>
              <a:buSzPct val="123000"/>
              <a:buFontTx/>
              <a:buChar char="•"/>
              <a:tabLst/>
              <a:defRPr/>
            </a:lvl1pPr>
          </a:lstStyle>
          <a:p>
            <a:pPr marL="609600" marR="0" indent="-609600" algn="l" defTabSz="2438338" rtl="0" latinLnBrk="0">
              <a:lnSpc>
                <a:spcPct val="90000"/>
              </a:lnSpc>
              <a:spcBef>
                <a:spcPts val="4500"/>
              </a:spcBef>
              <a:spcAft>
                <a:spcPts val="0"/>
              </a:spcAft>
              <a:buClrTx/>
              <a:buSzPct val="123000"/>
              <a:buFontTx/>
              <a:buChar char="•"/>
              <a:tabLst/>
            </a:pPr>
            <a:endParaRPr lang="en-SA"/>
          </a:p>
        </p:txBody>
      </p:sp>
      <p:pic>
        <p:nvPicPr>
          <p:cNvPr id="11" name="Picture 10" descr="An aerial view of a city&#10;&#10;Description automatically generated">
            <a:extLst>
              <a:ext uri="{FF2B5EF4-FFF2-40B4-BE49-F238E27FC236}">
                <a16:creationId xmlns:a16="http://schemas.microsoft.com/office/drawing/2014/main" id="{D4E0B1A0-C8F9-DF60-3960-BA2D9849B13F}"/>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6743700" y="-1"/>
            <a:ext cx="5448300" cy="6858000"/>
          </a:xfrm>
          <a:prstGeom prst="rect">
            <a:avLst/>
          </a:prstGeom>
        </p:spPr>
      </p:pic>
      <p:sp>
        <p:nvSpPr>
          <p:cNvPr id="2" name="Rectangle 1">
            <a:extLst>
              <a:ext uri="{FF2B5EF4-FFF2-40B4-BE49-F238E27FC236}">
                <a16:creationId xmlns:a16="http://schemas.microsoft.com/office/drawing/2014/main" id="{1450352B-60A0-C812-87CE-3D427187ED60}"/>
              </a:ext>
            </a:extLst>
          </p:cNvPr>
          <p:cNvSpPr/>
          <p:nvPr userDrawn="1"/>
        </p:nvSpPr>
        <p:spPr>
          <a:xfrm>
            <a:off x="453189" y="3280319"/>
            <a:ext cx="6047876" cy="297363"/>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387" tIns="25387" rIns="25387" bIns="25387" numCol="1" spcCol="38100" rtlCol="0" anchor="ctr">
            <a:spAutoFit/>
          </a:bodyPr>
          <a:lstStyle/>
          <a:p>
            <a:pPr marL="0" marR="0" indent="0" algn="ctr" defTabSz="412544" rtl="0" fontAlgn="auto" latinLnBrk="0" hangingPunct="0">
              <a:lnSpc>
                <a:spcPct val="100000"/>
              </a:lnSpc>
              <a:spcBef>
                <a:spcPts val="0"/>
              </a:spcBef>
              <a:spcAft>
                <a:spcPts val="0"/>
              </a:spcAft>
              <a:buClrTx/>
              <a:buSzTx/>
              <a:buFontTx/>
              <a:buNone/>
              <a:tabLst/>
            </a:pPr>
            <a:endParaRPr kumimoji="0" lang="en-SA" sz="1599" b="0" i="0" u="none" strike="noStrike" cap="none" spc="0" normalizeH="0" baseline="0">
              <a:ln>
                <a:noFill/>
              </a:ln>
              <a:solidFill>
                <a:schemeClr val="accent5">
                  <a:hueOff val="5781826"/>
                  <a:lumOff val="34716"/>
                </a:schemeClr>
              </a:solidFill>
              <a:effectLst/>
              <a:uFillTx/>
              <a:latin typeface="Avenir Next Arabic Demi" panose="020B0703020202020204" pitchFamily="34" charset="-78"/>
              <a:ea typeface="Helvetica Neue Medium"/>
              <a:cs typeface="Avenir Next Arabic Demi" panose="020B0703020202020204" pitchFamily="34" charset="-78"/>
              <a:sym typeface="Avenir Next Arabic Demi" panose="020B0703020202020204" pitchFamily="34" charset="-78"/>
            </a:endParaRPr>
          </a:p>
        </p:txBody>
      </p:sp>
      <p:sp>
        <p:nvSpPr>
          <p:cNvPr id="4" name="Presentation Title">
            <a:extLst>
              <a:ext uri="{FF2B5EF4-FFF2-40B4-BE49-F238E27FC236}">
                <a16:creationId xmlns:a16="http://schemas.microsoft.com/office/drawing/2014/main" id="{9FF4D829-AD57-D71F-A62E-1B602FA08D5D}"/>
              </a:ext>
            </a:extLst>
          </p:cNvPr>
          <p:cNvSpPr txBox="1">
            <a:spLocks noGrp="1"/>
          </p:cNvSpPr>
          <p:nvPr>
            <p:ph type="title" hasCustomPrompt="1"/>
          </p:nvPr>
        </p:nvSpPr>
        <p:spPr>
          <a:xfrm>
            <a:off x="468822" y="2249906"/>
            <a:ext cx="5222115" cy="1720515"/>
          </a:xfrm>
          <a:prstGeom prst="rect">
            <a:avLst/>
          </a:prstGeom>
        </p:spPr>
        <p:txBody>
          <a:bodyPr anchor="ctr">
            <a:normAutofit/>
          </a:bodyPr>
          <a:lstStyle>
            <a:lvl1pPr algn="r">
              <a:lnSpc>
                <a:spcPct val="100000"/>
              </a:lnSpc>
              <a:defRPr sz="4998" spc="-116">
                <a:solidFill>
                  <a:srgbClr val="A78B5E"/>
                </a:solidFill>
                <a:latin typeface="Avenir Next Arabic Demi" panose="020B0703020202020204" pitchFamily="34" charset="-78"/>
                <a:cs typeface="Avenir Next Arabic Demi" panose="020B0703020202020204" pitchFamily="34" charset="-78"/>
                <a:sym typeface="Avenir Next Arabic Demi" panose="020B0703020202020204" pitchFamily="34" charset="-78"/>
              </a:defRPr>
            </a:lvl1pPr>
          </a:lstStyle>
          <a:p>
            <a:r>
              <a:rPr lang="ar-SA"/>
              <a:t>عنوان تقسيم</a:t>
            </a:r>
            <a:endParaRPr/>
          </a:p>
        </p:txBody>
      </p:sp>
      <p:sp>
        <p:nvSpPr>
          <p:cNvPr id="6" name="Body Level One…">
            <a:extLst>
              <a:ext uri="{FF2B5EF4-FFF2-40B4-BE49-F238E27FC236}">
                <a16:creationId xmlns:a16="http://schemas.microsoft.com/office/drawing/2014/main" id="{0AE070F2-32B2-F535-9E50-3A1E4AF10003}"/>
              </a:ext>
            </a:extLst>
          </p:cNvPr>
          <p:cNvSpPr txBox="1">
            <a:spLocks noGrp="1"/>
          </p:cNvSpPr>
          <p:nvPr>
            <p:ph type="body" sz="half" idx="1" hasCustomPrompt="1"/>
          </p:nvPr>
        </p:nvSpPr>
        <p:spPr>
          <a:xfrm>
            <a:off x="466244" y="4478410"/>
            <a:ext cx="5222115" cy="457200"/>
          </a:xfrm>
          <a:prstGeom prst="rect">
            <a:avLst/>
          </a:prstGeom>
        </p:spPr>
        <p:txBody>
          <a:bodyPr/>
          <a:lstStyle>
            <a:lvl1pPr marL="0" indent="0" algn="r" defTabSz="412544">
              <a:lnSpc>
                <a:spcPct val="100000"/>
              </a:lnSpc>
              <a:spcBef>
                <a:spcPts val="0"/>
              </a:spcBef>
              <a:buSzTx/>
              <a:buNone/>
              <a:defRPr sz="1549">
                <a:solidFill>
                  <a:srgbClr val="484B4F"/>
                </a:solidFill>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1pPr>
            <a:lvl2pPr marL="0" indent="228486" algn="r" defTabSz="412544">
              <a:lnSpc>
                <a:spcPct val="100000"/>
              </a:lnSpc>
              <a:spcBef>
                <a:spcPts val="0"/>
              </a:spcBef>
              <a:buSzTx/>
              <a:buNone/>
              <a:defRPr sz="1549">
                <a:solidFill>
                  <a:srgbClr val="484B4F"/>
                </a:solidFill>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2pPr>
            <a:lvl3pPr marL="0" indent="456972" algn="r" defTabSz="412544">
              <a:lnSpc>
                <a:spcPct val="100000"/>
              </a:lnSpc>
              <a:spcBef>
                <a:spcPts val="0"/>
              </a:spcBef>
              <a:buSzTx/>
              <a:buNone/>
              <a:defRPr sz="1549">
                <a:solidFill>
                  <a:srgbClr val="484B4F"/>
                </a:solidFill>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3pPr>
            <a:lvl4pPr marL="0" indent="685457" algn="r" defTabSz="412544">
              <a:lnSpc>
                <a:spcPct val="100000"/>
              </a:lnSpc>
              <a:spcBef>
                <a:spcPts val="0"/>
              </a:spcBef>
              <a:buSzTx/>
              <a:buNone/>
              <a:defRPr sz="1549">
                <a:solidFill>
                  <a:srgbClr val="484B4F"/>
                </a:solidFill>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4pPr>
            <a:lvl5pPr marL="0" indent="913943" algn="r" defTabSz="412544">
              <a:lnSpc>
                <a:spcPct val="100000"/>
              </a:lnSpc>
              <a:spcBef>
                <a:spcPts val="0"/>
              </a:spcBef>
              <a:buSzTx/>
              <a:buNone/>
              <a:defRPr sz="1549">
                <a:solidFill>
                  <a:srgbClr val="484B4F"/>
                </a:solidFill>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5pPr>
          </a:lstStyle>
          <a:p>
            <a:r>
              <a:rPr lang="ar-SA"/>
              <a:t>عنوان جانبي</a:t>
            </a:r>
            <a:endParaRPr/>
          </a:p>
          <a:p>
            <a:pPr lvl="1"/>
            <a:endParaRPr/>
          </a:p>
          <a:p>
            <a:pPr lvl="2"/>
            <a:endParaRPr/>
          </a:p>
          <a:p>
            <a:pPr lvl="3"/>
            <a:endParaRPr/>
          </a:p>
          <a:p>
            <a:pPr lvl="4"/>
            <a:endParaRPr/>
          </a:p>
        </p:txBody>
      </p:sp>
      <p:pic>
        <p:nvPicPr>
          <p:cNvPr id="15" name="Image" descr="Image">
            <a:extLst>
              <a:ext uri="{FF2B5EF4-FFF2-40B4-BE49-F238E27FC236}">
                <a16:creationId xmlns:a16="http://schemas.microsoft.com/office/drawing/2014/main" id="{79D1DF2F-7005-D908-16C2-1B825F58491E}"/>
              </a:ext>
            </a:extLst>
          </p:cNvPr>
          <p:cNvPicPr>
            <a:picLocks noChangeAspect="1"/>
          </p:cNvPicPr>
          <p:nvPr userDrawn="1"/>
        </p:nvPicPr>
        <p:blipFill rotWithShape="1">
          <a:blip r:embed="rId6" cstate="email">
            <a:alphaModFix amt="80000"/>
            <a:extLst>
              <a:ext uri="{28A0092B-C50C-407E-A947-70E740481C1C}">
                <a14:useLocalDpi xmlns:a14="http://schemas.microsoft.com/office/drawing/2010/main"/>
              </a:ext>
            </a:extLst>
          </a:blip>
          <a:srcRect t="-2137"/>
          <a:stretch/>
        </p:blipFill>
        <p:spPr>
          <a:xfrm>
            <a:off x="-471" y="6117197"/>
            <a:ext cx="12192471" cy="740803"/>
          </a:xfrm>
          <a:prstGeom prst="rect">
            <a:avLst/>
          </a:prstGeom>
          <a:ln w="12700">
            <a:miter lim="400000"/>
          </a:ln>
        </p:spPr>
      </p:pic>
      <p:sp>
        <p:nvSpPr>
          <p:cNvPr id="10" name="Slide Number">
            <a:extLst>
              <a:ext uri="{FF2B5EF4-FFF2-40B4-BE49-F238E27FC236}">
                <a16:creationId xmlns:a16="http://schemas.microsoft.com/office/drawing/2014/main" id="{3EFF4CAA-626C-C989-D125-4539F7AC537C}"/>
              </a:ext>
            </a:extLst>
          </p:cNvPr>
          <p:cNvSpPr txBox="1">
            <a:spLocks/>
          </p:cNvSpPr>
          <p:nvPr userDrawn="1"/>
        </p:nvSpPr>
        <p:spPr>
          <a:xfrm>
            <a:off x="409141" y="164754"/>
            <a:ext cx="671729" cy="235936"/>
          </a:xfrm>
          <a:prstGeom prst="rect">
            <a:avLst/>
          </a:prstGeom>
          <a:ln w="12700">
            <a:miter lim="400000"/>
          </a:ln>
        </p:spPr>
        <p:txBody>
          <a:bodyPr wrap="square" lIns="25387" tIns="25387" rIns="25387" bIns="25387" anchor="b">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584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Neue"/>
              </a:defRPr>
            </a:lvl1pPr>
            <a:lvl2pPr marL="0" marR="0" indent="4572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2pPr>
            <a:lvl3pPr marL="0" marR="0" indent="9144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3pPr>
            <a:lvl4pPr marL="0" marR="0" indent="13716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4pPr>
            <a:lvl5pPr marL="0" marR="0" indent="18288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5pPr>
            <a:lvl6pPr marL="0" marR="0" indent="22860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6pPr>
            <a:lvl7pPr marL="0" marR="0" indent="27432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7pPr>
            <a:lvl8pPr marL="0" marR="0" indent="32004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8pPr>
            <a:lvl9pPr marL="0" marR="0" indent="36576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9pPr>
          </a:lstStyle>
          <a:p>
            <a:endParaRPr lang="en-SA" sz="1200" b="0" i="0">
              <a:solidFill>
                <a:srgbClr val="92989D"/>
              </a:solidFill>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pic>
        <p:nvPicPr>
          <p:cNvPr id="18" name="Picture 17" descr="A black background with a black square&#10;&#10;Description automatically generated with medium confidence">
            <a:extLst>
              <a:ext uri="{FF2B5EF4-FFF2-40B4-BE49-F238E27FC236}">
                <a16:creationId xmlns:a16="http://schemas.microsoft.com/office/drawing/2014/main" id="{8895269E-485F-4FEA-620E-304843696BBC}"/>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1419230" y="269379"/>
            <a:ext cx="545361" cy="151189"/>
          </a:xfrm>
          <a:prstGeom prst="rect">
            <a:avLst/>
          </a:prstGeom>
        </p:spPr>
      </p:pic>
      <p:sp>
        <p:nvSpPr>
          <p:cNvPr id="16" name="Diamond 15">
            <a:extLst>
              <a:ext uri="{FF2B5EF4-FFF2-40B4-BE49-F238E27FC236}">
                <a16:creationId xmlns:a16="http://schemas.microsoft.com/office/drawing/2014/main" id="{49B872D1-630C-0E43-2E4F-4B684EA9DFE6}"/>
              </a:ext>
            </a:extLst>
          </p:cNvPr>
          <p:cNvSpPr/>
          <p:nvPr userDrawn="1"/>
        </p:nvSpPr>
        <p:spPr>
          <a:xfrm rot="10800000">
            <a:off x="6542056" y="1309162"/>
            <a:ext cx="399287" cy="394579"/>
          </a:xfrm>
          <a:prstGeom prst="diamond">
            <a:avLst/>
          </a:prstGeom>
          <a:solidFill>
            <a:srgbClr val="BDE6F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387" tIns="25387" rIns="25387" bIns="25387" numCol="1" spcCol="38100" rtlCol="0" anchor="ctr">
            <a:noAutofit/>
          </a:bodyPr>
          <a:lstStyle/>
          <a:p>
            <a:pPr marL="0" marR="0" indent="0" algn="ctr" defTabSz="412544" rtl="0" fontAlgn="auto" latinLnBrk="0" hangingPunct="0">
              <a:lnSpc>
                <a:spcPct val="100000"/>
              </a:lnSpc>
              <a:spcBef>
                <a:spcPts val="0"/>
              </a:spcBef>
              <a:spcAft>
                <a:spcPts val="0"/>
              </a:spcAft>
              <a:buClrTx/>
              <a:buSzTx/>
              <a:buFontTx/>
              <a:buNone/>
              <a:tabLst/>
            </a:pPr>
            <a:endParaRPr kumimoji="0" lang="en-SA" sz="1599" b="0" i="0" u="none" strike="noStrike" cap="none" spc="0" normalizeH="0" baseline="0">
              <a:ln>
                <a:noFill/>
              </a:ln>
              <a:solidFill>
                <a:schemeClr val="accent5">
                  <a:hueOff val="5781826"/>
                  <a:lumOff val="34716"/>
                </a:schemeClr>
              </a:solidFill>
              <a:effectLst/>
              <a:uFillTx/>
              <a:latin typeface="Avenir Next Arabic Demi" panose="020B0703020202020204" pitchFamily="34" charset="-78"/>
              <a:ea typeface="Helvetica Neue Medium"/>
              <a:cs typeface="Avenir Next Arabic Demi" panose="020B0703020202020204" pitchFamily="34" charset="-78"/>
              <a:sym typeface="Avenir Next Arabic Demi" panose="020B0703020202020204" pitchFamily="34" charset="-78"/>
            </a:endParaRPr>
          </a:p>
        </p:txBody>
      </p:sp>
      <p:sp>
        <p:nvSpPr>
          <p:cNvPr id="17" name="Diamond 16">
            <a:extLst>
              <a:ext uri="{FF2B5EF4-FFF2-40B4-BE49-F238E27FC236}">
                <a16:creationId xmlns:a16="http://schemas.microsoft.com/office/drawing/2014/main" id="{30741B84-60EC-BB0D-5D4E-35E27582CCC7}"/>
              </a:ext>
            </a:extLst>
          </p:cNvPr>
          <p:cNvSpPr/>
          <p:nvPr userDrawn="1"/>
        </p:nvSpPr>
        <p:spPr>
          <a:xfrm rot="10800000">
            <a:off x="6542056" y="914583"/>
            <a:ext cx="399287" cy="394579"/>
          </a:xfrm>
          <a:prstGeom prst="diamond">
            <a:avLst/>
          </a:prstGeom>
          <a:solidFill>
            <a:srgbClr val="A6D5E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387" tIns="25387" rIns="25387" bIns="25387" numCol="1" spcCol="38100" rtlCol="0" anchor="ctr">
            <a:noAutofit/>
          </a:bodyPr>
          <a:lstStyle/>
          <a:p>
            <a:pPr marL="0" marR="0" indent="0" algn="ctr" defTabSz="412544" rtl="0" fontAlgn="auto" latinLnBrk="0" hangingPunct="0">
              <a:lnSpc>
                <a:spcPct val="100000"/>
              </a:lnSpc>
              <a:spcBef>
                <a:spcPts val="0"/>
              </a:spcBef>
              <a:spcAft>
                <a:spcPts val="0"/>
              </a:spcAft>
              <a:buClrTx/>
              <a:buSzTx/>
              <a:buFontTx/>
              <a:buNone/>
              <a:tabLst/>
            </a:pPr>
            <a:endParaRPr kumimoji="0" lang="en-SA" sz="1599" b="0" i="0" u="none" strike="noStrike" cap="none" spc="0" normalizeH="0" baseline="0">
              <a:ln>
                <a:noFill/>
              </a:ln>
              <a:solidFill>
                <a:schemeClr val="accent5">
                  <a:hueOff val="5781826"/>
                  <a:lumOff val="34716"/>
                </a:schemeClr>
              </a:solidFill>
              <a:effectLst/>
              <a:uFillTx/>
              <a:latin typeface="Avenir Next Arabic Demi" panose="020B0703020202020204" pitchFamily="34" charset="-78"/>
              <a:ea typeface="Helvetica Neue Medium"/>
              <a:cs typeface="Avenir Next Arabic Demi" panose="020B0703020202020204" pitchFamily="34" charset="-78"/>
              <a:sym typeface="Avenir Next Arabic Demi" panose="020B0703020202020204" pitchFamily="34" charset="-78"/>
            </a:endParaRPr>
          </a:p>
        </p:txBody>
      </p:sp>
      <p:sp>
        <p:nvSpPr>
          <p:cNvPr id="19" name="Diamond 18">
            <a:extLst>
              <a:ext uri="{FF2B5EF4-FFF2-40B4-BE49-F238E27FC236}">
                <a16:creationId xmlns:a16="http://schemas.microsoft.com/office/drawing/2014/main" id="{F9A9B5E7-6133-240C-3902-EDCFD5FA196D}"/>
              </a:ext>
            </a:extLst>
          </p:cNvPr>
          <p:cNvSpPr/>
          <p:nvPr userDrawn="1"/>
        </p:nvSpPr>
        <p:spPr>
          <a:xfrm rot="10800000">
            <a:off x="6542056" y="520003"/>
            <a:ext cx="399287" cy="394579"/>
          </a:xfrm>
          <a:prstGeom prst="diamond">
            <a:avLst/>
          </a:prstGeom>
          <a:solidFill>
            <a:srgbClr val="94BCC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387" tIns="25387" rIns="25387" bIns="25387" numCol="1" spcCol="38100" rtlCol="0" anchor="ctr">
            <a:noAutofit/>
          </a:bodyPr>
          <a:lstStyle/>
          <a:p>
            <a:pPr marL="0" marR="0" indent="0" algn="ctr" defTabSz="412544" rtl="0" fontAlgn="auto" latinLnBrk="0" hangingPunct="0">
              <a:lnSpc>
                <a:spcPct val="100000"/>
              </a:lnSpc>
              <a:spcBef>
                <a:spcPts val="0"/>
              </a:spcBef>
              <a:spcAft>
                <a:spcPts val="0"/>
              </a:spcAft>
              <a:buClrTx/>
              <a:buSzTx/>
              <a:buFontTx/>
              <a:buNone/>
              <a:tabLst/>
            </a:pPr>
            <a:endParaRPr kumimoji="0" lang="en-SA" sz="1599" b="0" i="0" u="none" strike="noStrike" cap="none" spc="0" normalizeH="0" baseline="0">
              <a:ln>
                <a:noFill/>
              </a:ln>
              <a:solidFill>
                <a:schemeClr val="accent5">
                  <a:hueOff val="5781826"/>
                  <a:lumOff val="34716"/>
                </a:schemeClr>
              </a:solidFill>
              <a:effectLst/>
              <a:uFillTx/>
              <a:latin typeface="Avenir Next Arabic Demi" panose="020B0703020202020204" pitchFamily="34" charset="-78"/>
              <a:ea typeface="Helvetica Neue Medium"/>
              <a:cs typeface="Avenir Next Arabic Demi" panose="020B0703020202020204" pitchFamily="34" charset="-78"/>
              <a:sym typeface="Avenir Next Arabic Demi" panose="020B0703020202020204" pitchFamily="34" charset="-78"/>
            </a:endParaRPr>
          </a:p>
        </p:txBody>
      </p:sp>
    </p:spTree>
    <p:extLst>
      <p:ext uri="{BB962C8B-B14F-4D97-AF65-F5344CB8AC3E}">
        <p14:creationId xmlns:p14="http://schemas.microsoft.com/office/powerpoint/2010/main" val="1997883151"/>
      </p:ext>
    </p:extLst>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amp; Photo copy">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C6A08FA-88DF-C0EF-2A71-AD23666D9DD4}"/>
              </a:ext>
            </a:extLst>
          </p:cNvPr>
          <p:cNvGraphicFramePr>
            <a:graphicFrameLocks noChangeAspect="1"/>
          </p:cNvGraphicFramePr>
          <p:nvPr userDrawn="1">
            <p:custDataLst>
              <p:tags r:id="rId1"/>
            </p:custDataLst>
            <p:extLst>
              <p:ext uri="{D42A27DB-BD31-4B8C-83A1-F6EECF244321}">
                <p14:modId xmlns:p14="http://schemas.microsoft.com/office/powerpoint/2010/main" val="69993631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think-cell data - do not delete" hidden="1">
                        <a:extLst>
                          <a:ext uri="{FF2B5EF4-FFF2-40B4-BE49-F238E27FC236}">
                            <a16:creationId xmlns:a16="http://schemas.microsoft.com/office/drawing/2014/main" id="{CC6A08FA-88DF-C0EF-2A71-AD23666D9DD4}"/>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pic>
        <p:nvPicPr>
          <p:cNvPr id="15" name="Picture 14" descr="A highway with a bridge over it&#10;&#10;Description automatically generated with medium confidence">
            <a:extLst>
              <a:ext uri="{FF2B5EF4-FFF2-40B4-BE49-F238E27FC236}">
                <a16:creationId xmlns:a16="http://schemas.microsoft.com/office/drawing/2014/main" id="{CD07F1DE-4C30-FD79-A974-191CC21C9B4F}"/>
              </a:ext>
            </a:extLst>
          </p:cNvPr>
          <p:cNvPicPr>
            <a:picLocks noChangeAspect="1"/>
          </p:cNvPicPr>
          <p:nvPr userDrawn="1"/>
        </p:nvPicPr>
        <p:blipFill rotWithShape="1">
          <a:blip r:embed="rId5" cstate="print">
            <a:extLst>
              <a:ext uri="{BEBA8EAE-BF5A-486C-A8C5-ECC9F3942E4B}">
                <a14:imgProps xmlns:a14="http://schemas.microsoft.com/office/drawing/2010/main">
                  <a14:imgLayer r:embed="rId6">
                    <a14:imgEffect>
                      <a14:brightnessContrast bright="17000" contrast="9000"/>
                    </a14:imgEffect>
                  </a14:imgLayer>
                </a14:imgProps>
              </a:ext>
              <a:ext uri="{28A0092B-C50C-407E-A947-70E740481C1C}">
                <a14:useLocalDpi xmlns:a14="http://schemas.microsoft.com/office/drawing/2010/main"/>
              </a:ext>
            </a:extLst>
          </a:blip>
          <a:srcRect/>
          <a:stretch/>
        </p:blipFill>
        <p:spPr>
          <a:xfrm>
            <a:off x="-471" y="1"/>
            <a:ext cx="12192471" cy="3137681"/>
          </a:xfrm>
          <a:prstGeom prst="rect">
            <a:avLst/>
          </a:prstGeom>
        </p:spPr>
      </p:pic>
      <p:sp>
        <p:nvSpPr>
          <p:cNvPr id="6" name="Rectangle 5">
            <a:extLst>
              <a:ext uri="{FF2B5EF4-FFF2-40B4-BE49-F238E27FC236}">
                <a16:creationId xmlns:a16="http://schemas.microsoft.com/office/drawing/2014/main" id="{03494871-3346-46AE-DD1B-CC2274D4E78F}"/>
              </a:ext>
            </a:extLst>
          </p:cNvPr>
          <p:cNvSpPr/>
          <p:nvPr userDrawn="1"/>
        </p:nvSpPr>
        <p:spPr>
          <a:xfrm>
            <a:off x="1" y="4726968"/>
            <a:ext cx="12192000" cy="297363"/>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387" tIns="25387" rIns="25387" bIns="25387" numCol="1" spcCol="38100" rtlCol="0" anchor="ctr">
            <a:spAutoFit/>
          </a:bodyPr>
          <a:lstStyle/>
          <a:p>
            <a:pPr marL="0" marR="0" indent="0" algn="ctr" defTabSz="412544" rtl="0" fontAlgn="auto" latinLnBrk="0" hangingPunct="0">
              <a:lnSpc>
                <a:spcPct val="100000"/>
              </a:lnSpc>
              <a:spcBef>
                <a:spcPts val="0"/>
              </a:spcBef>
              <a:spcAft>
                <a:spcPts val="0"/>
              </a:spcAft>
              <a:buClrTx/>
              <a:buSzTx/>
              <a:buFontTx/>
              <a:buNone/>
              <a:tabLst/>
            </a:pPr>
            <a:endParaRPr kumimoji="0" lang="en-SA" sz="1599" b="0" i="0" u="none" strike="noStrike" cap="none" spc="0" normalizeH="0" baseline="0">
              <a:ln>
                <a:noFill/>
              </a:ln>
              <a:solidFill>
                <a:schemeClr val="accent5">
                  <a:hueOff val="5781826"/>
                  <a:lumOff val="34716"/>
                </a:schemeClr>
              </a:solidFill>
              <a:effectLst/>
              <a:uFillTx/>
              <a:latin typeface="Avenir Next Arabic Demi" panose="020B0703020202020204" pitchFamily="34" charset="-78"/>
              <a:ea typeface="Helvetica Neue Medium"/>
              <a:cs typeface="Avenir Next Arabic Demi" panose="020B0703020202020204" pitchFamily="34" charset="-78"/>
              <a:sym typeface="Avenir Next Arabic Demi" panose="020B0703020202020204" pitchFamily="34" charset="-78"/>
            </a:endParaRPr>
          </a:p>
        </p:txBody>
      </p:sp>
      <p:pic>
        <p:nvPicPr>
          <p:cNvPr id="7" name="Image" descr="Image">
            <a:extLst>
              <a:ext uri="{FF2B5EF4-FFF2-40B4-BE49-F238E27FC236}">
                <a16:creationId xmlns:a16="http://schemas.microsoft.com/office/drawing/2014/main" id="{BDBF76C4-FC88-8070-B8DD-0E362D5A41DE}"/>
              </a:ext>
            </a:extLst>
          </p:cNvPr>
          <p:cNvPicPr>
            <a:picLocks noChangeAspect="1"/>
          </p:cNvPicPr>
          <p:nvPr userDrawn="1"/>
        </p:nvPicPr>
        <p:blipFill rotWithShape="1">
          <a:blip r:embed="rId7" cstate="email">
            <a:alphaModFix amt="80000"/>
            <a:extLst>
              <a:ext uri="{28A0092B-C50C-407E-A947-70E740481C1C}">
                <a14:useLocalDpi xmlns:a14="http://schemas.microsoft.com/office/drawing/2010/main"/>
              </a:ext>
            </a:extLst>
          </a:blip>
          <a:srcRect/>
          <a:stretch/>
        </p:blipFill>
        <p:spPr>
          <a:xfrm>
            <a:off x="-471" y="2408549"/>
            <a:ext cx="12192471" cy="1458264"/>
          </a:xfrm>
          <a:prstGeom prst="rect">
            <a:avLst/>
          </a:prstGeom>
          <a:ln w="12700">
            <a:miter lim="400000"/>
          </a:ln>
        </p:spPr>
      </p:pic>
      <p:sp>
        <p:nvSpPr>
          <p:cNvPr id="8" name="Presentation Title">
            <a:extLst>
              <a:ext uri="{FF2B5EF4-FFF2-40B4-BE49-F238E27FC236}">
                <a16:creationId xmlns:a16="http://schemas.microsoft.com/office/drawing/2014/main" id="{5C760410-325D-326E-3D03-855023356B5B}"/>
              </a:ext>
            </a:extLst>
          </p:cNvPr>
          <p:cNvSpPr txBox="1">
            <a:spLocks noGrp="1"/>
          </p:cNvSpPr>
          <p:nvPr>
            <p:ph type="title" hasCustomPrompt="1"/>
          </p:nvPr>
        </p:nvSpPr>
        <p:spPr>
          <a:xfrm>
            <a:off x="467003" y="3674689"/>
            <a:ext cx="6215152" cy="1154634"/>
          </a:xfrm>
          <a:prstGeom prst="rect">
            <a:avLst/>
          </a:prstGeom>
        </p:spPr>
        <p:txBody>
          <a:bodyPr anchor="b"/>
          <a:lstStyle>
            <a:lvl1pPr algn="r">
              <a:defRPr sz="5797" spc="-116">
                <a:solidFill>
                  <a:srgbClr val="A78B5E"/>
                </a:solidFill>
                <a:latin typeface="Avenir Next Arabic Demi" panose="020B0703020202020204" pitchFamily="34" charset="-78"/>
                <a:cs typeface="Avenir Next Arabic Demi" panose="020B0703020202020204" pitchFamily="34" charset="-78"/>
                <a:sym typeface="Avenir Next Arabic Demi" panose="020B0703020202020204" pitchFamily="34" charset="-78"/>
              </a:defRPr>
            </a:lvl1pPr>
          </a:lstStyle>
          <a:p>
            <a:r>
              <a:rPr lang="ar-SA"/>
              <a:t>عنوان رئيس</a:t>
            </a:r>
            <a:endParaRPr/>
          </a:p>
        </p:txBody>
      </p:sp>
      <p:sp>
        <p:nvSpPr>
          <p:cNvPr id="11" name="Body Level One…">
            <a:extLst>
              <a:ext uri="{FF2B5EF4-FFF2-40B4-BE49-F238E27FC236}">
                <a16:creationId xmlns:a16="http://schemas.microsoft.com/office/drawing/2014/main" id="{8C3B0FE5-F846-C411-0D5A-B7EAD0513910}"/>
              </a:ext>
            </a:extLst>
          </p:cNvPr>
          <p:cNvSpPr txBox="1">
            <a:spLocks noGrp="1"/>
          </p:cNvSpPr>
          <p:nvPr>
            <p:ph type="body" sz="half" idx="1" hasCustomPrompt="1"/>
          </p:nvPr>
        </p:nvSpPr>
        <p:spPr>
          <a:xfrm>
            <a:off x="464424" y="4829322"/>
            <a:ext cx="6215152" cy="1154634"/>
          </a:xfrm>
          <a:prstGeom prst="rect">
            <a:avLst/>
          </a:prstGeom>
        </p:spPr>
        <p:txBody>
          <a:bodyPr/>
          <a:lstStyle>
            <a:lvl1pPr marL="0" indent="0" algn="r" defTabSz="412544">
              <a:lnSpc>
                <a:spcPct val="100000"/>
              </a:lnSpc>
              <a:spcBef>
                <a:spcPts val="0"/>
              </a:spcBef>
              <a:buSzTx/>
              <a:buNone/>
              <a:defRPr sz="1549">
                <a:solidFill>
                  <a:srgbClr val="484B4F"/>
                </a:solidFill>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1pPr>
            <a:lvl2pPr marL="0" indent="228486" algn="r" defTabSz="412544">
              <a:lnSpc>
                <a:spcPct val="100000"/>
              </a:lnSpc>
              <a:spcBef>
                <a:spcPts val="0"/>
              </a:spcBef>
              <a:buSzTx/>
              <a:buNone/>
              <a:defRPr sz="1549">
                <a:solidFill>
                  <a:srgbClr val="484B4F"/>
                </a:solidFill>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2pPr>
            <a:lvl3pPr marL="0" indent="456972" algn="r" defTabSz="412544">
              <a:lnSpc>
                <a:spcPct val="100000"/>
              </a:lnSpc>
              <a:spcBef>
                <a:spcPts val="0"/>
              </a:spcBef>
              <a:buSzTx/>
              <a:buNone/>
              <a:defRPr sz="1549">
                <a:solidFill>
                  <a:srgbClr val="484B4F"/>
                </a:solidFill>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3pPr>
            <a:lvl4pPr marL="0" indent="685457" algn="r" defTabSz="412544">
              <a:lnSpc>
                <a:spcPct val="100000"/>
              </a:lnSpc>
              <a:spcBef>
                <a:spcPts val="0"/>
              </a:spcBef>
              <a:buSzTx/>
              <a:buNone/>
              <a:defRPr sz="1549">
                <a:solidFill>
                  <a:srgbClr val="484B4F"/>
                </a:solidFill>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4pPr>
            <a:lvl5pPr marL="0" indent="913943" algn="r" defTabSz="412544">
              <a:lnSpc>
                <a:spcPct val="100000"/>
              </a:lnSpc>
              <a:spcBef>
                <a:spcPts val="0"/>
              </a:spcBef>
              <a:buSzTx/>
              <a:buNone/>
              <a:defRPr sz="1549">
                <a:solidFill>
                  <a:srgbClr val="484B4F"/>
                </a:solidFill>
                <a:latin typeface="Avenir Next Arabic Demi" panose="020B0703020202020204" pitchFamily="34" charset="-78"/>
                <a:ea typeface="Avenir Next Arabic Demi" panose="020B0703020202020204" pitchFamily="34" charset="-78"/>
                <a:cs typeface="Avenir Next Arabic Demi" panose="020B0703020202020204" pitchFamily="34" charset="-78"/>
                <a:sym typeface="Avenir Next Arabic Demi" panose="020B0703020202020204" pitchFamily="34" charset="-78"/>
              </a:defRPr>
            </a:lvl5pPr>
          </a:lstStyle>
          <a:p>
            <a:r>
              <a:rPr lang="ar-SA"/>
              <a:t>عنوان جانبي</a:t>
            </a:r>
            <a:endParaRPr/>
          </a:p>
          <a:p>
            <a:pPr lvl="1"/>
            <a:endParaRPr/>
          </a:p>
          <a:p>
            <a:pPr lvl="2"/>
            <a:endParaRPr/>
          </a:p>
          <a:p>
            <a:pPr lvl="3"/>
            <a:endParaRPr/>
          </a:p>
          <a:p>
            <a:pPr lvl="4"/>
            <a:endParaRPr/>
          </a:p>
        </p:txBody>
      </p:sp>
      <p:pic>
        <p:nvPicPr>
          <p:cNvPr id="12" name="Picture 11" descr="A black and white logo&#10;&#10;Description automatically generated">
            <a:extLst>
              <a:ext uri="{FF2B5EF4-FFF2-40B4-BE49-F238E27FC236}">
                <a16:creationId xmlns:a16="http://schemas.microsoft.com/office/drawing/2014/main" id="{42288DBC-7872-C22A-9375-5A75DD8B360A}"/>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1444903" y="248985"/>
            <a:ext cx="545133" cy="151376"/>
          </a:xfrm>
          <a:prstGeom prst="rect">
            <a:avLst/>
          </a:prstGeom>
        </p:spPr>
      </p:pic>
      <p:sp>
        <p:nvSpPr>
          <p:cNvPr id="14" name="Slide Number">
            <a:extLst>
              <a:ext uri="{FF2B5EF4-FFF2-40B4-BE49-F238E27FC236}">
                <a16:creationId xmlns:a16="http://schemas.microsoft.com/office/drawing/2014/main" id="{B0DC12C7-DD08-BF4E-360D-A87A857B2583}"/>
              </a:ext>
            </a:extLst>
          </p:cNvPr>
          <p:cNvSpPr txBox="1">
            <a:spLocks/>
          </p:cNvSpPr>
          <p:nvPr userDrawn="1"/>
        </p:nvSpPr>
        <p:spPr>
          <a:xfrm>
            <a:off x="409141" y="181376"/>
            <a:ext cx="268556" cy="235936"/>
          </a:xfrm>
          <a:prstGeom prst="rect">
            <a:avLst/>
          </a:prstGeom>
          <a:ln w="12700">
            <a:miter lim="400000"/>
          </a:ln>
        </p:spPr>
        <p:txBody>
          <a:bodyPr wrap="square" lIns="25387" tIns="25387" rIns="25387" bIns="25387" anchor="b">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584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Neue"/>
              </a:defRPr>
            </a:lvl1pPr>
            <a:lvl2pPr marL="0" marR="0" indent="4572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2pPr>
            <a:lvl3pPr marL="0" marR="0" indent="9144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3pPr>
            <a:lvl4pPr marL="0" marR="0" indent="13716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4pPr>
            <a:lvl5pPr marL="0" marR="0" indent="18288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5pPr>
            <a:lvl6pPr marL="0" marR="0" indent="22860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6pPr>
            <a:lvl7pPr marL="0" marR="0" indent="27432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7pPr>
            <a:lvl8pPr marL="0" marR="0" indent="32004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8pPr>
            <a:lvl9pPr marL="0" marR="0" indent="36576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9pPr>
          </a:lstStyle>
          <a:p>
            <a:fld id="{86CB4B4D-7CA3-9044-876B-883B54F8677D}" type="slidenum">
              <a:rPr lang="en-SA" sz="1200" b="0" i="0" smtClean="0">
                <a:solidFill>
                  <a:srgbClr val="92989D"/>
                </a:solidFill>
                <a:latin typeface="Avenir Next Arabic Demi" panose="020B0703020202020204" pitchFamily="34" charset="-78"/>
                <a:cs typeface="Avenir Next Arabic Demi" panose="020B0703020202020204" pitchFamily="34" charset="-78"/>
                <a:sym typeface="Avenir Next Arabic Demi" panose="020B0703020202020204" pitchFamily="34" charset="-78"/>
              </a:rPr>
              <a:pPr/>
              <a:t>‹#›</a:t>
            </a:fld>
            <a:endParaRPr lang="en-SA" sz="1200" b="0" i="0">
              <a:solidFill>
                <a:srgbClr val="92989D"/>
              </a:solidFill>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pic>
        <p:nvPicPr>
          <p:cNvPr id="10" name="Picture 9" descr="A black and gold logo&#10;&#10;Description automatically generated">
            <a:extLst>
              <a:ext uri="{FF2B5EF4-FFF2-40B4-BE49-F238E27FC236}">
                <a16:creationId xmlns:a16="http://schemas.microsoft.com/office/drawing/2014/main" id="{7C6F9AA0-BFA2-976C-D30A-3F0B5D820020}"/>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8586631" y="3986872"/>
            <a:ext cx="1622585" cy="1886727"/>
          </a:xfrm>
          <a:prstGeom prst="rect">
            <a:avLst/>
          </a:prstGeom>
        </p:spPr>
      </p:pic>
      <p:sp>
        <p:nvSpPr>
          <p:cNvPr id="16" name="Rectangle 15">
            <a:extLst>
              <a:ext uri="{FF2B5EF4-FFF2-40B4-BE49-F238E27FC236}">
                <a16:creationId xmlns:a16="http://schemas.microsoft.com/office/drawing/2014/main" id="{3D448539-68A9-C899-8994-BAF263C37F37}"/>
              </a:ext>
            </a:extLst>
          </p:cNvPr>
          <p:cNvSpPr/>
          <p:nvPr userDrawn="1"/>
        </p:nvSpPr>
        <p:spPr>
          <a:xfrm>
            <a:off x="0" y="3077018"/>
            <a:ext cx="12192471" cy="253330"/>
          </a:xfrm>
          <a:prstGeom prst="rect">
            <a:avLst/>
          </a:prstGeom>
          <a:solidFill>
            <a:srgbClr val="B8986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67">
              <a:latin typeface="Avenir Next Arabic Demi" panose="020B0703020202020204" pitchFamily="34" charset="-78"/>
              <a:cs typeface="Avenir Next Arabic Demi" panose="020B0703020202020204" pitchFamily="34" charset="-78"/>
              <a:sym typeface="Avenir Next Arabic Demi" panose="020B0703020202020204" pitchFamily="34" charset="-78"/>
            </a:endParaRPr>
          </a:p>
        </p:txBody>
      </p:sp>
    </p:spTree>
    <p:extLst>
      <p:ext uri="{BB962C8B-B14F-4D97-AF65-F5344CB8AC3E}">
        <p14:creationId xmlns:p14="http://schemas.microsoft.com/office/powerpoint/2010/main" val="417731800"/>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Header S02V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D6FF304-8F5A-AE9D-9F8A-073146069168}"/>
              </a:ext>
            </a:extLst>
          </p:cNvPr>
          <p:cNvSpPr/>
          <p:nvPr userDrawn="1"/>
        </p:nvSpPr>
        <p:spPr>
          <a:xfrm>
            <a:off x="587376" y="1622423"/>
            <a:ext cx="11017250" cy="361315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Slide Number Placeholder 5">
            <a:extLst>
              <a:ext uri="{FF2B5EF4-FFF2-40B4-BE49-F238E27FC236}">
                <a16:creationId xmlns:a16="http://schemas.microsoft.com/office/drawing/2014/main" id="{752E3F75-A181-1CEF-4892-A00A828F0DEC}"/>
              </a:ext>
            </a:extLst>
          </p:cNvPr>
          <p:cNvSpPr>
            <a:spLocks noGrp="1"/>
          </p:cNvSpPr>
          <p:nvPr>
            <p:ph type="sldNum" sz="quarter" idx="4"/>
          </p:nvPr>
        </p:nvSpPr>
        <p:spPr>
          <a:xfrm>
            <a:off x="11058525" y="6409951"/>
            <a:ext cx="546100" cy="273799"/>
          </a:xfrm>
          <a:prstGeom prst="rect">
            <a:avLst/>
          </a:prstGeom>
        </p:spPr>
        <p:txBody>
          <a:bodyPr vert="horz" lIns="91440" tIns="45720" rIns="91440" bIns="45720" rtlCol="0" anchor="b"/>
          <a:lstStyle>
            <a:lvl1pPr algn="r">
              <a:defRPr sz="1200">
                <a:solidFill>
                  <a:schemeClr val="accent4"/>
                </a:solidFill>
                <a:latin typeface="+mn-lt"/>
              </a:defRPr>
            </a:lvl1pPr>
          </a:lstStyle>
          <a:p>
            <a:fld id="{5E0C3BBE-9543-48E5-A6E1-C646F9A01966}" type="slidenum">
              <a:rPr lang="en-ID" smtClean="0"/>
              <a:pPr/>
              <a:t>‹#›</a:t>
            </a:fld>
            <a:endParaRPr lang="en-ID" dirty="0"/>
          </a:p>
        </p:txBody>
      </p:sp>
      <p:sp>
        <p:nvSpPr>
          <p:cNvPr id="21" name="Footer Placeholder 4">
            <a:extLst>
              <a:ext uri="{FF2B5EF4-FFF2-40B4-BE49-F238E27FC236}">
                <a16:creationId xmlns:a16="http://schemas.microsoft.com/office/drawing/2014/main" id="{FC465D62-3382-034B-3BC4-9FA6DDBCBF3D}"/>
              </a:ext>
            </a:extLst>
          </p:cNvPr>
          <p:cNvSpPr>
            <a:spLocks noGrp="1"/>
          </p:cNvSpPr>
          <p:nvPr>
            <p:ph type="ftr" sz="quarter" idx="3"/>
          </p:nvPr>
        </p:nvSpPr>
        <p:spPr>
          <a:xfrm>
            <a:off x="584200" y="6364288"/>
            <a:ext cx="5511800" cy="365125"/>
          </a:xfrm>
          <a:prstGeom prst="rect">
            <a:avLst/>
          </a:prstGeom>
        </p:spPr>
        <p:txBody>
          <a:bodyPr vert="horz" lIns="91440" tIns="45720" rIns="91440" bIns="45720" rtlCol="0" anchor="ctr"/>
          <a:lstStyle>
            <a:lvl1pPr algn="l">
              <a:defRPr lang="en-GB" sz="1200">
                <a:solidFill>
                  <a:schemeClr val="accent4"/>
                </a:solidFill>
              </a:defRPr>
            </a:lvl1pPr>
          </a:lstStyle>
          <a:p>
            <a:r>
              <a:rPr lang="en-US"/>
              <a:t>PRESENTATION TITLE</a:t>
            </a:r>
            <a:endParaRPr lang="en-US" dirty="0"/>
          </a:p>
        </p:txBody>
      </p:sp>
      <p:sp>
        <p:nvSpPr>
          <p:cNvPr id="80" name="Text Placeholder 29">
            <a:extLst>
              <a:ext uri="{FF2B5EF4-FFF2-40B4-BE49-F238E27FC236}">
                <a16:creationId xmlns:a16="http://schemas.microsoft.com/office/drawing/2014/main" id="{F86EE282-1EF4-62A2-779C-EB878597B925}"/>
              </a:ext>
            </a:extLst>
          </p:cNvPr>
          <p:cNvSpPr>
            <a:spLocks noGrp="1"/>
          </p:cNvSpPr>
          <p:nvPr>
            <p:ph type="body" sz="quarter" idx="39"/>
          </p:nvPr>
        </p:nvSpPr>
        <p:spPr>
          <a:xfrm>
            <a:off x="903288" y="4478427"/>
            <a:ext cx="10387012" cy="323521"/>
          </a:xfrm>
          <a:prstGeom prst="rect">
            <a:avLst/>
          </a:prstGeom>
        </p:spPr>
        <p:txBody>
          <a:bodyPr tIns="0" bIns="0" anchor="t">
            <a:noAutofit/>
          </a:bodyPr>
          <a:lstStyle>
            <a:lvl1pPr marL="0" indent="0" algn="ctr">
              <a:buNone/>
              <a:defRPr sz="1800" b="1">
                <a:solidFill>
                  <a:srgbClr val="FFFFFF"/>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81" name="Title 1">
            <a:extLst>
              <a:ext uri="{FF2B5EF4-FFF2-40B4-BE49-F238E27FC236}">
                <a16:creationId xmlns:a16="http://schemas.microsoft.com/office/drawing/2014/main" id="{4C3A2759-D421-466C-0049-BF74449438BE}"/>
              </a:ext>
            </a:extLst>
          </p:cNvPr>
          <p:cNvSpPr>
            <a:spLocks noGrp="1"/>
          </p:cNvSpPr>
          <p:nvPr>
            <p:ph type="title"/>
          </p:nvPr>
        </p:nvSpPr>
        <p:spPr>
          <a:xfrm>
            <a:off x="903288" y="2294493"/>
            <a:ext cx="10387012" cy="1943100"/>
          </a:xfrm>
        </p:spPr>
        <p:txBody>
          <a:bodyPr anchor="ctr">
            <a:noAutofit/>
          </a:bodyPr>
          <a:lstStyle>
            <a:lvl1pPr algn="ctr">
              <a:defRPr>
                <a:solidFill>
                  <a:srgbClr val="FFFFFF"/>
                </a:solidFill>
              </a:defRPr>
            </a:lvl1pPr>
          </a:lstStyle>
          <a:p>
            <a:r>
              <a:rPr lang="en-US" dirty="0"/>
              <a:t>Click to edit Master title style</a:t>
            </a:r>
            <a:endParaRPr lang="en-ID" dirty="0"/>
          </a:p>
        </p:txBody>
      </p:sp>
      <p:sp>
        <p:nvSpPr>
          <p:cNvPr id="2" name="Rectangle 1">
            <a:extLst>
              <a:ext uri="{FF2B5EF4-FFF2-40B4-BE49-F238E27FC236}">
                <a16:creationId xmlns:a16="http://schemas.microsoft.com/office/drawing/2014/main" id="{F06A6EF3-CA9F-A84F-60F9-29E0269F7913}"/>
              </a:ext>
            </a:extLst>
          </p:cNvPr>
          <p:cNvSpPr/>
          <p:nvPr userDrawn="1"/>
        </p:nvSpPr>
        <p:spPr>
          <a:xfrm rot="5400000">
            <a:off x="6037262" y="4344757"/>
            <a:ext cx="117475" cy="1904998"/>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162713217"/>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S03V1">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D113C14A-F91E-E368-53F3-9FC8BF33B412}"/>
              </a:ext>
            </a:extLst>
          </p:cNvPr>
          <p:cNvSpPr>
            <a:spLocks noGrp="1"/>
          </p:cNvSpPr>
          <p:nvPr>
            <p:ph type="body" sz="quarter" idx="40" hasCustomPrompt="1"/>
          </p:nvPr>
        </p:nvSpPr>
        <p:spPr>
          <a:xfrm>
            <a:off x="5086350" y="1033780"/>
            <a:ext cx="64295" cy="474980"/>
          </a:xfrm>
          <a:custGeom>
            <a:avLst/>
            <a:gdLst>
              <a:gd name="connsiteX0" fmla="*/ 0 w 64295"/>
              <a:gd name="connsiteY0" fmla="*/ 0 h 474980"/>
              <a:gd name="connsiteX1" fmla="*/ 64295 w 64295"/>
              <a:gd name="connsiteY1" fmla="*/ 0 h 474980"/>
              <a:gd name="connsiteX2" fmla="*/ 64295 w 64295"/>
              <a:gd name="connsiteY2" fmla="*/ 474980 h 474980"/>
              <a:gd name="connsiteX3" fmla="*/ 0 w 64295"/>
              <a:gd name="connsiteY3" fmla="*/ 474980 h 474980"/>
            </a:gdLst>
            <a:ahLst/>
            <a:cxnLst>
              <a:cxn ang="0">
                <a:pos x="connsiteX0" y="connsiteY0"/>
              </a:cxn>
              <a:cxn ang="0">
                <a:pos x="connsiteX1" y="connsiteY1"/>
              </a:cxn>
              <a:cxn ang="0">
                <a:pos x="connsiteX2" y="connsiteY2"/>
              </a:cxn>
              <a:cxn ang="0">
                <a:pos x="connsiteX3" y="connsiteY3"/>
              </a:cxn>
            </a:cxnLst>
            <a:rect l="l" t="t" r="r" b="b"/>
            <a:pathLst>
              <a:path w="64295" h="474980">
                <a:moveTo>
                  <a:pt x="0" y="0"/>
                </a:moveTo>
                <a:lnTo>
                  <a:pt x="64295" y="0"/>
                </a:lnTo>
                <a:lnTo>
                  <a:pt x="64295" y="474980"/>
                </a:lnTo>
                <a:lnTo>
                  <a:pt x="0" y="474980"/>
                </a:lnTo>
                <a:close/>
              </a:path>
            </a:pathLst>
          </a:custGeom>
          <a:solidFill>
            <a:schemeClr val="accent3"/>
          </a:solidFill>
        </p:spPr>
        <p:txBody>
          <a:bodyPr wrap="square" tIns="0" bIns="0" anchor="ctr">
            <a:noAutofit/>
          </a:bodyPr>
          <a:lstStyle>
            <a:lvl1pPr marL="0" indent="0">
              <a:buNone/>
              <a:defRPr sz="1000" b="1">
                <a:solidFill>
                  <a:schemeClr val="accent4">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4" name="Rectangle 3">
            <a:extLst>
              <a:ext uri="{FF2B5EF4-FFF2-40B4-BE49-F238E27FC236}">
                <a16:creationId xmlns:a16="http://schemas.microsoft.com/office/drawing/2014/main" id="{DD6FF304-8F5A-AE9D-9F8A-073146069168}"/>
              </a:ext>
            </a:extLst>
          </p:cNvPr>
          <p:cNvSpPr/>
          <p:nvPr userDrawn="1"/>
        </p:nvSpPr>
        <p:spPr>
          <a:xfrm>
            <a:off x="0" y="-1"/>
            <a:ext cx="5086349" cy="6235699"/>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 Placeholder 29">
            <a:extLst>
              <a:ext uri="{FF2B5EF4-FFF2-40B4-BE49-F238E27FC236}">
                <a16:creationId xmlns:a16="http://schemas.microsoft.com/office/drawing/2014/main" id="{F28F550A-A637-E065-107C-7C7A9E6C01FA}"/>
              </a:ext>
            </a:extLst>
          </p:cNvPr>
          <p:cNvSpPr>
            <a:spLocks noGrp="1"/>
          </p:cNvSpPr>
          <p:nvPr>
            <p:ph type="body" sz="quarter" idx="39"/>
          </p:nvPr>
        </p:nvSpPr>
        <p:spPr>
          <a:xfrm>
            <a:off x="5233585" y="1033780"/>
            <a:ext cx="6371039" cy="474980"/>
          </a:xfrm>
          <a:prstGeom prst="rect">
            <a:avLst/>
          </a:prstGeom>
        </p:spPr>
        <p:txBody>
          <a:bodyPr tIns="0" bIns="0" anchor="ctr">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2" name="Title 1">
            <a:extLst>
              <a:ext uri="{FF2B5EF4-FFF2-40B4-BE49-F238E27FC236}">
                <a16:creationId xmlns:a16="http://schemas.microsoft.com/office/drawing/2014/main" id="{1036477C-8D55-B4B8-85DD-DAF85A20D8C5}"/>
              </a:ext>
            </a:extLst>
          </p:cNvPr>
          <p:cNvSpPr>
            <a:spLocks noGrp="1"/>
          </p:cNvSpPr>
          <p:nvPr>
            <p:ph type="title"/>
          </p:nvPr>
        </p:nvSpPr>
        <p:spPr>
          <a:xfrm>
            <a:off x="731444" y="2343150"/>
            <a:ext cx="3564332" cy="2171700"/>
          </a:xfrm>
        </p:spPr>
        <p:txBody>
          <a:bodyPr anchor="ctr">
            <a:noAutofit/>
          </a:bodyPr>
          <a:lstStyle>
            <a:lvl1pPr>
              <a:defRPr>
                <a:solidFill>
                  <a:srgbClr val="FFFFFF"/>
                </a:solidFill>
              </a:defRPr>
            </a:lvl1pPr>
          </a:lstStyle>
          <a:p>
            <a:r>
              <a:rPr lang="en-US" dirty="0"/>
              <a:t>Click to edit Master title style</a:t>
            </a:r>
            <a:endParaRPr lang="en-ID" dirty="0"/>
          </a:p>
        </p:txBody>
      </p:sp>
      <p:sp>
        <p:nvSpPr>
          <p:cNvPr id="11" name="Slide Number Placeholder 5">
            <a:extLst>
              <a:ext uri="{FF2B5EF4-FFF2-40B4-BE49-F238E27FC236}">
                <a16:creationId xmlns:a16="http://schemas.microsoft.com/office/drawing/2014/main" id="{752E3F75-A181-1CEF-4892-A00A828F0DEC}"/>
              </a:ext>
            </a:extLst>
          </p:cNvPr>
          <p:cNvSpPr>
            <a:spLocks noGrp="1"/>
          </p:cNvSpPr>
          <p:nvPr>
            <p:ph type="sldNum" sz="quarter" idx="4"/>
          </p:nvPr>
        </p:nvSpPr>
        <p:spPr>
          <a:xfrm>
            <a:off x="11058525" y="6409951"/>
            <a:ext cx="546100" cy="273799"/>
          </a:xfrm>
          <a:prstGeom prst="rect">
            <a:avLst/>
          </a:prstGeom>
        </p:spPr>
        <p:txBody>
          <a:bodyPr vert="horz" lIns="91440" tIns="45720" rIns="91440" bIns="45720" rtlCol="0" anchor="b"/>
          <a:lstStyle>
            <a:lvl1pPr algn="r">
              <a:defRPr sz="1200">
                <a:solidFill>
                  <a:schemeClr val="accent4"/>
                </a:solidFill>
                <a:latin typeface="+mn-lt"/>
              </a:defRPr>
            </a:lvl1pPr>
          </a:lstStyle>
          <a:p>
            <a:fld id="{5E0C3BBE-9543-48E5-A6E1-C646F9A01966}" type="slidenum">
              <a:rPr lang="en-ID" smtClean="0"/>
              <a:pPr/>
              <a:t>‹#›</a:t>
            </a:fld>
            <a:endParaRPr lang="en-ID" dirty="0"/>
          </a:p>
        </p:txBody>
      </p:sp>
      <p:cxnSp>
        <p:nvCxnSpPr>
          <p:cNvPr id="16" name="Straight Connector 15">
            <a:extLst>
              <a:ext uri="{FF2B5EF4-FFF2-40B4-BE49-F238E27FC236}">
                <a16:creationId xmlns:a16="http://schemas.microsoft.com/office/drawing/2014/main" id="{0657BBCF-CA9E-FB2C-CA76-82D2795FF965}"/>
              </a:ext>
            </a:extLst>
          </p:cNvPr>
          <p:cNvCxnSpPr>
            <a:cxnSpLocks/>
          </p:cNvCxnSpPr>
          <p:nvPr userDrawn="1"/>
        </p:nvCxnSpPr>
        <p:spPr>
          <a:xfrm>
            <a:off x="587375" y="2761200"/>
            <a:ext cx="0" cy="133560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1" name="Footer Placeholder 4">
            <a:extLst>
              <a:ext uri="{FF2B5EF4-FFF2-40B4-BE49-F238E27FC236}">
                <a16:creationId xmlns:a16="http://schemas.microsoft.com/office/drawing/2014/main" id="{FC465D62-3382-034B-3BC4-9FA6DDBCBF3D}"/>
              </a:ext>
            </a:extLst>
          </p:cNvPr>
          <p:cNvSpPr>
            <a:spLocks noGrp="1"/>
          </p:cNvSpPr>
          <p:nvPr>
            <p:ph type="ftr" sz="quarter" idx="3"/>
          </p:nvPr>
        </p:nvSpPr>
        <p:spPr>
          <a:xfrm>
            <a:off x="584200" y="6364288"/>
            <a:ext cx="5511800" cy="365125"/>
          </a:xfrm>
          <a:prstGeom prst="rect">
            <a:avLst/>
          </a:prstGeom>
        </p:spPr>
        <p:txBody>
          <a:bodyPr vert="horz" lIns="91440" tIns="45720" rIns="91440" bIns="45720" rtlCol="0" anchor="ctr"/>
          <a:lstStyle>
            <a:lvl1pPr algn="l">
              <a:defRPr lang="en-GB" sz="1200">
                <a:solidFill>
                  <a:schemeClr val="accent4"/>
                </a:solidFill>
              </a:defRPr>
            </a:lvl1pPr>
          </a:lstStyle>
          <a:p>
            <a:r>
              <a:rPr lang="en-US"/>
              <a:t>PRESENTATION TITLE</a:t>
            </a:r>
            <a:endParaRPr lang="en-US" dirty="0"/>
          </a:p>
        </p:txBody>
      </p:sp>
      <p:sp>
        <p:nvSpPr>
          <p:cNvPr id="61" name="Text Placeholder 60">
            <a:extLst>
              <a:ext uri="{FF2B5EF4-FFF2-40B4-BE49-F238E27FC236}">
                <a16:creationId xmlns:a16="http://schemas.microsoft.com/office/drawing/2014/main" id="{811B2AFA-044A-C36C-021E-F07CB653D8ED}"/>
              </a:ext>
            </a:extLst>
          </p:cNvPr>
          <p:cNvSpPr>
            <a:spLocks noGrp="1"/>
          </p:cNvSpPr>
          <p:nvPr>
            <p:ph type="body" sz="quarter" idx="41" hasCustomPrompt="1"/>
          </p:nvPr>
        </p:nvSpPr>
        <p:spPr>
          <a:xfrm>
            <a:off x="5086350" y="1648461"/>
            <a:ext cx="64295" cy="474980"/>
          </a:xfrm>
          <a:custGeom>
            <a:avLst/>
            <a:gdLst>
              <a:gd name="connsiteX0" fmla="*/ 0 w 64295"/>
              <a:gd name="connsiteY0" fmla="*/ 0 h 474980"/>
              <a:gd name="connsiteX1" fmla="*/ 64295 w 64295"/>
              <a:gd name="connsiteY1" fmla="*/ 0 h 474980"/>
              <a:gd name="connsiteX2" fmla="*/ 64295 w 64295"/>
              <a:gd name="connsiteY2" fmla="*/ 474980 h 474980"/>
              <a:gd name="connsiteX3" fmla="*/ 0 w 64295"/>
              <a:gd name="connsiteY3" fmla="*/ 474980 h 474980"/>
            </a:gdLst>
            <a:ahLst/>
            <a:cxnLst>
              <a:cxn ang="0">
                <a:pos x="connsiteX0" y="connsiteY0"/>
              </a:cxn>
              <a:cxn ang="0">
                <a:pos x="connsiteX1" y="connsiteY1"/>
              </a:cxn>
              <a:cxn ang="0">
                <a:pos x="connsiteX2" y="connsiteY2"/>
              </a:cxn>
              <a:cxn ang="0">
                <a:pos x="connsiteX3" y="connsiteY3"/>
              </a:cxn>
            </a:cxnLst>
            <a:rect l="l" t="t" r="r" b="b"/>
            <a:pathLst>
              <a:path w="64295" h="474980">
                <a:moveTo>
                  <a:pt x="0" y="0"/>
                </a:moveTo>
                <a:lnTo>
                  <a:pt x="64295" y="0"/>
                </a:lnTo>
                <a:lnTo>
                  <a:pt x="64295" y="474980"/>
                </a:lnTo>
                <a:lnTo>
                  <a:pt x="0" y="474980"/>
                </a:lnTo>
                <a:close/>
              </a:path>
            </a:pathLst>
          </a:custGeom>
          <a:solidFill>
            <a:schemeClr val="accent3"/>
          </a:solidFill>
        </p:spPr>
        <p:txBody>
          <a:bodyPr wrap="square" tIns="0" bIns="0" anchor="ctr">
            <a:noAutofit/>
          </a:bodyPr>
          <a:lstStyle>
            <a:lvl1pPr marL="0" indent="0">
              <a:buNone/>
              <a:defRPr sz="1000" b="1">
                <a:solidFill>
                  <a:schemeClr val="accent4">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62" name="Text Placeholder 29">
            <a:extLst>
              <a:ext uri="{FF2B5EF4-FFF2-40B4-BE49-F238E27FC236}">
                <a16:creationId xmlns:a16="http://schemas.microsoft.com/office/drawing/2014/main" id="{E78C0ED6-4AAA-EFB9-FCD1-E8A57F469F17}"/>
              </a:ext>
            </a:extLst>
          </p:cNvPr>
          <p:cNvSpPr>
            <a:spLocks noGrp="1"/>
          </p:cNvSpPr>
          <p:nvPr>
            <p:ph type="body" sz="quarter" idx="42"/>
          </p:nvPr>
        </p:nvSpPr>
        <p:spPr>
          <a:xfrm>
            <a:off x="5233585" y="1648461"/>
            <a:ext cx="6371039" cy="474980"/>
          </a:xfrm>
          <a:prstGeom prst="rect">
            <a:avLst/>
          </a:prstGeom>
        </p:spPr>
        <p:txBody>
          <a:bodyPr tIns="0" bIns="0" anchor="ctr">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63" name="Text Placeholder 62">
            <a:extLst>
              <a:ext uri="{FF2B5EF4-FFF2-40B4-BE49-F238E27FC236}">
                <a16:creationId xmlns:a16="http://schemas.microsoft.com/office/drawing/2014/main" id="{77561A31-0F6B-EC29-74AA-F136A20142E2}"/>
              </a:ext>
            </a:extLst>
          </p:cNvPr>
          <p:cNvSpPr>
            <a:spLocks noGrp="1"/>
          </p:cNvSpPr>
          <p:nvPr>
            <p:ph type="body" sz="quarter" idx="43" hasCustomPrompt="1"/>
          </p:nvPr>
        </p:nvSpPr>
        <p:spPr>
          <a:xfrm>
            <a:off x="5086350" y="2263142"/>
            <a:ext cx="64295" cy="474980"/>
          </a:xfrm>
          <a:custGeom>
            <a:avLst/>
            <a:gdLst>
              <a:gd name="connsiteX0" fmla="*/ 0 w 64295"/>
              <a:gd name="connsiteY0" fmla="*/ 0 h 474980"/>
              <a:gd name="connsiteX1" fmla="*/ 64295 w 64295"/>
              <a:gd name="connsiteY1" fmla="*/ 0 h 474980"/>
              <a:gd name="connsiteX2" fmla="*/ 64295 w 64295"/>
              <a:gd name="connsiteY2" fmla="*/ 474980 h 474980"/>
              <a:gd name="connsiteX3" fmla="*/ 0 w 64295"/>
              <a:gd name="connsiteY3" fmla="*/ 474980 h 474980"/>
            </a:gdLst>
            <a:ahLst/>
            <a:cxnLst>
              <a:cxn ang="0">
                <a:pos x="connsiteX0" y="connsiteY0"/>
              </a:cxn>
              <a:cxn ang="0">
                <a:pos x="connsiteX1" y="connsiteY1"/>
              </a:cxn>
              <a:cxn ang="0">
                <a:pos x="connsiteX2" y="connsiteY2"/>
              </a:cxn>
              <a:cxn ang="0">
                <a:pos x="connsiteX3" y="connsiteY3"/>
              </a:cxn>
            </a:cxnLst>
            <a:rect l="l" t="t" r="r" b="b"/>
            <a:pathLst>
              <a:path w="64295" h="474980">
                <a:moveTo>
                  <a:pt x="0" y="0"/>
                </a:moveTo>
                <a:lnTo>
                  <a:pt x="64295" y="0"/>
                </a:lnTo>
                <a:lnTo>
                  <a:pt x="64295" y="474980"/>
                </a:lnTo>
                <a:lnTo>
                  <a:pt x="0" y="474980"/>
                </a:lnTo>
                <a:close/>
              </a:path>
            </a:pathLst>
          </a:custGeom>
          <a:solidFill>
            <a:schemeClr val="accent3"/>
          </a:solidFill>
        </p:spPr>
        <p:txBody>
          <a:bodyPr wrap="square" tIns="0" bIns="0" anchor="ctr">
            <a:noAutofit/>
          </a:bodyPr>
          <a:lstStyle>
            <a:lvl1pPr marL="0" indent="0">
              <a:buNone/>
              <a:defRPr sz="1000" b="1">
                <a:solidFill>
                  <a:schemeClr val="accent4">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64" name="Text Placeholder 29">
            <a:extLst>
              <a:ext uri="{FF2B5EF4-FFF2-40B4-BE49-F238E27FC236}">
                <a16:creationId xmlns:a16="http://schemas.microsoft.com/office/drawing/2014/main" id="{C8C3894D-D32B-CD32-7B1E-F2C516B79D47}"/>
              </a:ext>
            </a:extLst>
          </p:cNvPr>
          <p:cNvSpPr>
            <a:spLocks noGrp="1"/>
          </p:cNvSpPr>
          <p:nvPr>
            <p:ph type="body" sz="quarter" idx="44"/>
          </p:nvPr>
        </p:nvSpPr>
        <p:spPr>
          <a:xfrm>
            <a:off x="5233585" y="2263142"/>
            <a:ext cx="6371039" cy="474980"/>
          </a:xfrm>
          <a:prstGeom prst="rect">
            <a:avLst/>
          </a:prstGeom>
        </p:spPr>
        <p:txBody>
          <a:bodyPr tIns="0" bIns="0" anchor="ctr">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65" name="Text Placeholder 64">
            <a:extLst>
              <a:ext uri="{FF2B5EF4-FFF2-40B4-BE49-F238E27FC236}">
                <a16:creationId xmlns:a16="http://schemas.microsoft.com/office/drawing/2014/main" id="{95A56C3A-206F-EAD8-B5FC-BF3EA7497040}"/>
              </a:ext>
            </a:extLst>
          </p:cNvPr>
          <p:cNvSpPr>
            <a:spLocks noGrp="1"/>
          </p:cNvSpPr>
          <p:nvPr>
            <p:ph type="body" sz="quarter" idx="45" hasCustomPrompt="1"/>
          </p:nvPr>
        </p:nvSpPr>
        <p:spPr>
          <a:xfrm>
            <a:off x="5086350" y="2877823"/>
            <a:ext cx="64295" cy="474980"/>
          </a:xfrm>
          <a:custGeom>
            <a:avLst/>
            <a:gdLst>
              <a:gd name="connsiteX0" fmla="*/ 0 w 64295"/>
              <a:gd name="connsiteY0" fmla="*/ 0 h 474980"/>
              <a:gd name="connsiteX1" fmla="*/ 64295 w 64295"/>
              <a:gd name="connsiteY1" fmla="*/ 0 h 474980"/>
              <a:gd name="connsiteX2" fmla="*/ 64295 w 64295"/>
              <a:gd name="connsiteY2" fmla="*/ 474980 h 474980"/>
              <a:gd name="connsiteX3" fmla="*/ 0 w 64295"/>
              <a:gd name="connsiteY3" fmla="*/ 474980 h 474980"/>
            </a:gdLst>
            <a:ahLst/>
            <a:cxnLst>
              <a:cxn ang="0">
                <a:pos x="connsiteX0" y="connsiteY0"/>
              </a:cxn>
              <a:cxn ang="0">
                <a:pos x="connsiteX1" y="connsiteY1"/>
              </a:cxn>
              <a:cxn ang="0">
                <a:pos x="connsiteX2" y="connsiteY2"/>
              </a:cxn>
              <a:cxn ang="0">
                <a:pos x="connsiteX3" y="connsiteY3"/>
              </a:cxn>
            </a:cxnLst>
            <a:rect l="l" t="t" r="r" b="b"/>
            <a:pathLst>
              <a:path w="64295" h="474980">
                <a:moveTo>
                  <a:pt x="0" y="0"/>
                </a:moveTo>
                <a:lnTo>
                  <a:pt x="64295" y="0"/>
                </a:lnTo>
                <a:lnTo>
                  <a:pt x="64295" y="474980"/>
                </a:lnTo>
                <a:lnTo>
                  <a:pt x="0" y="474980"/>
                </a:lnTo>
                <a:close/>
              </a:path>
            </a:pathLst>
          </a:custGeom>
          <a:solidFill>
            <a:schemeClr val="accent3"/>
          </a:solidFill>
        </p:spPr>
        <p:txBody>
          <a:bodyPr wrap="square" tIns="0" bIns="0" anchor="ctr">
            <a:noAutofit/>
          </a:bodyPr>
          <a:lstStyle>
            <a:lvl1pPr marL="0" indent="0">
              <a:buNone/>
              <a:defRPr sz="1000" b="1">
                <a:solidFill>
                  <a:schemeClr val="accent4">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66" name="Text Placeholder 29">
            <a:extLst>
              <a:ext uri="{FF2B5EF4-FFF2-40B4-BE49-F238E27FC236}">
                <a16:creationId xmlns:a16="http://schemas.microsoft.com/office/drawing/2014/main" id="{E7964B58-8A41-D8B1-8EDB-58FCBE0AFBA6}"/>
              </a:ext>
            </a:extLst>
          </p:cNvPr>
          <p:cNvSpPr>
            <a:spLocks noGrp="1"/>
          </p:cNvSpPr>
          <p:nvPr>
            <p:ph type="body" sz="quarter" idx="46"/>
          </p:nvPr>
        </p:nvSpPr>
        <p:spPr>
          <a:xfrm>
            <a:off x="5233585" y="2877823"/>
            <a:ext cx="6371039" cy="474980"/>
          </a:xfrm>
          <a:prstGeom prst="rect">
            <a:avLst/>
          </a:prstGeom>
        </p:spPr>
        <p:txBody>
          <a:bodyPr tIns="0" bIns="0" anchor="ctr">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67" name="Text Placeholder 66">
            <a:extLst>
              <a:ext uri="{FF2B5EF4-FFF2-40B4-BE49-F238E27FC236}">
                <a16:creationId xmlns:a16="http://schemas.microsoft.com/office/drawing/2014/main" id="{DF3D4D0D-CC8E-E97F-3260-BD47F04F4BF1}"/>
              </a:ext>
            </a:extLst>
          </p:cNvPr>
          <p:cNvSpPr>
            <a:spLocks noGrp="1"/>
          </p:cNvSpPr>
          <p:nvPr>
            <p:ph type="body" sz="quarter" idx="47" hasCustomPrompt="1"/>
          </p:nvPr>
        </p:nvSpPr>
        <p:spPr>
          <a:xfrm>
            <a:off x="5086350" y="3492504"/>
            <a:ext cx="64295" cy="474980"/>
          </a:xfrm>
          <a:custGeom>
            <a:avLst/>
            <a:gdLst>
              <a:gd name="connsiteX0" fmla="*/ 0 w 64295"/>
              <a:gd name="connsiteY0" fmla="*/ 0 h 474980"/>
              <a:gd name="connsiteX1" fmla="*/ 64295 w 64295"/>
              <a:gd name="connsiteY1" fmla="*/ 0 h 474980"/>
              <a:gd name="connsiteX2" fmla="*/ 64295 w 64295"/>
              <a:gd name="connsiteY2" fmla="*/ 474980 h 474980"/>
              <a:gd name="connsiteX3" fmla="*/ 0 w 64295"/>
              <a:gd name="connsiteY3" fmla="*/ 474980 h 474980"/>
            </a:gdLst>
            <a:ahLst/>
            <a:cxnLst>
              <a:cxn ang="0">
                <a:pos x="connsiteX0" y="connsiteY0"/>
              </a:cxn>
              <a:cxn ang="0">
                <a:pos x="connsiteX1" y="connsiteY1"/>
              </a:cxn>
              <a:cxn ang="0">
                <a:pos x="connsiteX2" y="connsiteY2"/>
              </a:cxn>
              <a:cxn ang="0">
                <a:pos x="connsiteX3" y="connsiteY3"/>
              </a:cxn>
            </a:cxnLst>
            <a:rect l="l" t="t" r="r" b="b"/>
            <a:pathLst>
              <a:path w="64295" h="474980">
                <a:moveTo>
                  <a:pt x="0" y="0"/>
                </a:moveTo>
                <a:lnTo>
                  <a:pt x="64295" y="0"/>
                </a:lnTo>
                <a:lnTo>
                  <a:pt x="64295" y="474980"/>
                </a:lnTo>
                <a:lnTo>
                  <a:pt x="0" y="474980"/>
                </a:lnTo>
                <a:close/>
              </a:path>
            </a:pathLst>
          </a:custGeom>
          <a:solidFill>
            <a:schemeClr val="accent3"/>
          </a:solidFill>
        </p:spPr>
        <p:txBody>
          <a:bodyPr wrap="square" tIns="0" bIns="0" anchor="ctr">
            <a:noAutofit/>
          </a:bodyPr>
          <a:lstStyle>
            <a:lvl1pPr marL="0" indent="0">
              <a:buNone/>
              <a:defRPr sz="1000" b="1">
                <a:solidFill>
                  <a:schemeClr val="accent4">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68" name="Text Placeholder 29">
            <a:extLst>
              <a:ext uri="{FF2B5EF4-FFF2-40B4-BE49-F238E27FC236}">
                <a16:creationId xmlns:a16="http://schemas.microsoft.com/office/drawing/2014/main" id="{57EA9763-E16A-0112-AE6E-C8032ACF5328}"/>
              </a:ext>
            </a:extLst>
          </p:cNvPr>
          <p:cNvSpPr>
            <a:spLocks noGrp="1"/>
          </p:cNvSpPr>
          <p:nvPr>
            <p:ph type="body" sz="quarter" idx="48"/>
          </p:nvPr>
        </p:nvSpPr>
        <p:spPr>
          <a:xfrm>
            <a:off x="5233585" y="3492504"/>
            <a:ext cx="6371039" cy="474980"/>
          </a:xfrm>
          <a:prstGeom prst="rect">
            <a:avLst/>
          </a:prstGeom>
        </p:spPr>
        <p:txBody>
          <a:bodyPr tIns="0" bIns="0" anchor="ctr">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69" name="Text Placeholder 68">
            <a:extLst>
              <a:ext uri="{FF2B5EF4-FFF2-40B4-BE49-F238E27FC236}">
                <a16:creationId xmlns:a16="http://schemas.microsoft.com/office/drawing/2014/main" id="{50030960-DEAA-31E8-F93C-19C0F3B11192}"/>
              </a:ext>
            </a:extLst>
          </p:cNvPr>
          <p:cNvSpPr>
            <a:spLocks noGrp="1"/>
          </p:cNvSpPr>
          <p:nvPr>
            <p:ph type="body" sz="quarter" idx="49" hasCustomPrompt="1"/>
          </p:nvPr>
        </p:nvSpPr>
        <p:spPr>
          <a:xfrm>
            <a:off x="5086350" y="4107185"/>
            <a:ext cx="64295" cy="474980"/>
          </a:xfrm>
          <a:custGeom>
            <a:avLst/>
            <a:gdLst>
              <a:gd name="connsiteX0" fmla="*/ 0 w 64295"/>
              <a:gd name="connsiteY0" fmla="*/ 0 h 474980"/>
              <a:gd name="connsiteX1" fmla="*/ 64295 w 64295"/>
              <a:gd name="connsiteY1" fmla="*/ 0 h 474980"/>
              <a:gd name="connsiteX2" fmla="*/ 64295 w 64295"/>
              <a:gd name="connsiteY2" fmla="*/ 474980 h 474980"/>
              <a:gd name="connsiteX3" fmla="*/ 0 w 64295"/>
              <a:gd name="connsiteY3" fmla="*/ 474980 h 474980"/>
            </a:gdLst>
            <a:ahLst/>
            <a:cxnLst>
              <a:cxn ang="0">
                <a:pos x="connsiteX0" y="connsiteY0"/>
              </a:cxn>
              <a:cxn ang="0">
                <a:pos x="connsiteX1" y="connsiteY1"/>
              </a:cxn>
              <a:cxn ang="0">
                <a:pos x="connsiteX2" y="connsiteY2"/>
              </a:cxn>
              <a:cxn ang="0">
                <a:pos x="connsiteX3" y="connsiteY3"/>
              </a:cxn>
            </a:cxnLst>
            <a:rect l="l" t="t" r="r" b="b"/>
            <a:pathLst>
              <a:path w="64295" h="474980">
                <a:moveTo>
                  <a:pt x="0" y="0"/>
                </a:moveTo>
                <a:lnTo>
                  <a:pt x="64295" y="0"/>
                </a:lnTo>
                <a:lnTo>
                  <a:pt x="64295" y="474980"/>
                </a:lnTo>
                <a:lnTo>
                  <a:pt x="0" y="474980"/>
                </a:lnTo>
                <a:close/>
              </a:path>
            </a:pathLst>
          </a:custGeom>
          <a:solidFill>
            <a:schemeClr val="accent3"/>
          </a:solidFill>
        </p:spPr>
        <p:txBody>
          <a:bodyPr wrap="square" tIns="0" bIns="0" anchor="ctr">
            <a:noAutofit/>
          </a:bodyPr>
          <a:lstStyle>
            <a:lvl1pPr marL="0" indent="0">
              <a:buNone/>
              <a:defRPr sz="1000" b="1">
                <a:solidFill>
                  <a:schemeClr val="accent4">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70" name="Text Placeholder 29">
            <a:extLst>
              <a:ext uri="{FF2B5EF4-FFF2-40B4-BE49-F238E27FC236}">
                <a16:creationId xmlns:a16="http://schemas.microsoft.com/office/drawing/2014/main" id="{335EAFCE-8F0D-D52C-3CCA-E88FAB2D5789}"/>
              </a:ext>
            </a:extLst>
          </p:cNvPr>
          <p:cNvSpPr>
            <a:spLocks noGrp="1"/>
          </p:cNvSpPr>
          <p:nvPr>
            <p:ph type="body" sz="quarter" idx="50"/>
          </p:nvPr>
        </p:nvSpPr>
        <p:spPr>
          <a:xfrm>
            <a:off x="5233585" y="4107185"/>
            <a:ext cx="6371039" cy="474980"/>
          </a:xfrm>
          <a:prstGeom prst="rect">
            <a:avLst/>
          </a:prstGeom>
        </p:spPr>
        <p:txBody>
          <a:bodyPr tIns="0" bIns="0" anchor="ctr">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71" name="Text Placeholder 70">
            <a:extLst>
              <a:ext uri="{FF2B5EF4-FFF2-40B4-BE49-F238E27FC236}">
                <a16:creationId xmlns:a16="http://schemas.microsoft.com/office/drawing/2014/main" id="{6B6646DC-ED17-C9B8-7BAC-C865F4853153}"/>
              </a:ext>
            </a:extLst>
          </p:cNvPr>
          <p:cNvSpPr>
            <a:spLocks noGrp="1"/>
          </p:cNvSpPr>
          <p:nvPr>
            <p:ph type="body" sz="quarter" idx="51" hasCustomPrompt="1"/>
          </p:nvPr>
        </p:nvSpPr>
        <p:spPr>
          <a:xfrm>
            <a:off x="5086350" y="4721866"/>
            <a:ext cx="64295" cy="474980"/>
          </a:xfrm>
          <a:custGeom>
            <a:avLst/>
            <a:gdLst>
              <a:gd name="connsiteX0" fmla="*/ 0 w 64295"/>
              <a:gd name="connsiteY0" fmla="*/ 0 h 474980"/>
              <a:gd name="connsiteX1" fmla="*/ 64295 w 64295"/>
              <a:gd name="connsiteY1" fmla="*/ 0 h 474980"/>
              <a:gd name="connsiteX2" fmla="*/ 64295 w 64295"/>
              <a:gd name="connsiteY2" fmla="*/ 474980 h 474980"/>
              <a:gd name="connsiteX3" fmla="*/ 0 w 64295"/>
              <a:gd name="connsiteY3" fmla="*/ 474980 h 474980"/>
            </a:gdLst>
            <a:ahLst/>
            <a:cxnLst>
              <a:cxn ang="0">
                <a:pos x="connsiteX0" y="connsiteY0"/>
              </a:cxn>
              <a:cxn ang="0">
                <a:pos x="connsiteX1" y="connsiteY1"/>
              </a:cxn>
              <a:cxn ang="0">
                <a:pos x="connsiteX2" y="connsiteY2"/>
              </a:cxn>
              <a:cxn ang="0">
                <a:pos x="connsiteX3" y="connsiteY3"/>
              </a:cxn>
            </a:cxnLst>
            <a:rect l="l" t="t" r="r" b="b"/>
            <a:pathLst>
              <a:path w="64295" h="474980">
                <a:moveTo>
                  <a:pt x="0" y="0"/>
                </a:moveTo>
                <a:lnTo>
                  <a:pt x="64295" y="0"/>
                </a:lnTo>
                <a:lnTo>
                  <a:pt x="64295" y="474980"/>
                </a:lnTo>
                <a:lnTo>
                  <a:pt x="0" y="474980"/>
                </a:lnTo>
                <a:close/>
              </a:path>
            </a:pathLst>
          </a:custGeom>
          <a:solidFill>
            <a:schemeClr val="accent3"/>
          </a:solidFill>
        </p:spPr>
        <p:txBody>
          <a:bodyPr wrap="square" tIns="0" bIns="0" anchor="ctr">
            <a:noAutofit/>
          </a:bodyPr>
          <a:lstStyle>
            <a:lvl1pPr marL="0" indent="0">
              <a:buNone/>
              <a:defRPr sz="1000" b="1">
                <a:solidFill>
                  <a:schemeClr val="accent4">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72" name="Text Placeholder 29">
            <a:extLst>
              <a:ext uri="{FF2B5EF4-FFF2-40B4-BE49-F238E27FC236}">
                <a16:creationId xmlns:a16="http://schemas.microsoft.com/office/drawing/2014/main" id="{4D3773C6-9E41-7F11-9C11-83020A87CE2E}"/>
              </a:ext>
            </a:extLst>
          </p:cNvPr>
          <p:cNvSpPr>
            <a:spLocks noGrp="1"/>
          </p:cNvSpPr>
          <p:nvPr>
            <p:ph type="body" sz="quarter" idx="52"/>
          </p:nvPr>
        </p:nvSpPr>
        <p:spPr>
          <a:xfrm>
            <a:off x="5233585" y="4721866"/>
            <a:ext cx="6371039" cy="474980"/>
          </a:xfrm>
          <a:prstGeom prst="rect">
            <a:avLst/>
          </a:prstGeom>
        </p:spPr>
        <p:txBody>
          <a:bodyPr tIns="0" bIns="0" anchor="ctr">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73" name="Text Placeholder 72">
            <a:extLst>
              <a:ext uri="{FF2B5EF4-FFF2-40B4-BE49-F238E27FC236}">
                <a16:creationId xmlns:a16="http://schemas.microsoft.com/office/drawing/2014/main" id="{6FEBD0ED-9E29-AAE1-53AD-36C907E671F8}"/>
              </a:ext>
            </a:extLst>
          </p:cNvPr>
          <p:cNvSpPr>
            <a:spLocks noGrp="1"/>
          </p:cNvSpPr>
          <p:nvPr>
            <p:ph type="body" sz="quarter" idx="53" hasCustomPrompt="1"/>
          </p:nvPr>
        </p:nvSpPr>
        <p:spPr>
          <a:xfrm>
            <a:off x="5086350" y="5336547"/>
            <a:ext cx="64295" cy="474980"/>
          </a:xfrm>
          <a:custGeom>
            <a:avLst/>
            <a:gdLst>
              <a:gd name="connsiteX0" fmla="*/ 0 w 64295"/>
              <a:gd name="connsiteY0" fmla="*/ 0 h 474980"/>
              <a:gd name="connsiteX1" fmla="*/ 64295 w 64295"/>
              <a:gd name="connsiteY1" fmla="*/ 0 h 474980"/>
              <a:gd name="connsiteX2" fmla="*/ 64295 w 64295"/>
              <a:gd name="connsiteY2" fmla="*/ 474980 h 474980"/>
              <a:gd name="connsiteX3" fmla="*/ 0 w 64295"/>
              <a:gd name="connsiteY3" fmla="*/ 474980 h 474980"/>
            </a:gdLst>
            <a:ahLst/>
            <a:cxnLst>
              <a:cxn ang="0">
                <a:pos x="connsiteX0" y="connsiteY0"/>
              </a:cxn>
              <a:cxn ang="0">
                <a:pos x="connsiteX1" y="connsiteY1"/>
              </a:cxn>
              <a:cxn ang="0">
                <a:pos x="connsiteX2" y="connsiteY2"/>
              </a:cxn>
              <a:cxn ang="0">
                <a:pos x="connsiteX3" y="connsiteY3"/>
              </a:cxn>
            </a:cxnLst>
            <a:rect l="l" t="t" r="r" b="b"/>
            <a:pathLst>
              <a:path w="64295" h="474980">
                <a:moveTo>
                  <a:pt x="0" y="0"/>
                </a:moveTo>
                <a:lnTo>
                  <a:pt x="64295" y="0"/>
                </a:lnTo>
                <a:lnTo>
                  <a:pt x="64295" y="474980"/>
                </a:lnTo>
                <a:lnTo>
                  <a:pt x="0" y="474980"/>
                </a:lnTo>
                <a:close/>
              </a:path>
            </a:pathLst>
          </a:custGeom>
          <a:solidFill>
            <a:schemeClr val="accent3"/>
          </a:solidFill>
        </p:spPr>
        <p:txBody>
          <a:bodyPr wrap="square" tIns="0" bIns="0" anchor="ctr">
            <a:noAutofit/>
          </a:bodyPr>
          <a:lstStyle>
            <a:lvl1pPr marL="0" indent="0">
              <a:buNone/>
              <a:defRPr sz="1000" b="1">
                <a:solidFill>
                  <a:schemeClr val="accent4">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74" name="Text Placeholder 29">
            <a:extLst>
              <a:ext uri="{FF2B5EF4-FFF2-40B4-BE49-F238E27FC236}">
                <a16:creationId xmlns:a16="http://schemas.microsoft.com/office/drawing/2014/main" id="{269CBBE2-6FC6-E558-760E-5D918AD813EA}"/>
              </a:ext>
            </a:extLst>
          </p:cNvPr>
          <p:cNvSpPr>
            <a:spLocks noGrp="1"/>
          </p:cNvSpPr>
          <p:nvPr>
            <p:ph type="body" sz="quarter" idx="54"/>
          </p:nvPr>
        </p:nvSpPr>
        <p:spPr>
          <a:xfrm>
            <a:off x="5233585" y="5336547"/>
            <a:ext cx="6371039" cy="474980"/>
          </a:xfrm>
          <a:prstGeom prst="rect">
            <a:avLst/>
          </a:prstGeom>
        </p:spPr>
        <p:txBody>
          <a:bodyPr tIns="0" bIns="0" anchor="ctr">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Tree>
    <p:extLst>
      <p:ext uri="{BB962C8B-B14F-4D97-AF65-F5344CB8AC3E}">
        <p14:creationId xmlns:p14="http://schemas.microsoft.com/office/powerpoint/2010/main" val="2893245423"/>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S03V2">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660035A9-FF24-F5AF-5182-A3914CCC1030}"/>
              </a:ext>
            </a:extLst>
          </p:cNvPr>
          <p:cNvGrpSpPr/>
          <p:nvPr userDrawn="1"/>
        </p:nvGrpSpPr>
        <p:grpSpPr>
          <a:xfrm flipV="1">
            <a:off x="587375" y="3782853"/>
            <a:ext cx="11017250" cy="2452846"/>
            <a:chOff x="587375" y="3782853"/>
            <a:chExt cx="11017250" cy="2452846"/>
          </a:xfrm>
        </p:grpSpPr>
        <p:sp>
          <p:nvSpPr>
            <p:cNvPr id="8" name="Rectangle 7">
              <a:extLst>
                <a:ext uri="{FF2B5EF4-FFF2-40B4-BE49-F238E27FC236}">
                  <a16:creationId xmlns:a16="http://schemas.microsoft.com/office/drawing/2014/main" id="{9441AC7B-FDFF-B7EA-80AB-81299E4C8A1B}"/>
                </a:ext>
              </a:extLst>
            </p:cNvPr>
            <p:cNvSpPr/>
            <p:nvPr userDrawn="1"/>
          </p:nvSpPr>
          <p:spPr>
            <a:xfrm>
              <a:off x="587375" y="3782853"/>
              <a:ext cx="11017250" cy="2452846"/>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3C278148-A0BB-C425-A419-556F60508034}"/>
                </a:ext>
              </a:extLst>
            </p:cNvPr>
            <p:cNvSpPr/>
            <p:nvPr userDrawn="1"/>
          </p:nvSpPr>
          <p:spPr>
            <a:xfrm rot="5400000">
              <a:off x="6037262" y="5224463"/>
              <a:ext cx="117475" cy="1904998"/>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sp>
        <p:nvSpPr>
          <p:cNvPr id="17" name="Text Placeholder 16">
            <a:extLst>
              <a:ext uri="{FF2B5EF4-FFF2-40B4-BE49-F238E27FC236}">
                <a16:creationId xmlns:a16="http://schemas.microsoft.com/office/drawing/2014/main" id="{D113C14A-F91E-E368-53F3-9FC8BF33B412}"/>
              </a:ext>
            </a:extLst>
          </p:cNvPr>
          <p:cNvSpPr>
            <a:spLocks noGrp="1"/>
          </p:cNvSpPr>
          <p:nvPr>
            <p:ph type="body" sz="quarter" idx="40" hasCustomPrompt="1"/>
          </p:nvPr>
        </p:nvSpPr>
        <p:spPr>
          <a:xfrm>
            <a:off x="5086350" y="863820"/>
            <a:ext cx="64295" cy="474980"/>
          </a:xfrm>
          <a:custGeom>
            <a:avLst/>
            <a:gdLst>
              <a:gd name="connsiteX0" fmla="*/ 0 w 64295"/>
              <a:gd name="connsiteY0" fmla="*/ 0 h 474980"/>
              <a:gd name="connsiteX1" fmla="*/ 64295 w 64295"/>
              <a:gd name="connsiteY1" fmla="*/ 0 h 474980"/>
              <a:gd name="connsiteX2" fmla="*/ 64295 w 64295"/>
              <a:gd name="connsiteY2" fmla="*/ 474980 h 474980"/>
              <a:gd name="connsiteX3" fmla="*/ 0 w 64295"/>
              <a:gd name="connsiteY3" fmla="*/ 474980 h 474980"/>
            </a:gdLst>
            <a:ahLst/>
            <a:cxnLst>
              <a:cxn ang="0">
                <a:pos x="connsiteX0" y="connsiteY0"/>
              </a:cxn>
              <a:cxn ang="0">
                <a:pos x="connsiteX1" y="connsiteY1"/>
              </a:cxn>
              <a:cxn ang="0">
                <a:pos x="connsiteX2" y="connsiteY2"/>
              </a:cxn>
              <a:cxn ang="0">
                <a:pos x="connsiteX3" y="connsiteY3"/>
              </a:cxn>
            </a:cxnLst>
            <a:rect l="l" t="t" r="r" b="b"/>
            <a:pathLst>
              <a:path w="64295" h="474980">
                <a:moveTo>
                  <a:pt x="0" y="0"/>
                </a:moveTo>
                <a:lnTo>
                  <a:pt x="64295" y="0"/>
                </a:lnTo>
                <a:lnTo>
                  <a:pt x="64295" y="474980"/>
                </a:lnTo>
                <a:lnTo>
                  <a:pt x="0" y="474980"/>
                </a:lnTo>
                <a:close/>
              </a:path>
            </a:pathLst>
          </a:custGeom>
          <a:solidFill>
            <a:schemeClr val="accent3"/>
          </a:solidFill>
        </p:spPr>
        <p:txBody>
          <a:bodyPr wrap="square" tIns="0" bIns="0" anchor="ctr">
            <a:noAutofit/>
          </a:bodyPr>
          <a:lstStyle>
            <a:lvl1pPr marL="0" indent="0">
              <a:buNone/>
              <a:defRPr sz="1000" b="1">
                <a:solidFill>
                  <a:schemeClr val="accent4">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4" name="Rectangle 3">
            <a:extLst>
              <a:ext uri="{FF2B5EF4-FFF2-40B4-BE49-F238E27FC236}">
                <a16:creationId xmlns:a16="http://schemas.microsoft.com/office/drawing/2014/main" id="{DD6FF304-8F5A-AE9D-9F8A-073146069168}"/>
              </a:ext>
            </a:extLst>
          </p:cNvPr>
          <p:cNvSpPr/>
          <p:nvPr userDrawn="1"/>
        </p:nvSpPr>
        <p:spPr>
          <a:xfrm>
            <a:off x="0" y="584200"/>
            <a:ext cx="5086349" cy="28448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 Placeholder 29">
            <a:extLst>
              <a:ext uri="{FF2B5EF4-FFF2-40B4-BE49-F238E27FC236}">
                <a16:creationId xmlns:a16="http://schemas.microsoft.com/office/drawing/2014/main" id="{F28F550A-A637-E065-107C-7C7A9E6C01FA}"/>
              </a:ext>
            </a:extLst>
          </p:cNvPr>
          <p:cNvSpPr>
            <a:spLocks noGrp="1"/>
          </p:cNvSpPr>
          <p:nvPr>
            <p:ph type="body" sz="quarter" idx="39"/>
          </p:nvPr>
        </p:nvSpPr>
        <p:spPr>
          <a:xfrm>
            <a:off x="5233585" y="863820"/>
            <a:ext cx="6371039" cy="474980"/>
          </a:xfrm>
          <a:prstGeom prst="rect">
            <a:avLst/>
          </a:prstGeom>
        </p:spPr>
        <p:txBody>
          <a:bodyPr tIns="0" bIns="0" anchor="ctr">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2" name="Title 1">
            <a:extLst>
              <a:ext uri="{FF2B5EF4-FFF2-40B4-BE49-F238E27FC236}">
                <a16:creationId xmlns:a16="http://schemas.microsoft.com/office/drawing/2014/main" id="{1036477C-8D55-B4B8-85DD-DAF85A20D8C5}"/>
              </a:ext>
            </a:extLst>
          </p:cNvPr>
          <p:cNvSpPr>
            <a:spLocks noGrp="1"/>
          </p:cNvSpPr>
          <p:nvPr>
            <p:ph type="title"/>
          </p:nvPr>
        </p:nvSpPr>
        <p:spPr>
          <a:xfrm>
            <a:off x="731443" y="920750"/>
            <a:ext cx="3680533" cy="2171700"/>
          </a:xfrm>
        </p:spPr>
        <p:txBody>
          <a:bodyPr anchor="ctr">
            <a:noAutofit/>
          </a:bodyPr>
          <a:lstStyle>
            <a:lvl1pPr>
              <a:defRPr>
                <a:solidFill>
                  <a:srgbClr val="FFFFFF"/>
                </a:solidFill>
              </a:defRPr>
            </a:lvl1pPr>
          </a:lstStyle>
          <a:p>
            <a:r>
              <a:rPr lang="en-US" dirty="0"/>
              <a:t>Click to edit Master title style</a:t>
            </a:r>
            <a:endParaRPr lang="en-ID" dirty="0"/>
          </a:p>
        </p:txBody>
      </p:sp>
      <p:sp>
        <p:nvSpPr>
          <p:cNvPr id="11" name="Slide Number Placeholder 5">
            <a:extLst>
              <a:ext uri="{FF2B5EF4-FFF2-40B4-BE49-F238E27FC236}">
                <a16:creationId xmlns:a16="http://schemas.microsoft.com/office/drawing/2014/main" id="{752E3F75-A181-1CEF-4892-A00A828F0DEC}"/>
              </a:ext>
            </a:extLst>
          </p:cNvPr>
          <p:cNvSpPr>
            <a:spLocks noGrp="1"/>
          </p:cNvSpPr>
          <p:nvPr>
            <p:ph type="sldNum" sz="quarter" idx="4"/>
          </p:nvPr>
        </p:nvSpPr>
        <p:spPr>
          <a:xfrm>
            <a:off x="11058525" y="6409951"/>
            <a:ext cx="546100" cy="273799"/>
          </a:xfrm>
          <a:prstGeom prst="rect">
            <a:avLst/>
          </a:prstGeom>
        </p:spPr>
        <p:txBody>
          <a:bodyPr vert="horz" lIns="91440" tIns="45720" rIns="91440" bIns="45720" rtlCol="0" anchor="b"/>
          <a:lstStyle>
            <a:lvl1pPr algn="r">
              <a:defRPr sz="1200">
                <a:solidFill>
                  <a:schemeClr val="accent4"/>
                </a:solidFill>
                <a:latin typeface="+mn-lt"/>
              </a:defRPr>
            </a:lvl1pPr>
          </a:lstStyle>
          <a:p>
            <a:fld id="{5E0C3BBE-9543-48E5-A6E1-C646F9A01966}" type="slidenum">
              <a:rPr lang="en-ID" smtClean="0"/>
              <a:pPr/>
              <a:t>‹#›</a:t>
            </a:fld>
            <a:endParaRPr lang="en-ID" dirty="0"/>
          </a:p>
        </p:txBody>
      </p:sp>
      <p:cxnSp>
        <p:nvCxnSpPr>
          <p:cNvPr id="16" name="Straight Connector 15">
            <a:extLst>
              <a:ext uri="{FF2B5EF4-FFF2-40B4-BE49-F238E27FC236}">
                <a16:creationId xmlns:a16="http://schemas.microsoft.com/office/drawing/2014/main" id="{0657BBCF-CA9E-FB2C-CA76-82D2795FF965}"/>
              </a:ext>
            </a:extLst>
          </p:cNvPr>
          <p:cNvCxnSpPr>
            <a:cxnSpLocks/>
          </p:cNvCxnSpPr>
          <p:nvPr userDrawn="1"/>
        </p:nvCxnSpPr>
        <p:spPr>
          <a:xfrm>
            <a:off x="587375" y="1338800"/>
            <a:ext cx="0" cy="133560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1" name="Footer Placeholder 4">
            <a:extLst>
              <a:ext uri="{FF2B5EF4-FFF2-40B4-BE49-F238E27FC236}">
                <a16:creationId xmlns:a16="http://schemas.microsoft.com/office/drawing/2014/main" id="{FC465D62-3382-034B-3BC4-9FA6DDBCBF3D}"/>
              </a:ext>
            </a:extLst>
          </p:cNvPr>
          <p:cNvSpPr>
            <a:spLocks noGrp="1"/>
          </p:cNvSpPr>
          <p:nvPr>
            <p:ph type="ftr" sz="quarter" idx="3"/>
          </p:nvPr>
        </p:nvSpPr>
        <p:spPr>
          <a:xfrm>
            <a:off x="584200" y="6364288"/>
            <a:ext cx="5511800" cy="365125"/>
          </a:xfrm>
          <a:prstGeom prst="rect">
            <a:avLst/>
          </a:prstGeom>
        </p:spPr>
        <p:txBody>
          <a:bodyPr vert="horz" lIns="91440" tIns="45720" rIns="91440" bIns="45720" rtlCol="0" anchor="ctr"/>
          <a:lstStyle>
            <a:lvl1pPr algn="l">
              <a:defRPr lang="en-GB" sz="1200">
                <a:solidFill>
                  <a:schemeClr val="accent4"/>
                </a:solidFill>
              </a:defRPr>
            </a:lvl1pPr>
          </a:lstStyle>
          <a:p>
            <a:r>
              <a:rPr lang="en-US"/>
              <a:t>PRESENTATION TITLE</a:t>
            </a:r>
            <a:endParaRPr lang="en-US" dirty="0"/>
          </a:p>
        </p:txBody>
      </p:sp>
      <p:sp>
        <p:nvSpPr>
          <p:cNvPr id="61" name="Text Placeholder 60">
            <a:extLst>
              <a:ext uri="{FF2B5EF4-FFF2-40B4-BE49-F238E27FC236}">
                <a16:creationId xmlns:a16="http://schemas.microsoft.com/office/drawing/2014/main" id="{811B2AFA-044A-C36C-021E-F07CB653D8ED}"/>
              </a:ext>
            </a:extLst>
          </p:cNvPr>
          <p:cNvSpPr>
            <a:spLocks noGrp="1"/>
          </p:cNvSpPr>
          <p:nvPr>
            <p:ph type="body" sz="quarter" idx="41" hasCustomPrompt="1"/>
          </p:nvPr>
        </p:nvSpPr>
        <p:spPr>
          <a:xfrm>
            <a:off x="5086350" y="1478501"/>
            <a:ext cx="64295" cy="474980"/>
          </a:xfrm>
          <a:custGeom>
            <a:avLst/>
            <a:gdLst>
              <a:gd name="connsiteX0" fmla="*/ 0 w 64295"/>
              <a:gd name="connsiteY0" fmla="*/ 0 h 474980"/>
              <a:gd name="connsiteX1" fmla="*/ 64295 w 64295"/>
              <a:gd name="connsiteY1" fmla="*/ 0 h 474980"/>
              <a:gd name="connsiteX2" fmla="*/ 64295 w 64295"/>
              <a:gd name="connsiteY2" fmla="*/ 474980 h 474980"/>
              <a:gd name="connsiteX3" fmla="*/ 0 w 64295"/>
              <a:gd name="connsiteY3" fmla="*/ 474980 h 474980"/>
            </a:gdLst>
            <a:ahLst/>
            <a:cxnLst>
              <a:cxn ang="0">
                <a:pos x="connsiteX0" y="connsiteY0"/>
              </a:cxn>
              <a:cxn ang="0">
                <a:pos x="connsiteX1" y="connsiteY1"/>
              </a:cxn>
              <a:cxn ang="0">
                <a:pos x="connsiteX2" y="connsiteY2"/>
              </a:cxn>
              <a:cxn ang="0">
                <a:pos x="connsiteX3" y="connsiteY3"/>
              </a:cxn>
            </a:cxnLst>
            <a:rect l="l" t="t" r="r" b="b"/>
            <a:pathLst>
              <a:path w="64295" h="474980">
                <a:moveTo>
                  <a:pt x="0" y="0"/>
                </a:moveTo>
                <a:lnTo>
                  <a:pt x="64295" y="0"/>
                </a:lnTo>
                <a:lnTo>
                  <a:pt x="64295" y="474980"/>
                </a:lnTo>
                <a:lnTo>
                  <a:pt x="0" y="474980"/>
                </a:lnTo>
                <a:close/>
              </a:path>
            </a:pathLst>
          </a:custGeom>
          <a:solidFill>
            <a:schemeClr val="accent3"/>
          </a:solidFill>
        </p:spPr>
        <p:txBody>
          <a:bodyPr wrap="square" tIns="0" bIns="0" anchor="ctr">
            <a:noAutofit/>
          </a:bodyPr>
          <a:lstStyle>
            <a:lvl1pPr marL="0" indent="0">
              <a:buNone/>
              <a:defRPr sz="1000" b="1">
                <a:solidFill>
                  <a:schemeClr val="accent4">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62" name="Text Placeholder 29">
            <a:extLst>
              <a:ext uri="{FF2B5EF4-FFF2-40B4-BE49-F238E27FC236}">
                <a16:creationId xmlns:a16="http://schemas.microsoft.com/office/drawing/2014/main" id="{E78C0ED6-4AAA-EFB9-FCD1-E8A57F469F17}"/>
              </a:ext>
            </a:extLst>
          </p:cNvPr>
          <p:cNvSpPr>
            <a:spLocks noGrp="1"/>
          </p:cNvSpPr>
          <p:nvPr>
            <p:ph type="body" sz="quarter" idx="42"/>
          </p:nvPr>
        </p:nvSpPr>
        <p:spPr>
          <a:xfrm>
            <a:off x="5233585" y="1478501"/>
            <a:ext cx="6371039" cy="474980"/>
          </a:xfrm>
          <a:prstGeom prst="rect">
            <a:avLst/>
          </a:prstGeom>
        </p:spPr>
        <p:txBody>
          <a:bodyPr tIns="0" bIns="0" anchor="ctr">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63" name="Text Placeholder 62">
            <a:extLst>
              <a:ext uri="{FF2B5EF4-FFF2-40B4-BE49-F238E27FC236}">
                <a16:creationId xmlns:a16="http://schemas.microsoft.com/office/drawing/2014/main" id="{77561A31-0F6B-EC29-74AA-F136A20142E2}"/>
              </a:ext>
            </a:extLst>
          </p:cNvPr>
          <p:cNvSpPr>
            <a:spLocks noGrp="1"/>
          </p:cNvSpPr>
          <p:nvPr>
            <p:ph type="body" sz="quarter" idx="43" hasCustomPrompt="1"/>
          </p:nvPr>
        </p:nvSpPr>
        <p:spPr>
          <a:xfrm>
            <a:off x="5086350" y="2093182"/>
            <a:ext cx="64295" cy="474980"/>
          </a:xfrm>
          <a:custGeom>
            <a:avLst/>
            <a:gdLst>
              <a:gd name="connsiteX0" fmla="*/ 0 w 64295"/>
              <a:gd name="connsiteY0" fmla="*/ 0 h 474980"/>
              <a:gd name="connsiteX1" fmla="*/ 64295 w 64295"/>
              <a:gd name="connsiteY1" fmla="*/ 0 h 474980"/>
              <a:gd name="connsiteX2" fmla="*/ 64295 w 64295"/>
              <a:gd name="connsiteY2" fmla="*/ 474980 h 474980"/>
              <a:gd name="connsiteX3" fmla="*/ 0 w 64295"/>
              <a:gd name="connsiteY3" fmla="*/ 474980 h 474980"/>
            </a:gdLst>
            <a:ahLst/>
            <a:cxnLst>
              <a:cxn ang="0">
                <a:pos x="connsiteX0" y="connsiteY0"/>
              </a:cxn>
              <a:cxn ang="0">
                <a:pos x="connsiteX1" y="connsiteY1"/>
              </a:cxn>
              <a:cxn ang="0">
                <a:pos x="connsiteX2" y="connsiteY2"/>
              </a:cxn>
              <a:cxn ang="0">
                <a:pos x="connsiteX3" y="connsiteY3"/>
              </a:cxn>
            </a:cxnLst>
            <a:rect l="l" t="t" r="r" b="b"/>
            <a:pathLst>
              <a:path w="64295" h="474980">
                <a:moveTo>
                  <a:pt x="0" y="0"/>
                </a:moveTo>
                <a:lnTo>
                  <a:pt x="64295" y="0"/>
                </a:lnTo>
                <a:lnTo>
                  <a:pt x="64295" y="474980"/>
                </a:lnTo>
                <a:lnTo>
                  <a:pt x="0" y="474980"/>
                </a:lnTo>
                <a:close/>
              </a:path>
            </a:pathLst>
          </a:custGeom>
          <a:solidFill>
            <a:schemeClr val="accent3"/>
          </a:solidFill>
        </p:spPr>
        <p:txBody>
          <a:bodyPr wrap="square" tIns="0" bIns="0" anchor="ctr">
            <a:noAutofit/>
          </a:bodyPr>
          <a:lstStyle>
            <a:lvl1pPr marL="0" indent="0">
              <a:buNone/>
              <a:defRPr sz="1000" b="1">
                <a:solidFill>
                  <a:schemeClr val="accent4">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64" name="Text Placeholder 29">
            <a:extLst>
              <a:ext uri="{FF2B5EF4-FFF2-40B4-BE49-F238E27FC236}">
                <a16:creationId xmlns:a16="http://schemas.microsoft.com/office/drawing/2014/main" id="{C8C3894D-D32B-CD32-7B1E-F2C516B79D47}"/>
              </a:ext>
            </a:extLst>
          </p:cNvPr>
          <p:cNvSpPr>
            <a:spLocks noGrp="1"/>
          </p:cNvSpPr>
          <p:nvPr>
            <p:ph type="body" sz="quarter" idx="44"/>
          </p:nvPr>
        </p:nvSpPr>
        <p:spPr>
          <a:xfrm>
            <a:off x="5233585" y="2093182"/>
            <a:ext cx="6371039" cy="474980"/>
          </a:xfrm>
          <a:prstGeom prst="rect">
            <a:avLst/>
          </a:prstGeom>
        </p:spPr>
        <p:txBody>
          <a:bodyPr tIns="0" bIns="0" anchor="ctr">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65" name="Text Placeholder 64">
            <a:extLst>
              <a:ext uri="{FF2B5EF4-FFF2-40B4-BE49-F238E27FC236}">
                <a16:creationId xmlns:a16="http://schemas.microsoft.com/office/drawing/2014/main" id="{95A56C3A-206F-EAD8-B5FC-BF3EA7497040}"/>
              </a:ext>
            </a:extLst>
          </p:cNvPr>
          <p:cNvSpPr>
            <a:spLocks noGrp="1"/>
          </p:cNvSpPr>
          <p:nvPr>
            <p:ph type="body" sz="quarter" idx="45" hasCustomPrompt="1"/>
          </p:nvPr>
        </p:nvSpPr>
        <p:spPr>
          <a:xfrm>
            <a:off x="5086350" y="2707863"/>
            <a:ext cx="64295" cy="474980"/>
          </a:xfrm>
          <a:custGeom>
            <a:avLst/>
            <a:gdLst>
              <a:gd name="connsiteX0" fmla="*/ 0 w 64295"/>
              <a:gd name="connsiteY0" fmla="*/ 0 h 474980"/>
              <a:gd name="connsiteX1" fmla="*/ 64295 w 64295"/>
              <a:gd name="connsiteY1" fmla="*/ 0 h 474980"/>
              <a:gd name="connsiteX2" fmla="*/ 64295 w 64295"/>
              <a:gd name="connsiteY2" fmla="*/ 474980 h 474980"/>
              <a:gd name="connsiteX3" fmla="*/ 0 w 64295"/>
              <a:gd name="connsiteY3" fmla="*/ 474980 h 474980"/>
            </a:gdLst>
            <a:ahLst/>
            <a:cxnLst>
              <a:cxn ang="0">
                <a:pos x="connsiteX0" y="connsiteY0"/>
              </a:cxn>
              <a:cxn ang="0">
                <a:pos x="connsiteX1" y="connsiteY1"/>
              </a:cxn>
              <a:cxn ang="0">
                <a:pos x="connsiteX2" y="connsiteY2"/>
              </a:cxn>
              <a:cxn ang="0">
                <a:pos x="connsiteX3" y="connsiteY3"/>
              </a:cxn>
            </a:cxnLst>
            <a:rect l="l" t="t" r="r" b="b"/>
            <a:pathLst>
              <a:path w="64295" h="474980">
                <a:moveTo>
                  <a:pt x="0" y="0"/>
                </a:moveTo>
                <a:lnTo>
                  <a:pt x="64295" y="0"/>
                </a:lnTo>
                <a:lnTo>
                  <a:pt x="64295" y="474980"/>
                </a:lnTo>
                <a:lnTo>
                  <a:pt x="0" y="474980"/>
                </a:lnTo>
                <a:close/>
              </a:path>
            </a:pathLst>
          </a:custGeom>
          <a:solidFill>
            <a:schemeClr val="accent3"/>
          </a:solidFill>
        </p:spPr>
        <p:txBody>
          <a:bodyPr wrap="square" tIns="0" bIns="0" anchor="ctr">
            <a:noAutofit/>
          </a:bodyPr>
          <a:lstStyle>
            <a:lvl1pPr marL="0" indent="0">
              <a:buNone/>
              <a:defRPr sz="1000" b="1">
                <a:solidFill>
                  <a:schemeClr val="accent4">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66" name="Text Placeholder 29">
            <a:extLst>
              <a:ext uri="{FF2B5EF4-FFF2-40B4-BE49-F238E27FC236}">
                <a16:creationId xmlns:a16="http://schemas.microsoft.com/office/drawing/2014/main" id="{E7964B58-8A41-D8B1-8EDB-58FCBE0AFBA6}"/>
              </a:ext>
            </a:extLst>
          </p:cNvPr>
          <p:cNvSpPr>
            <a:spLocks noGrp="1"/>
          </p:cNvSpPr>
          <p:nvPr>
            <p:ph type="body" sz="quarter" idx="46"/>
          </p:nvPr>
        </p:nvSpPr>
        <p:spPr>
          <a:xfrm>
            <a:off x="5233585" y="2707863"/>
            <a:ext cx="6371039" cy="474980"/>
          </a:xfrm>
          <a:prstGeom prst="rect">
            <a:avLst/>
          </a:prstGeom>
        </p:spPr>
        <p:txBody>
          <a:bodyPr tIns="0" bIns="0" anchor="ctr">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9" name="Picture Placeholder 11">
            <a:extLst>
              <a:ext uri="{FF2B5EF4-FFF2-40B4-BE49-F238E27FC236}">
                <a16:creationId xmlns:a16="http://schemas.microsoft.com/office/drawing/2014/main" id="{7FEAEC78-CBED-438F-1CFE-067AC96B97B5}"/>
              </a:ext>
            </a:extLst>
          </p:cNvPr>
          <p:cNvSpPr>
            <a:spLocks noGrp="1"/>
          </p:cNvSpPr>
          <p:nvPr>
            <p:ph type="pic" sz="quarter" idx="10"/>
          </p:nvPr>
        </p:nvSpPr>
        <p:spPr>
          <a:xfrm>
            <a:off x="704850" y="3900328"/>
            <a:ext cx="10782300" cy="2333625"/>
          </a:xfrm>
          <a:prstGeom prst="rect">
            <a:avLst/>
          </a:prstGeom>
          <a:solidFill>
            <a:schemeClr val="accent2">
              <a:lumMod val="20000"/>
              <a:lumOff val="80000"/>
            </a:schemeClr>
          </a:solidFill>
        </p:spPr>
        <p:txBody>
          <a:bodyPr anchor="ctr">
            <a:normAutofit/>
          </a:bodyPr>
          <a:lstStyle>
            <a:lvl1pPr marL="0" indent="0" algn="ctr">
              <a:buNone/>
              <a:defRPr sz="1333"/>
            </a:lvl1pPr>
          </a:lstStyle>
          <a:p>
            <a:endParaRPr lang="en-ID"/>
          </a:p>
        </p:txBody>
      </p:sp>
    </p:spTree>
    <p:extLst>
      <p:ext uri="{BB962C8B-B14F-4D97-AF65-F5344CB8AC3E}">
        <p14:creationId xmlns:p14="http://schemas.microsoft.com/office/powerpoint/2010/main" val="162104983"/>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ummary S04V1">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752E3F75-A181-1CEF-4892-A00A828F0DEC}"/>
              </a:ext>
            </a:extLst>
          </p:cNvPr>
          <p:cNvSpPr>
            <a:spLocks noGrp="1"/>
          </p:cNvSpPr>
          <p:nvPr>
            <p:ph type="sldNum" sz="quarter" idx="4"/>
          </p:nvPr>
        </p:nvSpPr>
        <p:spPr>
          <a:xfrm>
            <a:off x="11058525" y="6409951"/>
            <a:ext cx="546100" cy="273799"/>
          </a:xfrm>
          <a:prstGeom prst="rect">
            <a:avLst/>
          </a:prstGeom>
        </p:spPr>
        <p:txBody>
          <a:bodyPr vert="horz" lIns="91440" tIns="45720" rIns="91440" bIns="45720" rtlCol="0" anchor="b"/>
          <a:lstStyle>
            <a:lvl1pPr algn="r">
              <a:defRPr sz="1200">
                <a:solidFill>
                  <a:schemeClr val="accent4"/>
                </a:solidFill>
                <a:latin typeface="+mn-lt"/>
              </a:defRPr>
            </a:lvl1pPr>
          </a:lstStyle>
          <a:p>
            <a:fld id="{5E0C3BBE-9543-48E5-A6E1-C646F9A01966}" type="slidenum">
              <a:rPr lang="en-ID" smtClean="0"/>
              <a:pPr/>
              <a:t>‹#›</a:t>
            </a:fld>
            <a:endParaRPr lang="en-ID" dirty="0"/>
          </a:p>
        </p:txBody>
      </p:sp>
      <p:sp>
        <p:nvSpPr>
          <p:cNvPr id="21" name="Footer Placeholder 4">
            <a:extLst>
              <a:ext uri="{FF2B5EF4-FFF2-40B4-BE49-F238E27FC236}">
                <a16:creationId xmlns:a16="http://schemas.microsoft.com/office/drawing/2014/main" id="{FC465D62-3382-034B-3BC4-9FA6DDBCBF3D}"/>
              </a:ext>
            </a:extLst>
          </p:cNvPr>
          <p:cNvSpPr>
            <a:spLocks noGrp="1"/>
          </p:cNvSpPr>
          <p:nvPr>
            <p:ph type="ftr" sz="quarter" idx="3"/>
          </p:nvPr>
        </p:nvSpPr>
        <p:spPr>
          <a:xfrm>
            <a:off x="584200" y="6364288"/>
            <a:ext cx="5511800" cy="365125"/>
          </a:xfrm>
          <a:prstGeom prst="rect">
            <a:avLst/>
          </a:prstGeom>
        </p:spPr>
        <p:txBody>
          <a:bodyPr vert="horz" lIns="91440" tIns="45720" rIns="91440" bIns="45720" rtlCol="0" anchor="ctr"/>
          <a:lstStyle>
            <a:lvl1pPr algn="l">
              <a:defRPr lang="en-GB" sz="1200">
                <a:solidFill>
                  <a:schemeClr val="accent4"/>
                </a:solidFill>
              </a:defRPr>
            </a:lvl1pPr>
          </a:lstStyle>
          <a:p>
            <a:r>
              <a:rPr lang="en-US"/>
              <a:t>PRESENTATION TITLE</a:t>
            </a:r>
            <a:endParaRPr lang="en-US" dirty="0"/>
          </a:p>
        </p:txBody>
      </p:sp>
      <p:sp>
        <p:nvSpPr>
          <p:cNvPr id="27" name="Text Placeholder 16">
            <a:extLst>
              <a:ext uri="{FF2B5EF4-FFF2-40B4-BE49-F238E27FC236}">
                <a16:creationId xmlns:a16="http://schemas.microsoft.com/office/drawing/2014/main" id="{0FFB1B8D-7AAD-0B62-F76D-6964122D4631}"/>
              </a:ext>
            </a:extLst>
          </p:cNvPr>
          <p:cNvSpPr>
            <a:spLocks noGrp="1"/>
          </p:cNvSpPr>
          <p:nvPr>
            <p:ph type="body" sz="quarter" idx="41" hasCustomPrompt="1"/>
          </p:nvPr>
        </p:nvSpPr>
        <p:spPr>
          <a:xfrm>
            <a:off x="4250544" y="2164935"/>
            <a:ext cx="64295" cy="474980"/>
          </a:xfrm>
          <a:custGeom>
            <a:avLst/>
            <a:gdLst>
              <a:gd name="connsiteX0" fmla="*/ 0 w 64295"/>
              <a:gd name="connsiteY0" fmla="*/ 0 h 474980"/>
              <a:gd name="connsiteX1" fmla="*/ 64295 w 64295"/>
              <a:gd name="connsiteY1" fmla="*/ 0 h 474980"/>
              <a:gd name="connsiteX2" fmla="*/ 64295 w 64295"/>
              <a:gd name="connsiteY2" fmla="*/ 474980 h 474980"/>
              <a:gd name="connsiteX3" fmla="*/ 0 w 64295"/>
              <a:gd name="connsiteY3" fmla="*/ 474980 h 474980"/>
            </a:gdLst>
            <a:ahLst/>
            <a:cxnLst>
              <a:cxn ang="0">
                <a:pos x="connsiteX0" y="connsiteY0"/>
              </a:cxn>
              <a:cxn ang="0">
                <a:pos x="connsiteX1" y="connsiteY1"/>
              </a:cxn>
              <a:cxn ang="0">
                <a:pos x="connsiteX2" y="connsiteY2"/>
              </a:cxn>
              <a:cxn ang="0">
                <a:pos x="connsiteX3" y="connsiteY3"/>
              </a:cxn>
            </a:cxnLst>
            <a:rect l="l" t="t" r="r" b="b"/>
            <a:pathLst>
              <a:path w="64295" h="474980">
                <a:moveTo>
                  <a:pt x="0" y="0"/>
                </a:moveTo>
                <a:lnTo>
                  <a:pt x="64295" y="0"/>
                </a:lnTo>
                <a:lnTo>
                  <a:pt x="64295" y="474980"/>
                </a:lnTo>
                <a:lnTo>
                  <a:pt x="0" y="474980"/>
                </a:lnTo>
                <a:close/>
              </a:path>
            </a:pathLst>
          </a:custGeom>
          <a:solidFill>
            <a:schemeClr val="accent3"/>
          </a:solidFill>
        </p:spPr>
        <p:txBody>
          <a:bodyPr wrap="square" tIns="0" bIns="0" anchor="ctr">
            <a:noAutofit/>
          </a:bodyPr>
          <a:lstStyle>
            <a:lvl1pPr marL="0" indent="0">
              <a:buNone/>
              <a:defRPr sz="1000" b="1">
                <a:solidFill>
                  <a:schemeClr val="accent4">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28" name="Text Placeholder 29">
            <a:extLst>
              <a:ext uri="{FF2B5EF4-FFF2-40B4-BE49-F238E27FC236}">
                <a16:creationId xmlns:a16="http://schemas.microsoft.com/office/drawing/2014/main" id="{C8B15BD3-2A3F-B505-D2C1-0332B340314E}"/>
              </a:ext>
            </a:extLst>
          </p:cNvPr>
          <p:cNvSpPr>
            <a:spLocks noGrp="1"/>
          </p:cNvSpPr>
          <p:nvPr>
            <p:ph type="body" sz="quarter" idx="42"/>
          </p:nvPr>
        </p:nvSpPr>
        <p:spPr>
          <a:xfrm>
            <a:off x="4397779" y="2098895"/>
            <a:ext cx="7206846" cy="607060"/>
          </a:xfrm>
          <a:prstGeom prst="rect">
            <a:avLst/>
          </a:prstGeom>
        </p:spPr>
        <p:txBody>
          <a:bodyPr tIns="0" bIns="0" anchor="ctr">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37" name="Rectangle 36">
            <a:extLst>
              <a:ext uri="{FF2B5EF4-FFF2-40B4-BE49-F238E27FC236}">
                <a16:creationId xmlns:a16="http://schemas.microsoft.com/office/drawing/2014/main" id="{EB6055E9-E6F7-641B-80FB-0B939D173EF4}"/>
              </a:ext>
            </a:extLst>
          </p:cNvPr>
          <p:cNvSpPr/>
          <p:nvPr userDrawn="1"/>
        </p:nvSpPr>
        <p:spPr>
          <a:xfrm>
            <a:off x="4079876" y="593363"/>
            <a:ext cx="8112124" cy="130211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8" name="Title 1">
            <a:extLst>
              <a:ext uri="{FF2B5EF4-FFF2-40B4-BE49-F238E27FC236}">
                <a16:creationId xmlns:a16="http://schemas.microsoft.com/office/drawing/2014/main" id="{A830DC25-802B-19A0-E4B3-1D633449CFAA}"/>
              </a:ext>
            </a:extLst>
          </p:cNvPr>
          <p:cNvSpPr>
            <a:spLocks noGrp="1"/>
          </p:cNvSpPr>
          <p:nvPr>
            <p:ph type="title" hasCustomPrompt="1"/>
          </p:nvPr>
        </p:nvSpPr>
        <p:spPr>
          <a:xfrm>
            <a:off x="4397779" y="696887"/>
            <a:ext cx="7206841" cy="1095064"/>
          </a:xfrm>
        </p:spPr>
        <p:txBody>
          <a:bodyPr anchor="ctr">
            <a:noAutofit/>
          </a:bodyPr>
          <a:lstStyle>
            <a:lvl1pPr>
              <a:defRPr>
                <a:solidFill>
                  <a:srgbClr val="FFFFFF"/>
                </a:solidFill>
              </a:defRPr>
            </a:lvl1pPr>
          </a:lstStyle>
          <a:p>
            <a:r>
              <a:rPr lang="en-US" dirty="0"/>
              <a:t>Click to edit Master text</a:t>
            </a:r>
            <a:endParaRPr lang="en-ID" dirty="0"/>
          </a:p>
        </p:txBody>
      </p:sp>
      <p:cxnSp>
        <p:nvCxnSpPr>
          <p:cNvPr id="39" name="Straight Connector 38">
            <a:extLst>
              <a:ext uri="{FF2B5EF4-FFF2-40B4-BE49-F238E27FC236}">
                <a16:creationId xmlns:a16="http://schemas.microsoft.com/office/drawing/2014/main" id="{0990EA30-774B-C58A-0F2E-BA47E1EB0D86}"/>
              </a:ext>
            </a:extLst>
          </p:cNvPr>
          <p:cNvCxnSpPr>
            <a:cxnSpLocks/>
          </p:cNvCxnSpPr>
          <p:nvPr userDrawn="1"/>
        </p:nvCxnSpPr>
        <p:spPr>
          <a:xfrm>
            <a:off x="4253711" y="696887"/>
            <a:ext cx="0" cy="1095064"/>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42" name="Text Placeholder 16">
            <a:extLst>
              <a:ext uri="{FF2B5EF4-FFF2-40B4-BE49-F238E27FC236}">
                <a16:creationId xmlns:a16="http://schemas.microsoft.com/office/drawing/2014/main" id="{639F1C6C-BB59-58E7-1E81-91812893CE70}"/>
              </a:ext>
            </a:extLst>
          </p:cNvPr>
          <p:cNvSpPr>
            <a:spLocks noGrp="1"/>
          </p:cNvSpPr>
          <p:nvPr>
            <p:ph type="body" sz="quarter" idx="43" hasCustomPrompt="1"/>
          </p:nvPr>
        </p:nvSpPr>
        <p:spPr>
          <a:xfrm>
            <a:off x="4250544" y="2995503"/>
            <a:ext cx="64295" cy="474980"/>
          </a:xfrm>
          <a:custGeom>
            <a:avLst/>
            <a:gdLst>
              <a:gd name="connsiteX0" fmla="*/ 0 w 64295"/>
              <a:gd name="connsiteY0" fmla="*/ 0 h 474980"/>
              <a:gd name="connsiteX1" fmla="*/ 64295 w 64295"/>
              <a:gd name="connsiteY1" fmla="*/ 0 h 474980"/>
              <a:gd name="connsiteX2" fmla="*/ 64295 w 64295"/>
              <a:gd name="connsiteY2" fmla="*/ 474980 h 474980"/>
              <a:gd name="connsiteX3" fmla="*/ 0 w 64295"/>
              <a:gd name="connsiteY3" fmla="*/ 474980 h 474980"/>
            </a:gdLst>
            <a:ahLst/>
            <a:cxnLst>
              <a:cxn ang="0">
                <a:pos x="connsiteX0" y="connsiteY0"/>
              </a:cxn>
              <a:cxn ang="0">
                <a:pos x="connsiteX1" y="connsiteY1"/>
              </a:cxn>
              <a:cxn ang="0">
                <a:pos x="connsiteX2" y="connsiteY2"/>
              </a:cxn>
              <a:cxn ang="0">
                <a:pos x="connsiteX3" y="connsiteY3"/>
              </a:cxn>
            </a:cxnLst>
            <a:rect l="l" t="t" r="r" b="b"/>
            <a:pathLst>
              <a:path w="64295" h="474980">
                <a:moveTo>
                  <a:pt x="0" y="0"/>
                </a:moveTo>
                <a:lnTo>
                  <a:pt x="64295" y="0"/>
                </a:lnTo>
                <a:lnTo>
                  <a:pt x="64295" y="474980"/>
                </a:lnTo>
                <a:lnTo>
                  <a:pt x="0" y="474980"/>
                </a:lnTo>
                <a:close/>
              </a:path>
            </a:pathLst>
          </a:custGeom>
          <a:solidFill>
            <a:schemeClr val="accent3"/>
          </a:solidFill>
        </p:spPr>
        <p:txBody>
          <a:bodyPr wrap="square" tIns="0" bIns="0" anchor="ctr">
            <a:noAutofit/>
          </a:bodyPr>
          <a:lstStyle>
            <a:lvl1pPr marL="0" indent="0">
              <a:buNone/>
              <a:defRPr sz="1000" b="1">
                <a:solidFill>
                  <a:schemeClr val="accent4">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43" name="Text Placeholder 29">
            <a:extLst>
              <a:ext uri="{FF2B5EF4-FFF2-40B4-BE49-F238E27FC236}">
                <a16:creationId xmlns:a16="http://schemas.microsoft.com/office/drawing/2014/main" id="{2527CCD0-482E-202A-43B0-D766A243E650}"/>
              </a:ext>
            </a:extLst>
          </p:cNvPr>
          <p:cNvSpPr>
            <a:spLocks noGrp="1"/>
          </p:cNvSpPr>
          <p:nvPr>
            <p:ph type="body" sz="quarter" idx="44"/>
          </p:nvPr>
        </p:nvSpPr>
        <p:spPr>
          <a:xfrm>
            <a:off x="4397779" y="2929463"/>
            <a:ext cx="7206846" cy="607060"/>
          </a:xfrm>
          <a:prstGeom prst="rect">
            <a:avLst/>
          </a:prstGeom>
        </p:spPr>
        <p:txBody>
          <a:bodyPr tIns="0" bIns="0" anchor="ctr">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44" name="Text Placeholder 16">
            <a:extLst>
              <a:ext uri="{FF2B5EF4-FFF2-40B4-BE49-F238E27FC236}">
                <a16:creationId xmlns:a16="http://schemas.microsoft.com/office/drawing/2014/main" id="{74587298-4FAA-6464-EA9C-B59BE403C60E}"/>
              </a:ext>
            </a:extLst>
          </p:cNvPr>
          <p:cNvSpPr>
            <a:spLocks noGrp="1"/>
          </p:cNvSpPr>
          <p:nvPr>
            <p:ph type="body" sz="quarter" idx="45" hasCustomPrompt="1"/>
          </p:nvPr>
        </p:nvSpPr>
        <p:spPr>
          <a:xfrm>
            <a:off x="4250544" y="3826071"/>
            <a:ext cx="64295" cy="474980"/>
          </a:xfrm>
          <a:custGeom>
            <a:avLst/>
            <a:gdLst>
              <a:gd name="connsiteX0" fmla="*/ 0 w 64295"/>
              <a:gd name="connsiteY0" fmla="*/ 0 h 474980"/>
              <a:gd name="connsiteX1" fmla="*/ 64295 w 64295"/>
              <a:gd name="connsiteY1" fmla="*/ 0 h 474980"/>
              <a:gd name="connsiteX2" fmla="*/ 64295 w 64295"/>
              <a:gd name="connsiteY2" fmla="*/ 474980 h 474980"/>
              <a:gd name="connsiteX3" fmla="*/ 0 w 64295"/>
              <a:gd name="connsiteY3" fmla="*/ 474980 h 474980"/>
            </a:gdLst>
            <a:ahLst/>
            <a:cxnLst>
              <a:cxn ang="0">
                <a:pos x="connsiteX0" y="connsiteY0"/>
              </a:cxn>
              <a:cxn ang="0">
                <a:pos x="connsiteX1" y="connsiteY1"/>
              </a:cxn>
              <a:cxn ang="0">
                <a:pos x="connsiteX2" y="connsiteY2"/>
              </a:cxn>
              <a:cxn ang="0">
                <a:pos x="connsiteX3" y="connsiteY3"/>
              </a:cxn>
            </a:cxnLst>
            <a:rect l="l" t="t" r="r" b="b"/>
            <a:pathLst>
              <a:path w="64295" h="474980">
                <a:moveTo>
                  <a:pt x="0" y="0"/>
                </a:moveTo>
                <a:lnTo>
                  <a:pt x="64295" y="0"/>
                </a:lnTo>
                <a:lnTo>
                  <a:pt x="64295" y="474980"/>
                </a:lnTo>
                <a:lnTo>
                  <a:pt x="0" y="474980"/>
                </a:lnTo>
                <a:close/>
              </a:path>
            </a:pathLst>
          </a:custGeom>
          <a:solidFill>
            <a:schemeClr val="accent3"/>
          </a:solidFill>
        </p:spPr>
        <p:txBody>
          <a:bodyPr wrap="square" tIns="0" bIns="0" anchor="ctr">
            <a:noAutofit/>
          </a:bodyPr>
          <a:lstStyle>
            <a:lvl1pPr marL="0" indent="0">
              <a:buNone/>
              <a:defRPr sz="1000" b="1">
                <a:solidFill>
                  <a:schemeClr val="accent4">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45" name="Text Placeholder 29">
            <a:extLst>
              <a:ext uri="{FF2B5EF4-FFF2-40B4-BE49-F238E27FC236}">
                <a16:creationId xmlns:a16="http://schemas.microsoft.com/office/drawing/2014/main" id="{81B86203-E913-D3E3-6642-EF37EB507949}"/>
              </a:ext>
            </a:extLst>
          </p:cNvPr>
          <p:cNvSpPr>
            <a:spLocks noGrp="1"/>
          </p:cNvSpPr>
          <p:nvPr>
            <p:ph type="body" sz="quarter" idx="46"/>
          </p:nvPr>
        </p:nvSpPr>
        <p:spPr>
          <a:xfrm>
            <a:off x="4397779" y="3760031"/>
            <a:ext cx="7206846" cy="607060"/>
          </a:xfrm>
          <a:prstGeom prst="rect">
            <a:avLst/>
          </a:prstGeom>
        </p:spPr>
        <p:txBody>
          <a:bodyPr tIns="0" bIns="0" anchor="ctr">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46" name="Text Placeholder 16">
            <a:extLst>
              <a:ext uri="{FF2B5EF4-FFF2-40B4-BE49-F238E27FC236}">
                <a16:creationId xmlns:a16="http://schemas.microsoft.com/office/drawing/2014/main" id="{E15B20AD-6668-A82D-9445-5A496E722FCD}"/>
              </a:ext>
            </a:extLst>
          </p:cNvPr>
          <p:cNvSpPr>
            <a:spLocks noGrp="1"/>
          </p:cNvSpPr>
          <p:nvPr>
            <p:ph type="body" sz="quarter" idx="47" hasCustomPrompt="1"/>
          </p:nvPr>
        </p:nvSpPr>
        <p:spPr>
          <a:xfrm>
            <a:off x="4250544" y="4656639"/>
            <a:ext cx="64295" cy="474980"/>
          </a:xfrm>
          <a:custGeom>
            <a:avLst/>
            <a:gdLst>
              <a:gd name="connsiteX0" fmla="*/ 0 w 64295"/>
              <a:gd name="connsiteY0" fmla="*/ 0 h 474980"/>
              <a:gd name="connsiteX1" fmla="*/ 64295 w 64295"/>
              <a:gd name="connsiteY1" fmla="*/ 0 h 474980"/>
              <a:gd name="connsiteX2" fmla="*/ 64295 w 64295"/>
              <a:gd name="connsiteY2" fmla="*/ 474980 h 474980"/>
              <a:gd name="connsiteX3" fmla="*/ 0 w 64295"/>
              <a:gd name="connsiteY3" fmla="*/ 474980 h 474980"/>
            </a:gdLst>
            <a:ahLst/>
            <a:cxnLst>
              <a:cxn ang="0">
                <a:pos x="connsiteX0" y="connsiteY0"/>
              </a:cxn>
              <a:cxn ang="0">
                <a:pos x="connsiteX1" y="connsiteY1"/>
              </a:cxn>
              <a:cxn ang="0">
                <a:pos x="connsiteX2" y="connsiteY2"/>
              </a:cxn>
              <a:cxn ang="0">
                <a:pos x="connsiteX3" y="connsiteY3"/>
              </a:cxn>
            </a:cxnLst>
            <a:rect l="l" t="t" r="r" b="b"/>
            <a:pathLst>
              <a:path w="64295" h="474980">
                <a:moveTo>
                  <a:pt x="0" y="0"/>
                </a:moveTo>
                <a:lnTo>
                  <a:pt x="64295" y="0"/>
                </a:lnTo>
                <a:lnTo>
                  <a:pt x="64295" y="474980"/>
                </a:lnTo>
                <a:lnTo>
                  <a:pt x="0" y="474980"/>
                </a:lnTo>
                <a:close/>
              </a:path>
            </a:pathLst>
          </a:custGeom>
          <a:solidFill>
            <a:schemeClr val="accent3"/>
          </a:solidFill>
        </p:spPr>
        <p:txBody>
          <a:bodyPr wrap="square" tIns="0" bIns="0" anchor="ctr">
            <a:noAutofit/>
          </a:bodyPr>
          <a:lstStyle>
            <a:lvl1pPr marL="0" indent="0">
              <a:buNone/>
              <a:defRPr sz="1000" b="1">
                <a:solidFill>
                  <a:schemeClr val="accent4">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47" name="Text Placeholder 29">
            <a:extLst>
              <a:ext uri="{FF2B5EF4-FFF2-40B4-BE49-F238E27FC236}">
                <a16:creationId xmlns:a16="http://schemas.microsoft.com/office/drawing/2014/main" id="{D66A7128-1B7C-EA25-B14F-427F785C99E9}"/>
              </a:ext>
            </a:extLst>
          </p:cNvPr>
          <p:cNvSpPr>
            <a:spLocks noGrp="1"/>
          </p:cNvSpPr>
          <p:nvPr>
            <p:ph type="body" sz="quarter" idx="48"/>
          </p:nvPr>
        </p:nvSpPr>
        <p:spPr>
          <a:xfrm>
            <a:off x="4397779" y="4590599"/>
            <a:ext cx="7206846" cy="607060"/>
          </a:xfrm>
          <a:prstGeom prst="rect">
            <a:avLst/>
          </a:prstGeom>
        </p:spPr>
        <p:txBody>
          <a:bodyPr tIns="0" bIns="0" anchor="ctr">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48" name="Text Placeholder 16">
            <a:extLst>
              <a:ext uri="{FF2B5EF4-FFF2-40B4-BE49-F238E27FC236}">
                <a16:creationId xmlns:a16="http://schemas.microsoft.com/office/drawing/2014/main" id="{2DC4498E-5031-CDF7-F1A6-A4EF750AEAA2}"/>
              </a:ext>
            </a:extLst>
          </p:cNvPr>
          <p:cNvSpPr>
            <a:spLocks noGrp="1"/>
          </p:cNvSpPr>
          <p:nvPr>
            <p:ph type="body" sz="quarter" idx="49" hasCustomPrompt="1"/>
          </p:nvPr>
        </p:nvSpPr>
        <p:spPr>
          <a:xfrm>
            <a:off x="4250544" y="5487207"/>
            <a:ext cx="64295" cy="474980"/>
          </a:xfrm>
          <a:custGeom>
            <a:avLst/>
            <a:gdLst>
              <a:gd name="connsiteX0" fmla="*/ 0 w 64295"/>
              <a:gd name="connsiteY0" fmla="*/ 0 h 474980"/>
              <a:gd name="connsiteX1" fmla="*/ 64295 w 64295"/>
              <a:gd name="connsiteY1" fmla="*/ 0 h 474980"/>
              <a:gd name="connsiteX2" fmla="*/ 64295 w 64295"/>
              <a:gd name="connsiteY2" fmla="*/ 474980 h 474980"/>
              <a:gd name="connsiteX3" fmla="*/ 0 w 64295"/>
              <a:gd name="connsiteY3" fmla="*/ 474980 h 474980"/>
            </a:gdLst>
            <a:ahLst/>
            <a:cxnLst>
              <a:cxn ang="0">
                <a:pos x="connsiteX0" y="connsiteY0"/>
              </a:cxn>
              <a:cxn ang="0">
                <a:pos x="connsiteX1" y="connsiteY1"/>
              </a:cxn>
              <a:cxn ang="0">
                <a:pos x="connsiteX2" y="connsiteY2"/>
              </a:cxn>
              <a:cxn ang="0">
                <a:pos x="connsiteX3" y="connsiteY3"/>
              </a:cxn>
            </a:cxnLst>
            <a:rect l="l" t="t" r="r" b="b"/>
            <a:pathLst>
              <a:path w="64295" h="474980">
                <a:moveTo>
                  <a:pt x="0" y="0"/>
                </a:moveTo>
                <a:lnTo>
                  <a:pt x="64295" y="0"/>
                </a:lnTo>
                <a:lnTo>
                  <a:pt x="64295" y="474980"/>
                </a:lnTo>
                <a:lnTo>
                  <a:pt x="0" y="474980"/>
                </a:lnTo>
                <a:close/>
              </a:path>
            </a:pathLst>
          </a:custGeom>
          <a:solidFill>
            <a:schemeClr val="accent3"/>
          </a:solidFill>
        </p:spPr>
        <p:txBody>
          <a:bodyPr wrap="square" tIns="0" bIns="0" anchor="ctr">
            <a:noAutofit/>
          </a:bodyPr>
          <a:lstStyle>
            <a:lvl1pPr marL="0" indent="0">
              <a:buNone/>
              <a:defRPr sz="1000" b="1">
                <a:solidFill>
                  <a:schemeClr val="accent4">
                    <a:alpha val="0"/>
                  </a:schemeClr>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a:t>
            </a:r>
            <a:endParaRPr lang="en-ID" dirty="0"/>
          </a:p>
        </p:txBody>
      </p:sp>
      <p:sp>
        <p:nvSpPr>
          <p:cNvPr id="49" name="Text Placeholder 29">
            <a:extLst>
              <a:ext uri="{FF2B5EF4-FFF2-40B4-BE49-F238E27FC236}">
                <a16:creationId xmlns:a16="http://schemas.microsoft.com/office/drawing/2014/main" id="{CA641483-D5A7-E85B-23E4-88F7A9E459A2}"/>
              </a:ext>
            </a:extLst>
          </p:cNvPr>
          <p:cNvSpPr>
            <a:spLocks noGrp="1"/>
          </p:cNvSpPr>
          <p:nvPr>
            <p:ph type="body" sz="quarter" idx="50"/>
          </p:nvPr>
        </p:nvSpPr>
        <p:spPr>
          <a:xfrm>
            <a:off x="4397779" y="5421167"/>
            <a:ext cx="7206846" cy="607060"/>
          </a:xfrm>
          <a:prstGeom prst="rect">
            <a:avLst/>
          </a:prstGeom>
        </p:spPr>
        <p:txBody>
          <a:bodyPr tIns="0" bIns="0" anchor="ctr">
            <a:noAutofit/>
          </a:bodyPr>
          <a:lstStyle>
            <a:lvl1pPr marL="0" indent="0">
              <a:buNone/>
              <a:defRPr sz="1800" b="1">
                <a:solidFill>
                  <a:schemeClr val="tx1"/>
                </a:solidFill>
              </a:defRPr>
            </a:lvl1pPr>
            <a:lvl2pPr marL="457223" indent="0">
              <a:buNone/>
              <a:defRPr sz="733"/>
            </a:lvl2pPr>
            <a:lvl3pPr marL="914446" indent="0">
              <a:buNone/>
              <a:defRPr sz="700"/>
            </a:lvl3pPr>
            <a:lvl4pPr marL="1371669" indent="0">
              <a:buNone/>
              <a:defRPr sz="667"/>
            </a:lvl4pPr>
            <a:lvl5pPr marL="1828891" indent="0">
              <a:buNone/>
              <a:defRPr sz="667"/>
            </a:lvl5pPr>
          </a:lstStyle>
          <a:p>
            <a:pPr lvl="0"/>
            <a:r>
              <a:rPr lang="en-US" dirty="0"/>
              <a:t>Click to edit Master text styles</a:t>
            </a:r>
            <a:endParaRPr lang="en-ID" dirty="0"/>
          </a:p>
        </p:txBody>
      </p:sp>
      <p:sp>
        <p:nvSpPr>
          <p:cNvPr id="51" name="Rectangle 50">
            <a:extLst>
              <a:ext uri="{FF2B5EF4-FFF2-40B4-BE49-F238E27FC236}">
                <a16:creationId xmlns:a16="http://schemas.microsoft.com/office/drawing/2014/main" id="{2CF29C0E-E389-C3AB-7738-A08CB4F74F41}"/>
              </a:ext>
            </a:extLst>
          </p:cNvPr>
          <p:cNvSpPr/>
          <p:nvPr userDrawn="1"/>
        </p:nvSpPr>
        <p:spPr>
          <a:xfrm>
            <a:off x="-1" y="584199"/>
            <a:ext cx="3663165" cy="5444027"/>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3" name="Picture Placeholder 11">
            <a:extLst>
              <a:ext uri="{FF2B5EF4-FFF2-40B4-BE49-F238E27FC236}">
                <a16:creationId xmlns:a16="http://schemas.microsoft.com/office/drawing/2014/main" id="{9B208A22-0813-6CAE-ECAB-29C5A41BE16F}"/>
              </a:ext>
            </a:extLst>
          </p:cNvPr>
          <p:cNvSpPr>
            <a:spLocks noGrp="1"/>
          </p:cNvSpPr>
          <p:nvPr>
            <p:ph type="pic" sz="quarter" idx="10"/>
          </p:nvPr>
        </p:nvSpPr>
        <p:spPr>
          <a:xfrm>
            <a:off x="-1" y="701649"/>
            <a:ext cx="3545689" cy="5209101"/>
          </a:xfrm>
          <a:prstGeom prst="rect">
            <a:avLst/>
          </a:prstGeom>
          <a:solidFill>
            <a:schemeClr val="accent2">
              <a:lumMod val="20000"/>
              <a:lumOff val="80000"/>
            </a:schemeClr>
          </a:solidFill>
        </p:spPr>
        <p:txBody>
          <a:bodyPr anchor="ctr">
            <a:normAutofit/>
          </a:bodyPr>
          <a:lstStyle>
            <a:lvl1pPr marL="0" indent="0" algn="ctr">
              <a:buNone/>
              <a:defRPr sz="1333">
                <a:solidFill>
                  <a:schemeClr val="tx1"/>
                </a:solidFill>
              </a:defRPr>
            </a:lvl1pPr>
          </a:lstStyle>
          <a:p>
            <a:endParaRPr lang="en-ID"/>
          </a:p>
        </p:txBody>
      </p:sp>
      <p:sp>
        <p:nvSpPr>
          <p:cNvPr id="54" name="Rectangle 53">
            <a:extLst>
              <a:ext uri="{FF2B5EF4-FFF2-40B4-BE49-F238E27FC236}">
                <a16:creationId xmlns:a16="http://schemas.microsoft.com/office/drawing/2014/main" id="{21DA9EEE-E688-859F-C090-FAA63706DA41}"/>
              </a:ext>
            </a:extLst>
          </p:cNvPr>
          <p:cNvSpPr/>
          <p:nvPr userDrawn="1"/>
        </p:nvSpPr>
        <p:spPr>
          <a:xfrm>
            <a:off x="3545689" y="2476501"/>
            <a:ext cx="117475" cy="1904998"/>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915258174"/>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theme" Target="../theme/theme2.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031CA77-4526-60BD-4614-F242B74D161D}"/>
              </a:ext>
            </a:extLst>
          </p:cNvPr>
          <p:cNvSpPr/>
          <p:nvPr userDrawn="1"/>
        </p:nvSpPr>
        <p:spPr>
          <a:xfrm>
            <a:off x="0" y="6235700"/>
            <a:ext cx="12192000" cy="622300"/>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Slide Number Placeholder 5">
            <a:extLst>
              <a:ext uri="{FF2B5EF4-FFF2-40B4-BE49-F238E27FC236}">
                <a16:creationId xmlns:a16="http://schemas.microsoft.com/office/drawing/2014/main" id="{9F3A151A-46CB-1090-446C-0EDAEF296B59}"/>
              </a:ext>
            </a:extLst>
          </p:cNvPr>
          <p:cNvSpPr>
            <a:spLocks noGrp="1"/>
          </p:cNvSpPr>
          <p:nvPr>
            <p:ph type="sldNum" sz="quarter" idx="4"/>
          </p:nvPr>
        </p:nvSpPr>
        <p:spPr>
          <a:xfrm>
            <a:off x="11058525" y="6409951"/>
            <a:ext cx="546100" cy="273799"/>
          </a:xfrm>
          <a:prstGeom prst="rect">
            <a:avLst/>
          </a:prstGeom>
        </p:spPr>
        <p:txBody>
          <a:bodyPr vert="horz" lIns="91440" tIns="45720" rIns="91440" bIns="45720" rtlCol="0" anchor="b"/>
          <a:lstStyle>
            <a:lvl1pPr algn="r">
              <a:defRPr sz="1200">
                <a:solidFill>
                  <a:schemeClr val="accent4"/>
                </a:solidFill>
                <a:latin typeface="+mn-lt"/>
              </a:defRPr>
            </a:lvl1pPr>
          </a:lstStyle>
          <a:p>
            <a:fld id="{5E0C3BBE-9543-48E5-A6E1-C646F9A01966}" type="slidenum">
              <a:rPr lang="en-ID" smtClean="0"/>
              <a:pPr/>
              <a:t>‹#›</a:t>
            </a:fld>
            <a:endParaRPr lang="en-ID" dirty="0"/>
          </a:p>
        </p:txBody>
      </p:sp>
      <p:sp>
        <p:nvSpPr>
          <p:cNvPr id="8" name="Title Placeholder 7">
            <a:extLst>
              <a:ext uri="{FF2B5EF4-FFF2-40B4-BE49-F238E27FC236}">
                <a16:creationId xmlns:a16="http://schemas.microsoft.com/office/drawing/2014/main" id="{E8FF3198-2DCB-4FEF-C479-8E76289E1955}"/>
              </a:ext>
            </a:extLst>
          </p:cNvPr>
          <p:cNvSpPr>
            <a:spLocks noGrp="1"/>
          </p:cNvSpPr>
          <p:nvPr>
            <p:ph type="title"/>
          </p:nvPr>
        </p:nvSpPr>
        <p:spPr>
          <a:xfrm>
            <a:off x="660400" y="584200"/>
            <a:ext cx="10398125" cy="1107017"/>
          </a:xfrm>
          <a:prstGeom prst="rect">
            <a:avLst/>
          </a:prstGeom>
        </p:spPr>
        <p:txBody>
          <a:bodyPr vert="horz" lIns="91440" tIns="45720" rIns="91440" bIns="45720" rtlCol="0" anchor="ctr">
            <a:noAutofit/>
          </a:bodyPr>
          <a:lstStyle/>
          <a:p>
            <a:r>
              <a:rPr lang="en-US" dirty="0"/>
              <a:t>Click to edit Master title style</a:t>
            </a:r>
            <a:endParaRPr lang="en-ID" dirty="0"/>
          </a:p>
        </p:txBody>
      </p:sp>
      <p:sp>
        <p:nvSpPr>
          <p:cNvPr id="9" name="Text Placeholder 8">
            <a:extLst>
              <a:ext uri="{FF2B5EF4-FFF2-40B4-BE49-F238E27FC236}">
                <a16:creationId xmlns:a16="http://schemas.microsoft.com/office/drawing/2014/main" id="{5E489BE9-192C-49E8-B1F1-91EF667E3ACB}"/>
              </a:ext>
            </a:extLst>
          </p:cNvPr>
          <p:cNvSpPr>
            <a:spLocks noGrp="1"/>
          </p:cNvSpPr>
          <p:nvPr>
            <p:ph type="body" idx="1"/>
          </p:nvPr>
        </p:nvSpPr>
        <p:spPr>
          <a:xfrm>
            <a:off x="660400" y="1825625"/>
            <a:ext cx="10398125" cy="3559175"/>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grpSp>
        <p:nvGrpSpPr>
          <p:cNvPr id="16" name="Group 15" hidden="1">
            <a:extLst>
              <a:ext uri="{FF2B5EF4-FFF2-40B4-BE49-F238E27FC236}">
                <a16:creationId xmlns:a16="http://schemas.microsoft.com/office/drawing/2014/main" id="{9CBE7AA2-3D9C-E4A5-8EC5-AE78D1FAF192}"/>
              </a:ext>
            </a:extLst>
          </p:cNvPr>
          <p:cNvGrpSpPr/>
          <p:nvPr userDrawn="1"/>
        </p:nvGrpSpPr>
        <p:grpSpPr>
          <a:xfrm>
            <a:off x="0" y="0"/>
            <a:ext cx="12192000" cy="6858000"/>
            <a:chOff x="0" y="0"/>
            <a:chExt cx="12192000" cy="6858000"/>
          </a:xfrm>
        </p:grpSpPr>
        <p:grpSp>
          <p:nvGrpSpPr>
            <p:cNvPr id="17" name="Group 16" hidden="1">
              <a:extLst>
                <a:ext uri="{FF2B5EF4-FFF2-40B4-BE49-F238E27FC236}">
                  <a16:creationId xmlns:a16="http://schemas.microsoft.com/office/drawing/2014/main" id="{DC1AF556-CC80-A678-A2D5-5C8C86BAAE45}"/>
                </a:ext>
              </a:extLst>
            </p:cNvPr>
            <p:cNvGrpSpPr/>
            <p:nvPr userDrawn="1"/>
          </p:nvGrpSpPr>
          <p:grpSpPr>
            <a:xfrm>
              <a:off x="0" y="0"/>
              <a:ext cx="12192000" cy="6858000"/>
              <a:chOff x="0" y="0"/>
              <a:chExt cx="5166360" cy="6858000"/>
            </a:xfrm>
            <a:noFill/>
          </p:grpSpPr>
          <p:sp>
            <p:nvSpPr>
              <p:cNvPr id="19" name="Rectangle 18" hidden="1">
                <a:extLst>
                  <a:ext uri="{FF2B5EF4-FFF2-40B4-BE49-F238E27FC236}">
                    <a16:creationId xmlns:a16="http://schemas.microsoft.com/office/drawing/2014/main" id="{F152FD21-286B-1EF4-488B-A51A1DBD5450}"/>
                  </a:ext>
                </a:extLst>
              </p:cNvPr>
              <p:cNvSpPr/>
              <p:nvPr userDrawn="1"/>
            </p:nvSpPr>
            <p:spPr>
              <a:xfrm>
                <a:off x="0" y="0"/>
                <a:ext cx="861060" cy="6858000"/>
              </a:xfrm>
              <a:prstGeom prst="rect">
                <a:avLst/>
              </a:prstGeom>
              <a:grp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hidden="1">
                <a:extLst>
                  <a:ext uri="{FF2B5EF4-FFF2-40B4-BE49-F238E27FC236}">
                    <a16:creationId xmlns:a16="http://schemas.microsoft.com/office/drawing/2014/main" id="{8BF54D69-F9E7-0DE6-C3A7-60EE2CD7A944}"/>
                  </a:ext>
                </a:extLst>
              </p:cNvPr>
              <p:cNvSpPr/>
              <p:nvPr userDrawn="1"/>
            </p:nvSpPr>
            <p:spPr>
              <a:xfrm>
                <a:off x="861060" y="0"/>
                <a:ext cx="861060" cy="6858000"/>
              </a:xfrm>
              <a:prstGeom prst="rect">
                <a:avLst/>
              </a:prstGeom>
              <a:grp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hidden="1">
                <a:extLst>
                  <a:ext uri="{FF2B5EF4-FFF2-40B4-BE49-F238E27FC236}">
                    <a16:creationId xmlns:a16="http://schemas.microsoft.com/office/drawing/2014/main" id="{6B753A8C-3034-646A-9496-4E86765F30FA}"/>
                  </a:ext>
                </a:extLst>
              </p:cNvPr>
              <p:cNvSpPr/>
              <p:nvPr userDrawn="1"/>
            </p:nvSpPr>
            <p:spPr>
              <a:xfrm>
                <a:off x="1722120" y="0"/>
                <a:ext cx="861060" cy="6858000"/>
              </a:xfrm>
              <a:prstGeom prst="rect">
                <a:avLst/>
              </a:prstGeom>
              <a:grp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hidden="1">
                <a:extLst>
                  <a:ext uri="{FF2B5EF4-FFF2-40B4-BE49-F238E27FC236}">
                    <a16:creationId xmlns:a16="http://schemas.microsoft.com/office/drawing/2014/main" id="{F5A778D6-81DE-8B52-4635-AF9B44897873}"/>
                  </a:ext>
                </a:extLst>
              </p:cNvPr>
              <p:cNvSpPr/>
              <p:nvPr userDrawn="1"/>
            </p:nvSpPr>
            <p:spPr>
              <a:xfrm>
                <a:off x="2583180" y="0"/>
                <a:ext cx="861060" cy="6858000"/>
              </a:xfrm>
              <a:prstGeom prst="rect">
                <a:avLst/>
              </a:prstGeom>
              <a:grp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hidden="1">
                <a:extLst>
                  <a:ext uri="{FF2B5EF4-FFF2-40B4-BE49-F238E27FC236}">
                    <a16:creationId xmlns:a16="http://schemas.microsoft.com/office/drawing/2014/main" id="{6FD8563E-664B-9D68-5E75-8203C4796A0B}"/>
                  </a:ext>
                </a:extLst>
              </p:cNvPr>
              <p:cNvSpPr/>
              <p:nvPr userDrawn="1"/>
            </p:nvSpPr>
            <p:spPr>
              <a:xfrm>
                <a:off x="3444240" y="0"/>
                <a:ext cx="861060" cy="6858000"/>
              </a:xfrm>
              <a:prstGeom prst="rect">
                <a:avLst/>
              </a:prstGeom>
              <a:grp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hidden="1">
                <a:extLst>
                  <a:ext uri="{FF2B5EF4-FFF2-40B4-BE49-F238E27FC236}">
                    <a16:creationId xmlns:a16="http://schemas.microsoft.com/office/drawing/2014/main" id="{42D21107-5BDC-FC32-29DD-C1E608644F37}"/>
                  </a:ext>
                </a:extLst>
              </p:cNvPr>
              <p:cNvSpPr/>
              <p:nvPr userDrawn="1"/>
            </p:nvSpPr>
            <p:spPr>
              <a:xfrm>
                <a:off x="4305300" y="0"/>
                <a:ext cx="861060" cy="6858000"/>
              </a:xfrm>
              <a:prstGeom prst="rect">
                <a:avLst/>
              </a:prstGeom>
              <a:grp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8" name="Frame 17" hidden="1">
              <a:extLst>
                <a:ext uri="{FF2B5EF4-FFF2-40B4-BE49-F238E27FC236}">
                  <a16:creationId xmlns:a16="http://schemas.microsoft.com/office/drawing/2014/main" id="{82A4C640-D8FF-346F-1885-79B3B285F1FF}"/>
                </a:ext>
              </a:extLst>
            </p:cNvPr>
            <p:cNvSpPr/>
            <p:nvPr userDrawn="1"/>
          </p:nvSpPr>
          <p:spPr>
            <a:xfrm>
              <a:off x="0" y="0"/>
              <a:ext cx="12192000" cy="6858000"/>
            </a:xfrm>
            <a:prstGeom prst="frame">
              <a:avLst>
                <a:gd name="adj1" fmla="val 8611"/>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sp>
        <p:nvSpPr>
          <p:cNvPr id="4" name="Footer Placeholder 4">
            <a:extLst>
              <a:ext uri="{FF2B5EF4-FFF2-40B4-BE49-F238E27FC236}">
                <a16:creationId xmlns:a16="http://schemas.microsoft.com/office/drawing/2014/main" id="{3B6C1C88-2ECB-FD04-A6A6-62C080CC9E13}"/>
              </a:ext>
            </a:extLst>
          </p:cNvPr>
          <p:cNvSpPr>
            <a:spLocks noGrp="1"/>
          </p:cNvSpPr>
          <p:nvPr>
            <p:ph type="ftr" sz="quarter" idx="3"/>
          </p:nvPr>
        </p:nvSpPr>
        <p:spPr>
          <a:xfrm>
            <a:off x="584200" y="6364288"/>
            <a:ext cx="5435600" cy="365125"/>
          </a:xfrm>
          <a:prstGeom prst="rect">
            <a:avLst/>
          </a:prstGeom>
        </p:spPr>
        <p:txBody>
          <a:bodyPr vert="horz" lIns="91440" tIns="45720" rIns="91440" bIns="45720" rtlCol="0" anchor="ctr"/>
          <a:lstStyle>
            <a:lvl1pPr algn="l">
              <a:defRPr lang="en-GB" sz="1200">
                <a:solidFill>
                  <a:schemeClr val="accent4"/>
                </a:solidFill>
              </a:defRPr>
            </a:lvl1pPr>
          </a:lstStyle>
          <a:p>
            <a:r>
              <a:rPr lang="en-US"/>
              <a:t>PRESENTATION TITLE</a:t>
            </a:r>
            <a:endParaRPr lang="en-US" dirty="0"/>
          </a:p>
        </p:txBody>
      </p:sp>
      <p:pic>
        <p:nvPicPr>
          <p:cNvPr id="5" name="Picture 4">
            <a:extLst>
              <a:ext uri="{FF2B5EF4-FFF2-40B4-BE49-F238E27FC236}">
                <a16:creationId xmlns:a16="http://schemas.microsoft.com/office/drawing/2014/main" id="{72D0200D-1894-E78A-4396-9F667379D94F}"/>
              </a:ext>
            </a:extLst>
          </p:cNvPr>
          <p:cNvPicPr>
            <a:picLocks noChangeAspect="1"/>
          </p:cNvPicPr>
          <p:nvPr userDrawn="1"/>
        </p:nvPicPr>
        <p:blipFill>
          <a:blip r:embed="rId44">
            <a:extLst>
              <a:ext uri="{28A0092B-C50C-407E-A947-70E740481C1C}">
                <a14:useLocalDpi xmlns:a14="http://schemas.microsoft.com/office/drawing/2010/main" val="0"/>
              </a:ext>
            </a:extLst>
          </a:blip>
          <a:stretch>
            <a:fillRect/>
          </a:stretch>
        </p:blipFill>
        <p:spPr>
          <a:xfrm>
            <a:off x="8515350" y="6364288"/>
            <a:ext cx="2543175" cy="457200"/>
          </a:xfrm>
          <a:prstGeom prst="rect">
            <a:avLst/>
          </a:prstGeom>
        </p:spPr>
      </p:pic>
    </p:spTree>
    <p:extLst>
      <p:ext uri="{BB962C8B-B14F-4D97-AF65-F5344CB8AC3E}">
        <p14:creationId xmlns:p14="http://schemas.microsoft.com/office/powerpoint/2010/main" val="3196447035"/>
      </p:ext>
    </p:extLst>
  </p:cSld>
  <p:clrMap bg1="lt1" tx1="dk1" bg2="lt2" tx2="dk2" accent1="accent1" accent2="accent2" accent3="accent3" accent4="accent4" accent5="accent5" accent6="accent6" hlink="hlink" folHlink="folHlink"/>
  <p:sldLayoutIdLst>
    <p:sldLayoutId id="2147483661" r:id="rId1"/>
    <p:sldLayoutId id="2147483710" r:id="rId2"/>
    <p:sldLayoutId id="2147483709" r:id="rId3"/>
    <p:sldLayoutId id="2147483677" r:id="rId4"/>
    <p:sldLayoutId id="2147483711" r:id="rId5"/>
    <p:sldLayoutId id="2147483712" r:id="rId6"/>
    <p:sldLayoutId id="2147483687" r:id="rId7"/>
    <p:sldLayoutId id="2147483704" r:id="rId8"/>
    <p:sldLayoutId id="2147483697" r:id="rId9"/>
    <p:sldLayoutId id="2147483713" r:id="rId10"/>
    <p:sldLayoutId id="2147483714" r:id="rId11"/>
    <p:sldLayoutId id="2147483702" r:id="rId12"/>
    <p:sldLayoutId id="2147483703" r:id="rId13"/>
    <p:sldLayoutId id="2147483701" r:id="rId14"/>
    <p:sldLayoutId id="2147483715" r:id="rId15"/>
    <p:sldLayoutId id="2147483716" r:id="rId16"/>
    <p:sldLayoutId id="2147483662" r:id="rId17"/>
    <p:sldLayoutId id="2147483686" r:id="rId18"/>
    <p:sldLayoutId id="2147483679" r:id="rId19"/>
    <p:sldLayoutId id="2147483683" r:id="rId20"/>
    <p:sldLayoutId id="2147483680" r:id="rId21"/>
    <p:sldLayoutId id="2147483684" r:id="rId22"/>
    <p:sldLayoutId id="2147483678" r:id="rId23"/>
    <p:sldLayoutId id="2147483681" r:id="rId24"/>
    <p:sldLayoutId id="2147483682" r:id="rId25"/>
    <p:sldLayoutId id="2147483698" r:id="rId26"/>
    <p:sldLayoutId id="2147483685" r:id="rId27"/>
    <p:sldLayoutId id="2147483688" r:id="rId28"/>
    <p:sldLayoutId id="2147483689" r:id="rId29"/>
    <p:sldLayoutId id="2147483690" r:id="rId30"/>
    <p:sldLayoutId id="2147483699" r:id="rId31"/>
    <p:sldLayoutId id="2147483700" r:id="rId32"/>
    <p:sldLayoutId id="2147483696" r:id="rId33"/>
    <p:sldLayoutId id="2147483691" r:id="rId34"/>
    <p:sldLayoutId id="2147483692" r:id="rId35"/>
    <p:sldLayoutId id="2147483693" r:id="rId36"/>
    <p:sldLayoutId id="2147483705" r:id="rId37"/>
    <p:sldLayoutId id="2147483706" r:id="rId38"/>
    <p:sldLayoutId id="2147483707" r:id="rId39"/>
    <p:sldLayoutId id="2147483708" r:id="rId40"/>
    <p:sldLayoutId id="2147483694" r:id="rId41"/>
    <p:sldLayoutId id="2147483695" r:id="rId42"/>
  </p:sldLayoutIdLst>
  <p:hf hdr="0" dt="0"/>
  <p:txStyles>
    <p:titleStyle>
      <a:lvl1pPr algn="l" defTabSz="914446" rtl="0" eaLnBrk="1" latinLnBrk="0" hangingPunct="1">
        <a:lnSpc>
          <a:spcPct val="90000"/>
        </a:lnSpc>
        <a:spcBef>
          <a:spcPct val="0"/>
        </a:spcBef>
        <a:buNone/>
        <a:defRPr sz="4400" kern="1200">
          <a:solidFill>
            <a:schemeClr val="accent4"/>
          </a:solidFill>
          <a:latin typeface="+mj-lt"/>
          <a:ea typeface="+mj-ea"/>
          <a:cs typeface="+mj-cs"/>
        </a:defRPr>
      </a:lvl1pPr>
    </p:titleStyle>
    <p:bodyStyle>
      <a:lvl1pPr marL="0" indent="0" algn="l" defTabSz="914446" rtl="0" eaLnBrk="1" latinLnBrk="0" hangingPunct="1">
        <a:lnSpc>
          <a:spcPct val="100000"/>
        </a:lnSpc>
        <a:spcBef>
          <a:spcPts val="0"/>
        </a:spcBef>
        <a:buFont typeface="Arial" panose="020B0604020202020204" pitchFamily="34" charset="0"/>
        <a:buNone/>
        <a:defRPr sz="1400" b="1" kern="1200">
          <a:solidFill>
            <a:schemeClr val="accent4"/>
          </a:solidFill>
          <a:latin typeface="+mn-lt"/>
          <a:ea typeface="+mn-ea"/>
          <a:cs typeface="+mn-cs"/>
        </a:defRPr>
      </a:lvl1pPr>
      <a:lvl2pPr marL="457223" indent="0" algn="l" defTabSz="914446" rtl="0" eaLnBrk="1" latinLnBrk="0" hangingPunct="1">
        <a:lnSpc>
          <a:spcPct val="100000"/>
        </a:lnSpc>
        <a:spcBef>
          <a:spcPts val="0"/>
        </a:spcBef>
        <a:buFont typeface="Arial" panose="020B0604020202020204" pitchFamily="34" charset="0"/>
        <a:buNone/>
        <a:defRPr sz="933" kern="1200">
          <a:solidFill>
            <a:schemeClr val="accent4"/>
          </a:solidFill>
          <a:latin typeface="+mn-lt"/>
          <a:ea typeface="+mn-ea"/>
          <a:cs typeface="+mn-cs"/>
        </a:defRPr>
      </a:lvl2pPr>
      <a:lvl3pPr marL="914446" indent="0" algn="l" defTabSz="914446" rtl="0" eaLnBrk="1" latinLnBrk="0" hangingPunct="1">
        <a:lnSpc>
          <a:spcPct val="100000"/>
        </a:lnSpc>
        <a:spcBef>
          <a:spcPts val="0"/>
        </a:spcBef>
        <a:buFont typeface="Arial" panose="020B0604020202020204" pitchFamily="34" charset="0"/>
        <a:buNone/>
        <a:defRPr sz="933" kern="1200">
          <a:solidFill>
            <a:schemeClr val="accent4"/>
          </a:solidFill>
          <a:latin typeface="+mn-lt"/>
          <a:ea typeface="+mn-ea"/>
          <a:cs typeface="+mn-cs"/>
        </a:defRPr>
      </a:lvl3pPr>
      <a:lvl4pPr marL="1371669" indent="0" algn="l" defTabSz="914446" rtl="0" eaLnBrk="1" latinLnBrk="0" hangingPunct="1">
        <a:lnSpc>
          <a:spcPct val="100000"/>
        </a:lnSpc>
        <a:spcBef>
          <a:spcPts val="0"/>
        </a:spcBef>
        <a:buFont typeface="Arial" panose="020B0604020202020204" pitchFamily="34" charset="0"/>
        <a:buNone/>
        <a:defRPr sz="933" kern="1200">
          <a:solidFill>
            <a:schemeClr val="accent4"/>
          </a:solidFill>
          <a:latin typeface="+mn-lt"/>
          <a:ea typeface="+mn-ea"/>
          <a:cs typeface="+mn-cs"/>
        </a:defRPr>
      </a:lvl4pPr>
      <a:lvl5pPr marL="1828891" indent="0" algn="l" defTabSz="914446" rtl="0" eaLnBrk="1" latinLnBrk="0" hangingPunct="1">
        <a:lnSpc>
          <a:spcPct val="100000"/>
        </a:lnSpc>
        <a:spcBef>
          <a:spcPts val="0"/>
        </a:spcBef>
        <a:buFont typeface="Arial" panose="020B0604020202020204" pitchFamily="34" charset="0"/>
        <a:buNone/>
        <a:defRPr sz="933" kern="1200">
          <a:solidFill>
            <a:schemeClr val="accent4"/>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70" userDrawn="1">
          <p15:clr>
            <a:srgbClr val="F26B43"/>
          </p15:clr>
        </p15:guide>
        <p15:guide id="2" pos="7310" userDrawn="1">
          <p15:clr>
            <a:srgbClr val="F26B43"/>
          </p15:clr>
        </p15:guide>
        <p15:guide id="3" orient="horz" pos="368" userDrawn="1">
          <p15:clr>
            <a:srgbClr val="F26B43"/>
          </p15:clr>
        </p15:guide>
        <p15:guide id="5" orient="horz" pos="3928" userDrawn="1">
          <p15:clr>
            <a:srgbClr val="F26B43"/>
          </p15:clr>
        </p15:guide>
        <p15:guide id="6" orient="horz" pos="2160" userDrawn="1">
          <p15:clr>
            <a:srgbClr val="F26B43"/>
          </p15:clr>
        </p15:guide>
        <p15:guide id="7" pos="1277" userDrawn="1">
          <p15:clr>
            <a:srgbClr val="F26B43"/>
          </p15:clr>
        </p15:guide>
        <p15:guide id="8" pos="2570" userDrawn="1">
          <p15:clr>
            <a:srgbClr val="F26B43"/>
          </p15:clr>
        </p15:guide>
        <p15:guide id="9" pos="3840" userDrawn="1">
          <p15:clr>
            <a:srgbClr val="F26B43"/>
          </p15:clr>
        </p15:guide>
        <p15:guide id="10" pos="5110" userDrawn="1">
          <p15:clr>
            <a:srgbClr val="F26B43"/>
          </p15:clr>
        </p15:guide>
        <p15:guide id="11" pos="640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BCAD085-E8A6-8845-BD4E-CB4CCA059FC4}" type="datetimeFigureOut">
              <a:rPr lang="en-US" smtClean="0"/>
              <a:t>5/17/2025</a:t>
            </a:fld>
            <a:endParaRPr lang="en-US" dirty="0"/>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1FF6DA9-008F-8B48-92A6-B652298478BF}" type="slidenum">
              <a:rPr lang="en-US" smtClean="0"/>
              <a:t>‹#›</a:t>
            </a:fld>
            <a:endParaRPr lang="en-US" dirty="0"/>
          </a:p>
        </p:txBody>
      </p:sp>
    </p:spTree>
    <p:extLst>
      <p:ext uri="{BB962C8B-B14F-4D97-AF65-F5344CB8AC3E}">
        <p14:creationId xmlns:p14="http://schemas.microsoft.com/office/powerpoint/2010/main" val="2066933951"/>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6.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4.bin"/></Relationships>
</file>

<file path=ppt/slides/_rels/slide1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54.xml"/></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54.xml"/></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54.xml"/></Relationships>
</file>

<file path=ppt/slides/_rels/slide13.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png"/><Relationship Id="rId18" Type="http://schemas.openxmlformats.org/officeDocument/2006/relationships/image" Target="../media/image53.png"/><Relationship Id="rId3" Type="http://schemas.openxmlformats.org/officeDocument/2006/relationships/image" Target="../media/image38.png"/><Relationship Id="rId7" Type="http://schemas.openxmlformats.org/officeDocument/2006/relationships/image" Target="../media/image42.png"/><Relationship Id="rId12" Type="http://schemas.openxmlformats.org/officeDocument/2006/relationships/image" Target="../media/image47.png"/><Relationship Id="rId17" Type="http://schemas.openxmlformats.org/officeDocument/2006/relationships/image" Target="../media/image52.png"/><Relationship Id="rId2" Type="http://schemas.openxmlformats.org/officeDocument/2006/relationships/notesSlide" Target="../notesSlides/notesSlide5.xml"/><Relationship Id="rId16" Type="http://schemas.openxmlformats.org/officeDocument/2006/relationships/image" Target="../media/image51.png"/><Relationship Id="rId1" Type="http://schemas.openxmlformats.org/officeDocument/2006/relationships/slideLayout" Target="../slideLayouts/slideLayout54.xml"/><Relationship Id="rId6" Type="http://schemas.openxmlformats.org/officeDocument/2006/relationships/image" Target="../media/image41.png"/><Relationship Id="rId11" Type="http://schemas.openxmlformats.org/officeDocument/2006/relationships/image" Target="../media/image46.png"/><Relationship Id="rId5" Type="http://schemas.openxmlformats.org/officeDocument/2006/relationships/image" Target="../media/image40.png"/><Relationship Id="rId15" Type="http://schemas.openxmlformats.org/officeDocument/2006/relationships/image" Target="../media/image50.png"/><Relationship Id="rId10" Type="http://schemas.openxmlformats.org/officeDocument/2006/relationships/image" Target="../media/image45.png"/><Relationship Id="rId19" Type="http://schemas.openxmlformats.org/officeDocument/2006/relationships/image" Target="../media/image54.png"/><Relationship Id="rId4" Type="http://schemas.openxmlformats.org/officeDocument/2006/relationships/image" Target="../media/image39.png"/><Relationship Id="rId9" Type="http://schemas.openxmlformats.org/officeDocument/2006/relationships/image" Target="../media/image44.png"/><Relationship Id="rId14" Type="http://schemas.openxmlformats.org/officeDocument/2006/relationships/image" Target="../media/image49.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6.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4.bin"/></Relationships>
</file>

<file path=ppt/slides/_rels/slide15.xml.rels><?xml version="1.0" encoding="UTF-8" standalone="yes"?>
<Relationships xmlns="http://schemas.openxmlformats.org/package/2006/relationships"><Relationship Id="rId3" Type="http://schemas.openxmlformats.org/officeDocument/2006/relationships/image" Target="../media/image55.jpg"/><Relationship Id="rId2" Type="http://schemas.openxmlformats.org/officeDocument/2006/relationships/notesSlide" Target="../notesSlides/notesSlide7.xml"/><Relationship Id="rId1" Type="http://schemas.openxmlformats.org/officeDocument/2006/relationships/slideLayout" Target="../slideLayouts/slideLayout54.xml"/><Relationship Id="rId5" Type="http://schemas.microsoft.com/office/2007/relationships/hdphoto" Target="../media/hdphoto4.wdp"/><Relationship Id="rId4" Type="http://schemas.openxmlformats.org/officeDocument/2006/relationships/image" Target="../media/image56.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4.xml"/></Relationships>
</file>

<file path=ppt/slides/_rels/slide1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9.xml"/><Relationship Id="rId1" Type="http://schemas.openxmlformats.org/officeDocument/2006/relationships/slideLayout" Target="../slideLayouts/slideLayout54.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18.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notesSlide" Target="../notesSlides/notesSlide10.xml"/><Relationship Id="rId1" Type="http://schemas.openxmlformats.org/officeDocument/2006/relationships/slideLayout" Target="../slideLayouts/slideLayout54.xml"/><Relationship Id="rId6" Type="http://schemas.openxmlformats.org/officeDocument/2006/relationships/image" Target="../media/image64.png"/><Relationship Id="rId5" Type="http://schemas.openxmlformats.org/officeDocument/2006/relationships/image" Target="../media/image63.png"/><Relationship Id="rId10" Type="http://schemas.openxmlformats.org/officeDocument/2006/relationships/image" Target="../media/image68.png"/><Relationship Id="rId4" Type="http://schemas.openxmlformats.org/officeDocument/2006/relationships/image" Target="../media/image62.png"/><Relationship Id="rId9" Type="http://schemas.openxmlformats.org/officeDocument/2006/relationships/image" Target="../media/image67.png"/></Relationships>
</file>

<file path=ppt/slides/_rels/slide19.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notesSlide" Target="../notesSlides/notesSlide11.xml"/><Relationship Id="rId1" Type="http://schemas.openxmlformats.org/officeDocument/2006/relationships/slideLayout" Target="../slideLayouts/slideLayout54.xml"/><Relationship Id="rId6" Type="http://schemas.openxmlformats.org/officeDocument/2006/relationships/image" Target="../media/image72.png"/><Relationship Id="rId11" Type="http://schemas.openxmlformats.org/officeDocument/2006/relationships/image" Target="../media/image77.png"/><Relationship Id="rId5" Type="http://schemas.openxmlformats.org/officeDocument/2006/relationships/image" Target="../media/image71.png"/><Relationship Id="rId10" Type="http://schemas.openxmlformats.org/officeDocument/2006/relationships/image" Target="../media/image76.png"/><Relationship Id="rId4" Type="http://schemas.openxmlformats.org/officeDocument/2006/relationships/image" Target="../media/image70.png"/><Relationship Id="rId9" Type="http://schemas.openxmlformats.org/officeDocument/2006/relationships/image" Target="../media/image75.png"/></Relationships>
</file>

<file path=ppt/slides/_rels/slide2.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19.png"/><Relationship Id="rId3" Type="http://schemas.openxmlformats.org/officeDocument/2006/relationships/image" Target="../media/image13.png"/><Relationship Id="rId7" Type="http://schemas.openxmlformats.org/officeDocument/2006/relationships/image" Target="../media/image15.png"/><Relationship Id="rId12" Type="http://schemas.openxmlformats.org/officeDocument/2006/relationships/image" Target="../media/image18.png"/><Relationship Id="rId2" Type="http://schemas.openxmlformats.org/officeDocument/2006/relationships/image" Target="../media/image12.png"/><Relationship Id="rId16" Type="http://schemas.microsoft.com/office/2007/relationships/hdphoto" Target="../media/hdphoto2.wdp"/><Relationship Id="rId1" Type="http://schemas.openxmlformats.org/officeDocument/2006/relationships/slideLayout" Target="../slideLayouts/slideLayout54.xml"/><Relationship Id="rId6" Type="http://schemas.openxmlformats.org/officeDocument/2006/relationships/hyperlink" Target="https://library.kpiinstitute.org/" TargetMode="External"/><Relationship Id="rId11" Type="http://schemas.openxmlformats.org/officeDocument/2006/relationships/hyperlink" Target="https://elearning.kpiinstitute.org/" TargetMode="External"/><Relationship Id="rId5" Type="http://schemas.openxmlformats.org/officeDocument/2006/relationships/image" Target="../media/image14.jpg"/><Relationship Id="rId15" Type="http://schemas.openxmlformats.org/officeDocument/2006/relationships/image" Target="../media/image20.png"/><Relationship Id="rId10" Type="http://schemas.openxmlformats.org/officeDocument/2006/relationships/image" Target="../media/image17.png"/><Relationship Id="rId4" Type="http://schemas.openxmlformats.org/officeDocument/2006/relationships/hyperlink" Target="https://smartkpis.kpiinstitute.org/" TargetMode="External"/><Relationship Id="rId9" Type="http://schemas.openxmlformats.org/officeDocument/2006/relationships/hyperlink" Target="https://www.performancemagazine.org/" TargetMode="External"/><Relationship Id="rId14" Type="http://schemas.openxmlformats.org/officeDocument/2006/relationships/hyperlink" Target="https://marketplace.kpiinstitute.org/"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2.xml"/><Relationship Id="rId1" Type="http://schemas.openxmlformats.org/officeDocument/2006/relationships/slideLayout" Target="../slideLayouts/slideLayout5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4.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55.xml"/><Relationship Id="rId1" Type="http://schemas.openxmlformats.org/officeDocument/2006/relationships/tags" Target="../tags/tag7.xml"/><Relationship Id="rId5" Type="http://schemas.openxmlformats.org/officeDocument/2006/relationships/image" Target="../media/image2.emf"/><Relationship Id="rId4" Type="http://schemas.openxmlformats.org/officeDocument/2006/relationships/oleObject" Target="../embeddings/oleObject5.bin"/></Relationships>
</file>

<file path=ppt/slides/_rels/slide3.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21.png"/><Relationship Id="rId1" Type="http://schemas.openxmlformats.org/officeDocument/2006/relationships/slideLayout" Target="../slideLayouts/slideLayout54.xml"/></Relationships>
</file>

<file path=ppt/slides/_rels/slide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5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6.xml"/><Relationship Id="rId1" Type="http://schemas.openxmlformats.org/officeDocument/2006/relationships/tags" Target="../tags/tag5.xml"/><Relationship Id="rId5" Type="http://schemas.openxmlformats.org/officeDocument/2006/relationships/image" Target="../media/image2.emf"/><Relationship Id="rId4" Type="http://schemas.openxmlformats.org/officeDocument/2006/relationships/oleObject" Target="../embeddings/oleObject4.bin"/></Relationships>
</file>

<file path=ppt/slides/_rels/slide9.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4.png"/><Relationship Id="rId2" Type="http://schemas.openxmlformats.org/officeDocument/2006/relationships/image" Target="../media/image25.png"/><Relationship Id="rId1" Type="http://schemas.openxmlformats.org/officeDocument/2006/relationships/slideLayout" Target="../slideLayouts/slideLayout54.xml"/><Relationship Id="rId6" Type="http://schemas.microsoft.com/office/2007/relationships/hdphoto" Target="../media/hdphoto3.wdp"/><Relationship Id="rId11" Type="http://schemas.openxmlformats.org/officeDocument/2006/relationships/image" Target="../media/image33.png"/><Relationship Id="rId5" Type="http://schemas.openxmlformats.org/officeDocument/2006/relationships/image" Target="../media/image28.png"/><Relationship Id="rId10" Type="http://schemas.openxmlformats.org/officeDocument/2006/relationships/image" Target="../media/image32.png"/><Relationship Id="rId4" Type="http://schemas.openxmlformats.org/officeDocument/2006/relationships/image" Target="../media/image27.png"/><Relationship Id="rId9"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E9ADB6-3FCF-0287-1212-8882664AB80C}"/>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EB4C34C-A85F-9F8F-1A2C-3F3A24742C30}"/>
              </a:ext>
            </a:extLst>
          </p:cNvPr>
          <p:cNvGraphicFramePr>
            <a:graphicFrameLocks noChangeAspect="1"/>
          </p:cNvGraphicFramePr>
          <p:nvPr>
            <p:custDataLst>
              <p:tags r:id="rId1"/>
            </p:custDataLst>
          </p:nvPr>
        </p:nvGraphicFramePr>
        <p:xfrm>
          <a:off x="3969" y="2580"/>
          <a:ext cx="794" cy="794"/>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think-cell data - do not delete" hidden="1">
                        <a:extLst>
                          <a:ext uri="{FF2B5EF4-FFF2-40B4-BE49-F238E27FC236}">
                            <a16:creationId xmlns:a16="http://schemas.microsoft.com/office/drawing/2014/main" id="{1EB4C34C-A85F-9F8F-1A2C-3F3A24742C30}"/>
                          </a:ext>
                        </a:extLst>
                      </p:cNvPr>
                      <p:cNvPicPr/>
                      <p:nvPr/>
                    </p:nvPicPr>
                    <p:blipFill>
                      <a:blip r:embed="rId5"/>
                      <a:stretch>
                        <a:fillRect/>
                      </a:stretch>
                    </p:blipFill>
                    <p:spPr>
                      <a:xfrm>
                        <a:off x="3969" y="2580"/>
                        <a:ext cx="794" cy="794"/>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1093431-EFEE-A0B5-76E6-002837753A69}"/>
              </a:ext>
            </a:extLst>
          </p:cNvPr>
          <p:cNvSpPr>
            <a:spLocks noGrp="1"/>
          </p:cNvSpPr>
          <p:nvPr>
            <p:ph type="title"/>
          </p:nvPr>
        </p:nvSpPr>
        <p:spPr>
          <a:xfrm>
            <a:off x="184075" y="4892560"/>
            <a:ext cx="6211915" cy="743506"/>
          </a:xfrm>
        </p:spPr>
        <p:txBody>
          <a:bodyPr vert="horz" anchor="ctr">
            <a:noAutofit/>
          </a:bodyPr>
          <a:lstStyle/>
          <a:p>
            <a:pPr rtl="1"/>
            <a:r>
              <a:rPr lang="ar-SA" sz="3000" dirty="0"/>
              <a:t>تطوير حوكمة إدارة الأداء</a:t>
            </a:r>
            <a:endParaRPr lang="en-US" sz="3000" dirty="0"/>
          </a:p>
        </p:txBody>
      </p:sp>
    </p:spTree>
    <p:extLst>
      <p:ext uri="{BB962C8B-B14F-4D97-AF65-F5344CB8AC3E}">
        <p14:creationId xmlns:p14="http://schemas.microsoft.com/office/powerpoint/2010/main" val="1377472846"/>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E7F39E-4185-0E13-CFA6-D53613E8A995}"/>
            </a:ext>
          </a:extLst>
        </p:cNvPr>
        <p:cNvGrpSpPr/>
        <p:nvPr/>
      </p:nvGrpSpPr>
      <p:grpSpPr>
        <a:xfrm>
          <a:off x="0" y="0"/>
          <a:ext cx="0" cy="0"/>
          <a:chOff x="0" y="0"/>
          <a:chExt cx="0" cy="0"/>
        </a:xfrm>
      </p:grpSpPr>
      <p:sp>
        <p:nvSpPr>
          <p:cNvPr id="2" name="object 4">
            <a:extLst>
              <a:ext uri="{FF2B5EF4-FFF2-40B4-BE49-F238E27FC236}">
                <a16:creationId xmlns:a16="http://schemas.microsoft.com/office/drawing/2014/main" id="{7DD27274-22C1-02FB-8804-5A9E6412DAA6}"/>
              </a:ext>
            </a:extLst>
          </p:cNvPr>
          <p:cNvSpPr txBox="1">
            <a:spLocks/>
          </p:cNvSpPr>
          <p:nvPr/>
        </p:nvSpPr>
        <p:spPr>
          <a:xfrm>
            <a:off x="2506534" y="259370"/>
            <a:ext cx="11292772" cy="580633"/>
          </a:xfrm>
          <a:prstGeom prst="rect">
            <a:avLst/>
          </a:prstGeom>
        </p:spPr>
        <p:txBody>
          <a:bodyPr vert="horz" wrap="square" lIns="0" tIns="209258" rIns="0" bIns="0" rtlCol="0">
            <a:sp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31115">
              <a:spcBef>
                <a:spcPts val="100"/>
              </a:spcBef>
            </a:pPr>
            <a:r>
              <a:rPr lang="ar-SA" sz="2400" dirty="0">
                <a:solidFill>
                  <a:srgbClr val="A78B5E"/>
                </a:solidFill>
                <a:latin typeface="Avenir Next Arabic Demi" panose="020B0703020202020204" pitchFamily="34" charset="-78"/>
                <a:cs typeface="Avenir Next Arabic Demi" panose="020B0703020202020204" pitchFamily="34" charset="-78"/>
              </a:rPr>
              <a:t>خريطة مفاهيم إطار إدارة مؤشرات الأداء الرئيسية</a:t>
            </a:r>
          </a:p>
        </p:txBody>
      </p:sp>
      <p:pic>
        <p:nvPicPr>
          <p:cNvPr id="3" name="object 5">
            <a:extLst>
              <a:ext uri="{FF2B5EF4-FFF2-40B4-BE49-F238E27FC236}">
                <a16:creationId xmlns:a16="http://schemas.microsoft.com/office/drawing/2014/main" id="{E1497EEE-CDA1-BDF3-8EDC-F1B8E85C07B8}"/>
              </a:ext>
            </a:extLst>
          </p:cNvPr>
          <p:cNvPicPr/>
          <p:nvPr/>
        </p:nvPicPr>
        <p:blipFill>
          <a:blip r:embed="rId2" cstate="print">
            <a:duotone>
              <a:prstClr val="black"/>
              <a:schemeClr val="accent6">
                <a:tint val="45000"/>
                <a:satMod val="400000"/>
              </a:schemeClr>
            </a:duotone>
          </a:blip>
          <a:stretch>
            <a:fillRect/>
          </a:stretch>
        </p:blipFill>
        <p:spPr>
          <a:xfrm>
            <a:off x="3776472" y="1335150"/>
            <a:ext cx="3252216" cy="5087340"/>
          </a:xfrm>
          <a:prstGeom prst="rect">
            <a:avLst/>
          </a:prstGeom>
        </p:spPr>
      </p:pic>
      <p:sp>
        <p:nvSpPr>
          <p:cNvPr id="4" name="object 6">
            <a:extLst>
              <a:ext uri="{FF2B5EF4-FFF2-40B4-BE49-F238E27FC236}">
                <a16:creationId xmlns:a16="http://schemas.microsoft.com/office/drawing/2014/main" id="{D5F157B1-3F3F-CAD4-F551-340C66BA6091}"/>
              </a:ext>
            </a:extLst>
          </p:cNvPr>
          <p:cNvSpPr txBox="1"/>
          <p:nvPr/>
        </p:nvSpPr>
        <p:spPr>
          <a:xfrm>
            <a:off x="4928743" y="2277762"/>
            <a:ext cx="769620" cy="175048"/>
          </a:xfrm>
          <a:prstGeom prst="rect">
            <a:avLst/>
          </a:prstGeom>
        </p:spPr>
        <p:txBody>
          <a:bodyPr vert="horz" wrap="square" lIns="0" tIns="13335" rIns="0" bIns="0" rtlCol="0">
            <a:spAutoFit/>
          </a:bodyPr>
          <a:lstStyle/>
          <a:p>
            <a:pPr marL="178435" marR="5080" indent="-166370">
              <a:spcBef>
                <a:spcPts val="105"/>
              </a:spcBef>
            </a:pPr>
            <a:r>
              <a:rPr lang="ar-SA" sz="1050" kern="0" spc="-10" dirty="0">
                <a:solidFill>
                  <a:srgbClr val="FFFFFF"/>
                </a:solidFill>
                <a:latin typeface="Tahoma"/>
                <a:cs typeface="Tahoma"/>
              </a:rPr>
              <a:t>ثقافة الأداء</a:t>
            </a:r>
            <a:endParaRPr sz="1050" kern="0" dirty="0">
              <a:solidFill>
                <a:sysClr val="windowText" lastClr="000000"/>
              </a:solidFill>
              <a:latin typeface="Tahoma"/>
              <a:cs typeface="Tahoma"/>
            </a:endParaRPr>
          </a:p>
        </p:txBody>
      </p:sp>
      <p:sp>
        <p:nvSpPr>
          <p:cNvPr id="5" name="object 7">
            <a:extLst>
              <a:ext uri="{FF2B5EF4-FFF2-40B4-BE49-F238E27FC236}">
                <a16:creationId xmlns:a16="http://schemas.microsoft.com/office/drawing/2014/main" id="{24C84240-14F2-0D95-406F-180F3BCB480B}"/>
              </a:ext>
            </a:extLst>
          </p:cNvPr>
          <p:cNvSpPr txBox="1"/>
          <p:nvPr/>
        </p:nvSpPr>
        <p:spPr>
          <a:xfrm>
            <a:off x="5819585" y="2818864"/>
            <a:ext cx="955675" cy="175048"/>
          </a:xfrm>
          <a:prstGeom prst="rect">
            <a:avLst/>
          </a:prstGeom>
        </p:spPr>
        <p:txBody>
          <a:bodyPr vert="horz" wrap="square" lIns="0" tIns="13335" rIns="0" bIns="0" rtlCol="0">
            <a:spAutoFit/>
          </a:bodyPr>
          <a:lstStyle/>
          <a:p>
            <a:pPr marL="12700">
              <a:spcBef>
                <a:spcPts val="105"/>
              </a:spcBef>
            </a:pPr>
            <a:r>
              <a:rPr lang="ar-SA" sz="1050" kern="0" dirty="0">
                <a:solidFill>
                  <a:srgbClr val="FFFFFF"/>
                </a:solidFill>
                <a:latin typeface="Tahoma"/>
                <a:cs typeface="Tahoma"/>
              </a:rPr>
              <a:t>اتخاذ القرار</a:t>
            </a:r>
          </a:p>
        </p:txBody>
      </p:sp>
      <p:sp>
        <p:nvSpPr>
          <p:cNvPr id="6" name="object 8">
            <a:extLst>
              <a:ext uri="{FF2B5EF4-FFF2-40B4-BE49-F238E27FC236}">
                <a16:creationId xmlns:a16="http://schemas.microsoft.com/office/drawing/2014/main" id="{F618D68D-E75B-D68F-2137-477F68CBEFA7}"/>
              </a:ext>
            </a:extLst>
          </p:cNvPr>
          <p:cNvSpPr txBox="1"/>
          <p:nvPr/>
        </p:nvSpPr>
        <p:spPr>
          <a:xfrm>
            <a:off x="6089651" y="3855846"/>
            <a:ext cx="685609" cy="175048"/>
          </a:xfrm>
          <a:prstGeom prst="rect">
            <a:avLst/>
          </a:prstGeom>
        </p:spPr>
        <p:txBody>
          <a:bodyPr vert="horz" wrap="square" lIns="0" tIns="13335" rIns="0" bIns="0" rtlCol="0">
            <a:spAutoFit/>
          </a:bodyPr>
          <a:lstStyle/>
          <a:p>
            <a:pPr marL="12700">
              <a:spcBef>
                <a:spcPts val="105"/>
              </a:spcBef>
            </a:pPr>
            <a:r>
              <a:rPr lang="ar-SA" sz="1050" kern="0" spc="-10" dirty="0">
                <a:solidFill>
                  <a:srgbClr val="FFFFFF"/>
                </a:solidFill>
                <a:latin typeface="Tahoma"/>
                <a:cs typeface="Tahoma"/>
              </a:rPr>
              <a:t>إعداد التقارير</a:t>
            </a:r>
            <a:endParaRPr sz="1050" kern="0" dirty="0">
              <a:solidFill>
                <a:sysClr val="windowText" lastClr="000000"/>
              </a:solidFill>
              <a:latin typeface="Tahoma"/>
              <a:cs typeface="Tahoma"/>
            </a:endParaRPr>
          </a:p>
        </p:txBody>
      </p:sp>
      <p:sp>
        <p:nvSpPr>
          <p:cNvPr id="7" name="object 9">
            <a:extLst>
              <a:ext uri="{FF2B5EF4-FFF2-40B4-BE49-F238E27FC236}">
                <a16:creationId xmlns:a16="http://schemas.microsoft.com/office/drawing/2014/main" id="{F653F791-64CD-2FC5-47E1-DBCBF6CA7F2B}"/>
              </a:ext>
            </a:extLst>
          </p:cNvPr>
          <p:cNvSpPr txBox="1"/>
          <p:nvPr/>
        </p:nvSpPr>
        <p:spPr>
          <a:xfrm>
            <a:off x="4881944" y="3221576"/>
            <a:ext cx="766445" cy="346710"/>
          </a:xfrm>
          <a:prstGeom prst="rect">
            <a:avLst/>
          </a:prstGeom>
        </p:spPr>
        <p:txBody>
          <a:bodyPr vert="horz" wrap="square" lIns="0" tIns="13335" rIns="0" bIns="0" rtlCol="0">
            <a:spAutoFit/>
          </a:bodyPr>
          <a:lstStyle/>
          <a:p>
            <a:pPr marL="12700" marR="5080" indent="118745">
              <a:spcBef>
                <a:spcPts val="105"/>
              </a:spcBef>
            </a:pPr>
            <a:r>
              <a:rPr lang="ar-SA" sz="1050" kern="0" spc="-10" dirty="0">
                <a:solidFill>
                  <a:srgbClr val="FFFFFF"/>
                </a:solidFill>
                <a:latin typeface="Tahoma"/>
                <a:cs typeface="Tahoma"/>
              </a:rPr>
              <a:t>إدارة المبادرات</a:t>
            </a:r>
          </a:p>
        </p:txBody>
      </p:sp>
      <p:sp>
        <p:nvSpPr>
          <p:cNvPr id="8" name="object 10">
            <a:extLst>
              <a:ext uri="{FF2B5EF4-FFF2-40B4-BE49-F238E27FC236}">
                <a16:creationId xmlns:a16="http://schemas.microsoft.com/office/drawing/2014/main" id="{E917707A-28F0-3027-A744-7F598BD8B0F8}"/>
              </a:ext>
            </a:extLst>
          </p:cNvPr>
          <p:cNvSpPr txBox="1"/>
          <p:nvPr/>
        </p:nvSpPr>
        <p:spPr>
          <a:xfrm>
            <a:off x="3990848" y="2889415"/>
            <a:ext cx="525780" cy="175048"/>
          </a:xfrm>
          <a:prstGeom prst="rect">
            <a:avLst/>
          </a:prstGeom>
        </p:spPr>
        <p:txBody>
          <a:bodyPr vert="horz" wrap="square" lIns="0" tIns="13335" rIns="0" bIns="0" rtlCol="0">
            <a:spAutoFit/>
          </a:bodyPr>
          <a:lstStyle/>
          <a:p>
            <a:pPr marL="12700">
              <a:spcBef>
                <a:spcPts val="105"/>
              </a:spcBef>
            </a:pPr>
            <a:r>
              <a:rPr lang="ar-SA" sz="1050" kern="0" spc="-10" dirty="0">
                <a:solidFill>
                  <a:srgbClr val="FFFFFF"/>
                </a:solidFill>
                <a:latin typeface="Tahoma"/>
                <a:cs typeface="Tahoma"/>
              </a:rPr>
              <a:t>التعلم</a:t>
            </a:r>
            <a:endParaRPr sz="1050" kern="0" dirty="0">
              <a:solidFill>
                <a:sysClr val="windowText" lastClr="000000"/>
              </a:solidFill>
              <a:latin typeface="Tahoma"/>
              <a:cs typeface="Tahoma"/>
            </a:endParaRPr>
          </a:p>
        </p:txBody>
      </p:sp>
      <p:sp>
        <p:nvSpPr>
          <p:cNvPr id="9" name="object 11">
            <a:extLst>
              <a:ext uri="{FF2B5EF4-FFF2-40B4-BE49-F238E27FC236}">
                <a16:creationId xmlns:a16="http://schemas.microsoft.com/office/drawing/2014/main" id="{B40DBE76-CFEC-4440-58D3-C93E65682DA2}"/>
              </a:ext>
            </a:extLst>
          </p:cNvPr>
          <p:cNvSpPr txBox="1"/>
          <p:nvPr/>
        </p:nvSpPr>
        <p:spPr>
          <a:xfrm>
            <a:off x="3973681" y="3843102"/>
            <a:ext cx="778510" cy="175048"/>
          </a:xfrm>
          <a:prstGeom prst="rect">
            <a:avLst/>
          </a:prstGeom>
        </p:spPr>
        <p:txBody>
          <a:bodyPr vert="horz" wrap="square" lIns="0" tIns="13335" rIns="0" bIns="0" rtlCol="0">
            <a:spAutoFit/>
          </a:bodyPr>
          <a:lstStyle/>
          <a:p>
            <a:pPr marL="12700">
              <a:spcBef>
                <a:spcPts val="105"/>
              </a:spcBef>
            </a:pPr>
            <a:r>
              <a:rPr lang="ar-SA" sz="1050" kern="0" dirty="0">
                <a:solidFill>
                  <a:srgbClr val="FFFFFF"/>
                </a:solidFill>
                <a:latin typeface="Tahoma"/>
                <a:cs typeface="Tahoma"/>
              </a:rPr>
              <a:t>تحليل البيانات</a:t>
            </a:r>
          </a:p>
        </p:txBody>
      </p:sp>
      <p:sp>
        <p:nvSpPr>
          <p:cNvPr id="10" name="object 12">
            <a:extLst>
              <a:ext uri="{FF2B5EF4-FFF2-40B4-BE49-F238E27FC236}">
                <a16:creationId xmlns:a16="http://schemas.microsoft.com/office/drawing/2014/main" id="{18F5AA99-AFE7-7EB6-21F9-C4E33DD26C1E}"/>
              </a:ext>
            </a:extLst>
          </p:cNvPr>
          <p:cNvSpPr txBox="1"/>
          <p:nvPr/>
        </p:nvSpPr>
        <p:spPr>
          <a:xfrm>
            <a:off x="5038674" y="4317667"/>
            <a:ext cx="880280" cy="175048"/>
          </a:xfrm>
          <a:prstGeom prst="rect">
            <a:avLst/>
          </a:prstGeom>
        </p:spPr>
        <p:txBody>
          <a:bodyPr vert="horz" wrap="square" lIns="0" tIns="13335" rIns="0" bIns="0" rtlCol="0">
            <a:spAutoFit/>
          </a:bodyPr>
          <a:lstStyle/>
          <a:p>
            <a:pPr marL="12700" marR="5080" indent="132080">
              <a:spcBef>
                <a:spcPts val="105"/>
              </a:spcBef>
            </a:pPr>
            <a:r>
              <a:rPr lang="ar-SA" sz="1050" kern="0" spc="-20" dirty="0">
                <a:solidFill>
                  <a:srgbClr val="FFFFFF"/>
                </a:solidFill>
                <a:latin typeface="Tahoma"/>
                <a:cs typeface="Tahoma"/>
              </a:rPr>
              <a:t>جمع البيانات  </a:t>
            </a:r>
          </a:p>
        </p:txBody>
      </p:sp>
      <p:sp>
        <p:nvSpPr>
          <p:cNvPr id="11" name="object 13">
            <a:extLst>
              <a:ext uri="{FF2B5EF4-FFF2-40B4-BE49-F238E27FC236}">
                <a16:creationId xmlns:a16="http://schemas.microsoft.com/office/drawing/2014/main" id="{4A7C7084-80A2-0150-B119-B5709F14CC90}"/>
              </a:ext>
            </a:extLst>
          </p:cNvPr>
          <p:cNvSpPr txBox="1"/>
          <p:nvPr/>
        </p:nvSpPr>
        <p:spPr>
          <a:xfrm>
            <a:off x="5943918" y="4686138"/>
            <a:ext cx="889000" cy="336631"/>
          </a:xfrm>
          <a:prstGeom prst="rect">
            <a:avLst/>
          </a:prstGeom>
        </p:spPr>
        <p:txBody>
          <a:bodyPr vert="horz" wrap="square" lIns="0" tIns="13335" rIns="0" bIns="0" rtlCol="0">
            <a:spAutoFit/>
          </a:bodyPr>
          <a:lstStyle/>
          <a:p>
            <a:pPr algn="ctr">
              <a:spcBef>
                <a:spcPts val="105"/>
              </a:spcBef>
            </a:pPr>
            <a:r>
              <a:rPr lang="ar-SA" sz="1050" kern="0" spc="-25" dirty="0">
                <a:solidFill>
                  <a:srgbClr val="FFFFFF"/>
                </a:solidFill>
                <a:latin typeface="Tahoma"/>
                <a:cs typeface="Tahoma"/>
              </a:rPr>
              <a:t>توثيق مؤشرات الأداء الرئيسية</a:t>
            </a:r>
          </a:p>
        </p:txBody>
      </p:sp>
      <p:sp>
        <p:nvSpPr>
          <p:cNvPr id="12" name="object 14">
            <a:extLst>
              <a:ext uri="{FF2B5EF4-FFF2-40B4-BE49-F238E27FC236}">
                <a16:creationId xmlns:a16="http://schemas.microsoft.com/office/drawing/2014/main" id="{CEE1F259-0366-E13D-D46C-7E60F35C54F8}"/>
              </a:ext>
            </a:extLst>
          </p:cNvPr>
          <p:cNvSpPr txBox="1"/>
          <p:nvPr/>
        </p:nvSpPr>
        <p:spPr>
          <a:xfrm>
            <a:off x="3761877" y="4803613"/>
            <a:ext cx="1037590" cy="175048"/>
          </a:xfrm>
          <a:prstGeom prst="rect">
            <a:avLst/>
          </a:prstGeom>
        </p:spPr>
        <p:txBody>
          <a:bodyPr vert="horz" wrap="square" lIns="0" tIns="13335" rIns="0" bIns="0" rtlCol="0">
            <a:spAutoFit/>
          </a:bodyPr>
          <a:lstStyle/>
          <a:p>
            <a:pPr marL="12700">
              <a:spcBef>
                <a:spcPts val="105"/>
              </a:spcBef>
            </a:pPr>
            <a:r>
              <a:rPr lang="ar-SA" sz="1050" kern="0" dirty="0">
                <a:solidFill>
                  <a:srgbClr val="FFFFFF"/>
                </a:solidFill>
                <a:latin typeface="Tahoma"/>
                <a:cs typeface="Tahoma"/>
              </a:rPr>
              <a:t>تصوير البيانات</a:t>
            </a:r>
            <a:endParaRPr sz="1050" kern="0" dirty="0">
              <a:solidFill>
                <a:sysClr val="windowText" lastClr="000000"/>
              </a:solidFill>
              <a:latin typeface="Tahoma"/>
              <a:cs typeface="Tahoma"/>
            </a:endParaRPr>
          </a:p>
        </p:txBody>
      </p:sp>
      <p:sp>
        <p:nvSpPr>
          <p:cNvPr id="13" name="object 15">
            <a:extLst>
              <a:ext uri="{FF2B5EF4-FFF2-40B4-BE49-F238E27FC236}">
                <a16:creationId xmlns:a16="http://schemas.microsoft.com/office/drawing/2014/main" id="{C8B7DA0F-CADE-B2E8-13E6-B15113B1653F}"/>
              </a:ext>
            </a:extLst>
          </p:cNvPr>
          <p:cNvSpPr/>
          <p:nvPr/>
        </p:nvSpPr>
        <p:spPr>
          <a:xfrm>
            <a:off x="1941576" y="1580389"/>
            <a:ext cx="722630" cy="626745"/>
          </a:xfrm>
          <a:custGeom>
            <a:avLst/>
            <a:gdLst/>
            <a:ahLst/>
            <a:cxnLst/>
            <a:rect l="l" t="t" r="r" b="b"/>
            <a:pathLst>
              <a:path w="722630" h="626744">
                <a:moveTo>
                  <a:pt x="565785" y="0"/>
                </a:moveTo>
                <a:lnTo>
                  <a:pt x="156590" y="0"/>
                </a:lnTo>
                <a:lnTo>
                  <a:pt x="0" y="313182"/>
                </a:lnTo>
                <a:lnTo>
                  <a:pt x="156590" y="626363"/>
                </a:lnTo>
                <a:lnTo>
                  <a:pt x="565785" y="626363"/>
                </a:lnTo>
                <a:lnTo>
                  <a:pt x="722376" y="313182"/>
                </a:lnTo>
                <a:lnTo>
                  <a:pt x="565785" y="0"/>
                </a:lnTo>
                <a:close/>
              </a:path>
            </a:pathLst>
          </a:custGeom>
          <a:solidFill>
            <a:srgbClr val="A78B5E"/>
          </a:solidFill>
          <a:ln>
            <a:noFill/>
          </a:ln>
        </p:spPr>
        <p:txBody>
          <a:bodyPr wrap="square" lIns="0" tIns="0" rIns="0" bIns="0" rtlCol="0"/>
          <a:lstStyle/>
          <a:p>
            <a:endParaRPr kern="0">
              <a:solidFill>
                <a:sysClr val="windowText" lastClr="000000"/>
              </a:solidFill>
            </a:endParaRPr>
          </a:p>
        </p:txBody>
      </p:sp>
      <p:sp>
        <p:nvSpPr>
          <p:cNvPr id="14" name="object 16">
            <a:extLst>
              <a:ext uri="{FF2B5EF4-FFF2-40B4-BE49-F238E27FC236}">
                <a16:creationId xmlns:a16="http://schemas.microsoft.com/office/drawing/2014/main" id="{A6949095-EA2F-A55B-DDCA-15C843D01AB7}"/>
              </a:ext>
            </a:extLst>
          </p:cNvPr>
          <p:cNvSpPr txBox="1"/>
          <p:nvPr/>
        </p:nvSpPr>
        <p:spPr>
          <a:xfrm>
            <a:off x="1975696" y="1695669"/>
            <a:ext cx="650798" cy="336631"/>
          </a:xfrm>
          <a:prstGeom prst="rect">
            <a:avLst/>
          </a:prstGeom>
        </p:spPr>
        <p:txBody>
          <a:bodyPr vert="horz" wrap="square" lIns="0" tIns="13335" rIns="0" bIns="0" rtlCol="0">
            <a:spAutoFit/>
          </a:bodyPr>
          <a:lstStyle/>
          <a:p>
            <a:pPr marL="66040" marR="5080" indent="-53340">
              <a:spcBef>
                <a:spcPts val="105"/>
              </a:spcBef>
            </a:pPr>
            <a:r>
              <a:rPr lang="ar-SA" sz="1050" kern="0" spc="-10" dirty="0">
                <a:solidFill>
                  <a:schemeClr val="bg1"/>
                </a:solidFill>
                <a:latin typeface="Tahoma"/>
                <a:cs typeface="Tahoma"/>
              </a:rPr>
              <a:t>   العناصر الأساسية</a:t>
            </a:r>
            <a:endParaRPr sz="1050" kern="0" dirty="0">
              <a:solidFill>
                <a:schemeClr val="bg1"/>
              </a:solidFill>
              <a:latin typeface="Tahoma"/>
              <a:cs typeface="Tahoma"/>
            </a:endParaRPr>
          </a:p>
        </p:txBody>
      </p:sp>
      <p:sp>
        <p:nvSpPr>
          <p:cNvPr id="15" name="object 17">
            <a:extLst>
              <a:ext uri="{FF2B5EF4-FFF2-40B4-BE49-F238E27FC236}">
                <a16:creationId xmlns:a16="http://schemas.microsoft.com/office/drawing/2014/main" id="{EFDB22D9-4F59-DB30-ABC0-74BF24B437D2}"/>
              </a:ext>
            </a:extLst>
          </p:cNvPr>
          <p:cNvSpPr/>
          <p:nvPr/>
        </p:nvSpPr>
        <p:spPr>
          <a:xfrm>
            <a:off x="2545080" y="2750821"/>
            <a:ext cx="1125220" cy="619125"/>
          </a:xfrm>
          <a:custGeom>
            <a:avLst/>
            <a:gdLst/>
            <a:ahLst/>
            <a:cxnLst/>
            <a:rect l="l" t="t" r="r" b="b"/>
            <a:pathLst>
              <a:path w="1125220" h="619125">
                <a:moveTo>
                  <a:pt x="815339" y="0"/>
                </a:moveTo>
                <a:lnTo>
                  <a:pt x="815339" y="154685"/>
                </a:lnTo>
                <a:lnTo>
                  <a:pt x="0" y="154685"/>
                </a:lnTo>
                <a:lnTo>
                  <a:pt x="0" y="464057"/>
                </a:lnTo>
                <a:lnTo>
                  <a:pt x="815339" y="464057"/>
                </a:lnTo>
                <a:lnTo>
                  <a:pt x="815339" y="618743"/>
                </a:lnTo>
                <a:lnTo>
                  <a:pt x="1124712" y="309371"/>
                </a:lnTo>
                <a:lnTo>
                  <a:pt x="815339" y="0"/>
                </a:lnTo>
                <a:close/>
              </a:path>
            </a:pathLst>
          </a:custGeom>
          <a:solidFill>
            <a:srgbClr val="A78B5E"/>
          </a:solidFill>
        </p:spPr>
        <p:txBody>
          <a:bodyPr wrap="square" lIns="0" tIns="0" rIns="0" bIns="0" rtlCol="0"/>
          <a:lstStyle/>
          <a:p>
            <a:endParaRPr kern="0">
              <a:solidFill>
                <a:sysClr val="windowText" lastClr="000000"/>
              </a:solidFill>
            </a:endParaRPr>
          </a:p>
        </p:txBody>
      </p:sp>
      <p:sp>
        <p:nvSpPr>
          <p:cNvPr id="16" name="object 18">
            <a:extLst>
              <a:ext uri="{FF2B5EF4-FFF2-40B4-BE49-F238E27FC236}">
                <a16:creationId xmlns:a16="http://schemas.microsoft.com/office/drawing/2014/main" id="{E4C88916-32FE-8D96-5613-06BBDD0A3BBC}"/>
              </a:ext>
            </a:extLst>
          </p:cNvPr>
          <p:cNvSpPr txBox="1"/>
          <p:nvPr/>
        </p:nvSpPr>
        <p:spPr>
          <a:xfrm>
            <a:off x="2587244" y="2957576"/>
            <a:ext cx="605790" cy="175048"/>
          </a:xfrm>
          <a:prstGeom prst="rect">
            <a:avLst/>
          </a:prstGeom>
        </p:spPr>
        <p:txBody>
          <a:bodyPr vert="horz" wrap="square" lIns="0" tIns="13335" rIns="0" bIns="0" rtlCol="0">
            <a:spAutoFit/>
          </a:bodyPr>
          <a:lstStyle/>
          <a:p>
            <a:pPr marL="12700">
              <a:spcBef>
                <a:spcPts val="105"/>
              </a:spcBef>
            </a:pPr>
            <a:r>
              <a:rPr lang="ar-SA" sz="1050" kern="0" spc="-10" dirty="0">
                <a:solidFill>
                  <a:srgbClr val="FFFFFF"/>
                </a:solidFill>
                <a:latin typeface="Tahoma"/>
                <a:cs typeface="Tahoma"/>
              </a:rPr>
              <a:t>الأجهزة</a:t>
            </a:r>
            <a:endParaRPr sz="1050" kern="0" dirty="0">
              <a:solidFill>
                <a:sysClr val="windowText" lastClr="000000"/>
              </a:solidFill>
              <a:latin typeface="Tahoma"/>
              <a:cs typeface="Tahoma"/>
            </a:endParaRPr>
          </a:p>
        </p:txBody>
      </p:sp>
      <p:sp>
        <p:nvSpPr>
          <p:cNvPr id="23" name="object 19">
            <a:extLst>
              <a:ext uri="{FF2B5EF4-FFF2-40B4-BE49-F238E27FC236}">
                <a16:creationId xmlns:a16="http://schemas.microsoft.com/office/drawing/2014/main" id="{C90ABC3C-D506-D6AC-137E-3118D1C74A94}"/>
              </a:ext>
            </a:extLst>
          </p:cNvPr>
          <p:cNvSpPr/>
          <p:nvPr/>
        </p:nvSpPr>
        <p:spPr>
          <a:xfrm>
            <a:off x="2493264" y="4050792"/>
            <a:ext cx="1123315" cy="620395"/>
          </a:xfrm>
          <a:custGeom>
            <a:avLst/>
            <a:gdLst/>
            <a:ahLst/>
            <a:cxnLst/>
            <a:rect l="l" t="t" r="r" b="b"/>
            <a:pathLst>
              <a:path w="1123314" h="620395">
                <a:moveTo>
                  <a:pt x="813054" y="0"/>
                </a:moveTo>
                <a:lnTo>
                  <a:pt x="813054" y="155066"/>
                </a:lnTo>
                <a:lnTo>
                  <a:pt x="0" y="155066"/>
                </a:lnTo>
                <a:lnTo>
                  <a:pt x="0" y="465200"/>
                </a:lnTo>
                <a:lnTo>
                  <a:pt x="813054" y="465200"/>
                </a:lnTo>
                <a:lnTo>
                  <a:pt x="813054" y="620267"/>
                </a:lnTo>
                <a:lnTo>
                  <a:pt x="1123188" y="310133"/>
                </a:lnTo>
                <a:lnTo>
                  <a:pt x="813054" y="0"/>
                </a:lnTo>
                <a:close/>
              </a:path>
            </a:pathLst>
          </a:custGeom>
          <a:solidFill>
            <a:srgbClr val="A78B5E"/>
          </a:solidFill>
        </p:spPr>
        <p:txBody>
          <a:bodyPr wrap="square" lIns="0" tIns="0" rIns="0" bIns="0" rtlCol="0"/>
          <a:lstStyle/>
          <a:p>
            <a:endParaRPr kern="0">
              <a:solidFill>
                <a:sysClr val="windowText" lastClr="000000"/>
              </a:solidFill>
            </a:endParaRPr>
          </a:p>
        </p:txBody>
      </p:sp>
      <p:sp>
        <p:nvSpPr>
          <p:cNvPr id="24" name="object 20">
            <a:extLst>
              <a:ext uri="{FF2B5EF4-FFF2-40B4-BE49-F238E27FC236}">
                <a16:creationId xmlns:a16="http://schemas.microsoft.com/office/drawing/2014/main" id="{0420B205-3BCD-2804-F13E-C136F1733AF8}"/>
              </a:ext>
            </a:extLst>
          </p:cNvPr>
          <p:cNvSpPr txBox="1"/>
          <p:nvPr/>
        </p:nvSpPr>
        <p:spPr>
          <a:xfrm>
            <a:off x="2530856" y="4261815"/>
            <a:ext cx="545465" cy="175048"/>
          </a:xfrm>
          <a:prstGeom prst="rect">
            <a:avLst/>
          </a:prstGeom>
        </p:spPr>
        <p:txBody>
          <a:bodyPr vert="horz" wrap="square" lIns="0" tIns="13335" rIns="0" bIns="0" rtlCol="0">
            <a:spAutoFit/>
          </a:bodyPr>
          <a:lstStyle/>
          <a:p>
            <a:pPr marL="12700">
              <a:spcBef>
                <a:spcPts val="105"/>
              </a:spcBef>
            </a:pPr>
            <a:r>
              <a:rPr lang="ar-SA" sz="1050" kern="0" spc="-10" dirty="0">
                <a:solidFill>
                  <a:srgbClr val="FFFFFF"/>
                </a:solidFill>
                <a:latin typeface="Tahoma"/>
                <a:cs typeface="Tahoma"/>
              </a:rPr>
              <a:t>البرمجيات</a:t>
            </a:r>
            <a:endParaRPr lang="en-US" sz="1050" kern="0" dirty="0">
              <a:solidFill>
                <a:sysClr val="windowText" lastClr="000000"/>
              </a:solidFill>
              <a:latin typeface="Tahoma"/>
              <a:cs typeface="Tahoma"/>
            </a:endParaRPr>
          </a:p>
        </p:txBody>
      </p:sp>
      <p:sp>
        <p:nvSpPr>
          <p:cNvPr id="25" name="object 21">
            <a:extLst>
              <a:ext uri="{FF2B5EF4-FFF2-40B4-BE49-F238E27FC236}">
                <a16:creationId xmlns:a16="http://schemas.microsoft.com/office/drawing/2014/main" id="{F6A09B43-98C5-EAAF-03C5-D247BCB30D80}"/>
              </a:ext>
            </a:extLst>
          </p:cNvPr>
          <p:cNvSpPr/>
          <p:nvPr/>
        </p:nvSpPr>
        <p:spPr>
          <a:xfrm>
            <a:off x="7303008" y="2776727"/>
            <a:ext cx="1125220" cy="622300"/>
          </a:xfrm>
          <a:custGeom>
            <a:avLst/>
            <a:gdLst/>
            <a:ahLst/>
            <a:cxnLst/>
            <a:rect l="l" t="t" r="r" b="b"/>
            <a:pathLst>
              <a:path w="1125220" h="622300">
                <a:moveTo>
                  <a:pt x="310895" y="0"/>
                </a:moveTo>
                <a:lnTo>
                  <a:pt x="0" y="310896"/>
                </a:lnTo>
                <a:lnTo>
                  <a:pt x="310895" y="621792"/>
                </a:lnTo>
                <a:lnTo>
                  <a:pt x="310895" y="466344"/>
                </a:lnTo>
                <a:lnTo>
                  <a:pt x="1124712" y="466344"/>
                </a:lnTo>
                <a:lnTo>
                  <a:pt x="1124712" y="155448"/>
                </a:lnTo>
                <a:lnTo>
                  <a:pt x="310895" y="155448"/>
                </a:lnTo>
                <a:lnTo>
                  <a:pt x="310895" y="0"/>
                </a:lnTo>
                <a:close/>
              </a:path>
            </a:pathLst>
          </a:custGeom>
          <a:solidFill>
            <a:srgbClr val="A78B5E"/>
          </a:solidFill>
        </p:spPr>
        <p:txBody>
          <a:bodyPr wrap="square" lIns="0" tIns="0" rIns="0" bIns="0" rtlCol="0"/>
          <a:lstStyle/>
          <a:p>
            <a:endParaRPr kern="0">
              <a:solidFill>
                <a:sysClr val="windowText" lastClr="000000"/>
              </a:solidFill>
            </a:endParaRPr>
          </a:p>
        </p:txBody>
      </p:sp>
      <p:sp>
        <p:nvSpPr>
          <p:cNvPr id="26" name="object 22">
            <a:extLst>
              <a:ext uri="{FF2B5EF4-FFF2-40B4-BE49-F238E27FC236}">
                <a16:creationId xmlns:a16="http://schemas.microsoft.com/office/drawing/2014/main" id="{55237127-E3A1-035D-80E1-6B46B095E2B9}"/>
              </a:ext>
            </a:extLst>
          </p:cNvPr>
          <p:cNvSpPr txBox="1"/>
          <p:nvPr/>
        </p:nvSpPr>
        <p:spPr>
          <a:xfrm>
            <a:off x="7461294" y="2993263"/>
            <a:ext cx="723265" cy="175048"/>
          </a:xfrm>
          <a:prstGeom prst="rect">
            <a:avLst/>
          </a:prstGeom>
        </p:spPr>
        <p:txBody>
          <a:bodyPr vert="horz" wrap="square" lIns="0" tIns="13335" rIns="0" bIns="0" rtlCol="0">
            <a:spAutoFit/>
          </a:bodyPr>
          <a:lstStyle/>
          <a:p>
            <a:pPr marL="12700">
              <a:spcBef>
                <a:spcPts val="105"/>
              </a:spcBef>
            </a:pPr>
            <a:r>
              <a:rPr lang="ar-SA" sz="1050" kern="0" spc="-10" dirty="0">
                <a:solidFill>
                  <a:srgbClr val="FFFFFF"/>
                </a:solidFill>
                <a:latin typeface="Tahoma"/>
                <a:cs typeface="Tahoma"/>
              </a:rPr>
              <a:t>الحوكمة</a:t>
            </a:r>
          </a:p>
        </p:txBody>
      </p:sp>
      <p:sp>
        <p:nvSpPr>
          <p:cNvPr id="27" name="object 23">
            <a:extLst>
              <a:ext uri="{FF2B5EF4-FFF2-40B4-BE49-F238E27FC236}">
                <a16:creationId xmlns:a16="http://schemas.microsoft.com/office/drawing/2014/main" id="{0D51E6D1-F41C-4DE5-32F1-385D31C5B137}"/>
              </a:ext>
            </a:extLst>
          </p:cNvPr>
          <p:cNvSpPr/>
          <p:nvPr/>
        </p:nvSpPr>
        <p:spPr>
          <a:xfrm>
            <a:off x="7280147" y="4003548"/>
            <a:ext cx="1125220" cy="619125"/>
          </a:xfrm>
          <a:custGeom>
            <a:avLst/>
            <a:gdLst/>
            <a:ahLst/>
            <a:cxnLst/>
            <a:rect l="l" t="t" r="r" b="b"/>
            <a:pathLst>
              <a:path w="1125220" h="619125">
                <a:moveTo>
                  <a:pt x="309372" y="0"/>
                </a:moveTo>
                <a:lnTo>
                  <a:pt x="0" y="309371"/>
                </a:lnTo>
                <a:lnTo>
                  <a:pt x="309372" y="618744"/>
                </a:lnTo>
                <a:lnTo>
                  <a:pt x="309372" y="464057"/>
                </a:lnTo>
                <a:lnTo>
                  <a:pt x="1124711" y="464057"/>
                </a:lnTo>
                <a:lnTo>
                  <a:pt x="1124711" y="154685"/>
                </a:lnTo>
                <a:lnTo>
                  <a:pt x="309372" y="154685"/>
                </a:lnTo>
                <a:lnTo>
                  <a:pt x="309372" y="0"/>
                </a:lnTo>
                <a:close/>
              </a:path>
            </a:pathLst>
          </a:custGeom>
          <a:solidFill>
            <a:srgbClr val="A78B5E"/>
          </a:solidFill>
        </p:spPr>
        <p:txBody>
          <a:bodyPr wrap="square" lIns="0" tIns="0" rIns="0" bIns="0" rtlCol="0"/>
          <a:lstStyle/>
          <a:p>
            <a:endParaRPr kern="0">
              <a:solidFill>
                <a:sysClr val="windowText" lastClr="000000"/>
              </a:solidFill>
            </a:endParaRPr>
          </a:p>
        </p:txBody>
      </p:sp>
      <p:sp>
        <p:nvSpPr>
          <p:cNvPr id="28" name="object 24">
            <a:extLst>
              <a:ext uri="{FF2B5EF4-FFF2-40B4-BE49-F238E27FC236}">
                <a16:creationId xmlns:a16="http://schemas.microsoft.com/office/drawing/2014/main" id="{1BFB36E3-5774-97A0-38BB-12E654524380}"/>
              </a:ext>
            </a:extLst>
          </p:cNvPr>
          <p:cNvSpPr txBox="1"/>
          <p:nvPr/>
        </p:nvSpPr>
        <p:spPr>
          <a:xfrm>
            <a:off x="7611027" y="4212082"/>
            <a:ext cx="601345" cy="175048"/>
          </a:xfrm>
          <a:prstGeom prst="rect">
            <a:avLst/>
          </a:prstGeom>
        </p:spPr>
        <p:txBody>
          <a:bodyPr vert="horz" wrap="square" lIns="0" tIns="13335" rIns="0" bIns="0" rtlCol="0">
            <a:spAutoFit/>
          </a:bodyPr>
          <a:lstStyle/>
          <a:p>
            <a:pPr marL="12700">
              <a:spcBef>
                <a:spcPts val="105"/>
              </a:spcBef>
            </a:pPr>
            <a:r>
              <a:rPr lang="ar-SA" sz="1050" kern="0" spc="-10" dirty="0">
                <a:solidFill>
                  <a:srgbClr val="FFFFFF"/>
                </a:solidFill>
                <a:latin typeface="Tahoma"/>
                <a:cs typeface="Tahoma"/>
              </a:rPr>
              <a:t>العمليات</a:t>
            </a:r>
          </a:p>
        </p:txBody>
      </p:sp>
      <p:sp>
        <p:nvSpPr>
          <p:cNvPr id="29" name="object 26">
            <a:extLst>
              <a:ext uri="{FF2B5EF4-FFF2-40B4-BE49-F238E27FC236}">
                <a16:creationId xmlns:a16="http://schemas.microsoft.com/office/drawing/2014/main" id="{DACEC999-4C43-5651-A62F-91691C9C8381}"/>
              </a:ext>
            </a:extLst>
          </p:cNvPr>
          <p:cNvSpPr txBox="1"/>
          <p:nvPr/>
        </p:nvSpPr>
        <p:spPr>
          <a:xfrm>
            <a:off x="5070450" y="4978661"/>
            <a:ext cx="664260" cy="751488"/>
          </a:xfrm>
          <a:prstGeom prst="rect">
            <a:avLst/>
          </a:prstGeom>
        </p:spPr>
        <p:txBody>
          <a:bodyPr vert="horz" wrap="square" lIns="0" tIns="12700" rIns="0" bIns="0" rtlCol="0">
            <a:spAutoFit/>
          </a:bodyPr>
          <a:lstStyle/>
          <a:p>
            <a:pPr algn="ctr">
              <a:spcBef>
                <a:spcPts val="100"/>
              </a:spcBef>
            </a:pPr>
            <a:r>
              <a:rPr lang="ar-SA" sz="1200" kern="0" spc="-25" dirty="0">
                <a:solidFill>
                  <a:srgbClr val="FFFFFF"/>
                </a:solidFill>
                <a:latin typeface="Tahoma"/>
                <a:cs typeface="Tahoma"/>
              </a:rPr>
              <a:t>اختيار مؤشرات الأداء الرئيسية</a:t>
            </a:r>
          </a:p>
        </p:txBody>
      </p:sp>
      <p:sp>
        <p:nvSpPr>
          <p:cNvPr id="30" name="object 27">
            <a:extLst>
              <a:ext uri="{FF2B5EF4-FFF2-40B4-BE49-F238E27FC236}">
                <a16:creationId xmlns:a16="http://schemas.microsoft.com/office/drawing/2014/main" id="{577C87F2-0EBC-8401-CCE4-54E684011B7C}"/>
              </a:ext>
            </a:extLst>
          </p:cNvPr>
          <p:cNvSpPr txBox="1"/>
          <p:nvPr/>
        </p:nvSpPr>
        <p:spPr>
          <a:xfrm>
            <a:off x="8957056" y="2741260"/>
            <a:ext cx="1125220" cy="243656"/>
          </a:xfrm>
          <a:prstGeom prst="rect">
            <a:avLst/>
          </a:prstGeom>
        </p:spPr>
        <p:txBody>
          <a:bodyPr vert="horz" wrap="square" lIns="0" tIns="12700" rIns="0" bIns="0" rtlCol="0">
            <a:spAutoFit/>
          </a:bodyPr>
          <a:lstStyle/>
          <a:p>
            <a:pPr marL="12700" marR="5080">
              <a:spcBef>
                <a:spcPts val="100"/>
              </a:spcBef>
            </a:pPr>
            <a:r>
              <a:rPr lang="ar-SA" sz="1500" kern="0" spc="-10" dirty="0">
                <a:solidFill>
                  <a:srgbClr val="A78B5E"/>
                </a:solidFill>
                <a:latin typeface="Tahoma"/>
                <a:cs typeface="Tahoma"/>
              </a:rPr>
              <a:t>تحسين الأداء</a:t>
            </a:r>
            <a:endParaRPr lang="en-US" sz="1500" kern="0" dirty="0">
              <a:solidFill>
                <a:srgbClr val="A78B5E"/>
              </a:solidFill>
              <a:latin typeface="Tahoma"/>
              <a:cs typeface="Tahoma"/>
            </a:endParaRPr>
          </a:p>
        </p:txBody>
      </p:sp>
      <p:sp>
        <p:nvSpPr>
          <p:cNvPr id="31" name="object 28">
            <a:extLst>
              <a:ext uri="{FF2B5EF4-FFF2-40B4-BE49-F238E27FC236}">
                <a16:creationId xmlns:a16="http://schemas.microsoft.com/office/drawing/2014/main" id="{3578A2C9-28FB-AF36-8EB4-F91A250C06CA}"/>
              </a:ext>
            </a:extLst>
          </p:cNvPr>
          <p:cNvSpPr txBox="1"/>
          <p:nvPr/>
        </p:nvSpPr>
        <p:spPr>
          <a:xfrm>
            <a:off x="8747124" y="4900941"/>
            <a:ext cx="1169035" cy="243656"/>
          </a:xfrm>
          <a:prstGeom prst="rect">
            <a:avLst/>
          </a:prstGeom>
        </p:spPr>
        <p:txBody>
          <a:bodyPr vert="horz" wrap="square" lIns="0" tIns="12700" rIns="0" bIns="0" rtlCol="0">
            <a:spAutoFit/>
          </a:bodyPr>
          <a:lstStyle/>
          <a:p>
            <a:pPr marL="12700" marR="5080">
              <a:spcBef>
                <a:spcPts val="100"/>
              </a:spcBef>
            </a:pPr>
            <a:r>
              <a:rPr lang="ar-SA" sz="1500" kern="0" spc="-10" dirty="0">
                <a:solidFill>
                  <a:srgbClr val="A78B5E"/>
                </a:solidFill>
                <a:latin typeface="Tahoma"/>
                <a:cs typeface="Tahoma"/>
              </a:rPr>
              <a:t>قياس الأداء</a:t>
            </a:r>
          </a:p>
        </p:txBody>
      </p:sp>
      <p:sp>
        <p:nvSpPr>
          <p:cNvPr id="32" name="object 29">
            <a:extLst>
              <a:ext uri="{FF2B5EF4-FFF2-40B4-BE49-F238E27FC236}">
                <a16:creationId xmlns:a16="http://schemas.microsoft.com/office/drawing/2014/main" id="{F135FDEF-F25B-2D6D-9CBE-53586D35C703}"/>
              </a:ext>
            </a:extLst>
          </p:cNvPr>
          <p:cNvSpPr/>
          <p:nvPr/>
        </p:nvSpPr>
        <p:spPr>
          <a:xfrm>
            <a:off x="8623555" y="1791462"/>
            <a:ext cx="233679" cy="2212975"/>
          </a:xfrm>
          <a:custGeom>
            <a:avLst/>
            <a:gdLst/>
            <a:ahLst/>
            <a:cxnLst/>
            <a:rect l="l" t="t" r="r" b="b"/>
            <a:pathLst>
              <a:path w="233679" h="2212975">
                <a:moveTo>
                  <a:pt x="0" y="0"/>
                </a:moveTo>
                <a:lnTo>
                  <a:pt x="45380" y="0"/>
                </a:lnTo>
                <a:lnTo>
                  <a:pt x="82438" y="0"/>
                </a:lnTo>
                <a:lnTo>
                  <a:pt x="107424" y="0"/>
                </a:lnTo>
                <a:lnTo>
                  <a:pt x="116586" y="0"/>
                </a:lnTo>
                <a:lnTo>
                  <a:pt x="116586" y="1106424"/>
                </a:lnTo>
                <a:lnTo>
                  <a:pt x="147768" y="1106424"/>
                </a:lnTo>
                <a:lnTo>
                  <a:pt x="170307" y="1106424"/>
                </a:lnTo>
                <a:lnTo>
                  <a:pt x="195131" y="1106424"/>
                </a:lnTo>
                <a:lnTo>
                  <a:pt x="233172" y="1106424"/>
                </a:lnTo>
                <a:lnTo>
                  <a:pt x="187791" y="1106424"/>
                </a:lnTo>
                <a:lnTo>
                  <a:pt x="150733" y="1106424"/>
                </a:lnTo>
                <a:lnTo>
                  <a:pt x="125747" y="1106424"/>
                </a:lnTo>
                <a:lnTo>
                  <a:pt x="116586" y="1106424"/>
                </a:lnTo>
                <a:lnTo>
                  <a:pt x="116586" y="2212848"/>
                </a:lnTo>
                <a:lnTo>
                  <a:pt x="85403" y="2212848"/>
                </a:lnTo>
                <a:lnTo>
                  <a:pt x="62865" y="2212848"/>
                </a:lnTo>
                <a:lnTo>
                  <a:pt x="38040" y="2212848"/>
                </a:lnTo>
                <a:lnTo>
                  <a:pt x="0" y="2212848"/>
                </a:lnTo>
              </a:path>
            </a:pathLst>
          </a:custGeom>
          <a:noFill/>
          <a:ln w="19050">
            <a:solidFill>
              <a:srgbClr val="A78B5E"/>
            </a:solidFill>
          </a:ln>
        </p:spPr>
        <p:txBody>
          <a:bodyPr wrap="square" lIns="0" tIns="0" rIns="0" bIns="0" rtlCol="0"/>
          <a:lstStyle/>
          <a:p>
            <a:endParaRPr kern="0">
              <a:solidFill>
                <a:sysClr val="windowText" lastClr="000000"/>
              </a:solidFill>
            </a:endParaRPr>
          </a:p>
        </p:txBody>
      </p:sp>
      <p:sp>
        <p:nvSpPr>
          <p:cNvPr id="33" name="object 30">
            <a:extLst>
              <a:ext uri="{FF2B5EF4-FFF2-40B4-BE49-F238E27FC236}">
                <a16:creationId xmlns:a16="http://schemas.microsoft.com/office/drawing/2014/main" id="{EB59D3F3-44BD-40B7-0438-C1984E4FC790}"/>
              </a:ext>
            </a:extLst>
          </p:cNvPr>
          <p:cNvSpPr/>
          <p:nvPr/>
        </p:nvSpPr>
        <p:spPr>
          <a:xfrm>
            <a:off x="8637269" y="4216147"/>
            <a:ext cx="219710" cy="1633855"/>
          </a:xfrm>
          <a:custGeom>
            <a:avLst/>
            <a:gdLst/>
            <a:ahLst/>
            <a:cxnLst/>
            <a:rect l="l" t="t" r="r" b="b"/>
            <a:pathLst>
              <a:path w="219709" h="1633854">
                <a:moveTo>
                  <a:pt x="0" y="0"/>
                </a:moveTo>
                <a:lnTo>
                  <a:pt x="42701" y="0"/>
                </a:lnTo>
                <a:lnTo>
                  <a:pt x="77581" y="0"/>
                </a:lnTo>
                <a:lnTo>
                  <a:pt x="101101" y="0"/>
                </a:lnTo>
                <a:lnTo>
                  <a:pt x="109727" y="0"/>
                </a:lnTo>
                <a:lnTo>
                  <a:pt x="109727" y="816863"/>
                </a:lnTo>
                <a:lnTo>
                  <a:pt x="139088" y="816863"/>
                </a:lnTo>
                <a:lnTo>
                  <a:pt x="160305" y="816863"/>
                </a:lnTo>
                <a:lnTo>
                  <a:pt x="183665" y="816863"/>
                </a:lnTo>
                <a:lnTo>
                  <a:pt x="219455" y="816863"/>
                </a:lnTo>
                <a:lnTo>
                  <a:pt x="176754" y="816863"/>
                </a:lnTo>
                <a:lnTo>
                  <a:pt x="141874" y="816863"/>
                </a:lnTo>
                <a:lnTo>
                  <a:pt x="118354" y="816863"/>
                </a:lnTo>
                <a:lnTo>
                  <a:pt x="109727" y="816863"/>
                </a:lnTo>
                <a:lnTo>
                  <a:pt x="109727" y="1633727"/>
                </a:lnTo>
                <a:lnTo>
                  <a:pt x="80367" y="1633727"/>
                </a:lnTo>
                <a:lnTo>
                  <a:pt x="59150" y="1633727"/>
                </a:lnTo>
                <a:lnTo>
                  <a:pt x="35790" y="1633727"/>
                </a:lnTo>
                <a:lnTo>
                  <a:pt x="0" y="1633727"/>
                </a:lnTo>
              </a:path>
            </a:pathLst>
          </a:custGeom>
          <a:noFill/>
          <a:ln w="19050">
            <a:solidFill>
              <a:srgbClr val="A78B5E"/>
            </a:solidFill>
          </a:ln>
        </p:spPr>
        <p:txBody>
          <a:bodyPr wrap="square" lIns="0" tIns="0" rIns="0" bIns="0" rtlCol="0"/>
          <a:lstStyle/>
          <a:p>
            <a:endParaRPr kern="0">
              <a:solidFill>
                <a:sysClr val="windowText" lastClr="000000"/>
              </a:solidFill>
            </a:endParaRPr>
          </a:p>
        </p:txBody>
      </p:sp>
      <p:pic>
        <p:nvPicPr>
          <p:cNvPr id="34" name="object 31">
            <a:extLst>
              <a:ext uri="{FF2B5EF4-FFF2-40B4-BE49-F238E27FC236}">
                <a16:creationId xmlns:a16="http://schemas.microsoft.com/office/drawing/2014/main" id="{6D4F963A-DDE5-E55B-860D-BDE7A64B7913}"/>
              </a:ext>
            </a:extLst>
          </p:cNvPr>
          <p:cNvPicPr/>
          <p:nvPr/>
        </p:nvPicPr>
        <p:blipFill>
          <a:blip r:embed="rId3" cstate="print">
            <a:duotone>
              <a:prstClr val="black"/>
              <a:schemeClr val="accent6">
                <a:tint val="45000"/>
                <a:satMod val="400000"/>
              </a:schemeClr>
            </a:duotone>
          </a:blip>
          <a:stretch>
            <a:fillRect/>
          </a:stretch>
        </p:blipFill>
        <p:spPr>
          <a:xfrm>
            <a:off x="3874262" y="1355978"/>
            <a:ext cx="861821" cy="998982"/>
          </a:xfrm>
          <a:prstGeom prst="rect">
            <a:avLst/>
          </a:prstGeom>
        </p:spPr>
      </p:pic>
    </p:spTree>
    <p:extLst>
      <p:ext uri="{BB962C8B-B14F-4D97-AF65-F5344CB8AC3E}">
        <p14:creationId xmlns:p14="http://schemas.microsoft.com/office/powerpoint/2010/main" val="4097800368"/>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1F1FDC-2687-AE96-6663-BAE16AB9F360}"/>
            </a:ext>
          </a:extLst>
        </p:cNvPr>
        <p:cNvGrpSpPr/>
        <p:nvPr/>
      </p:nvGrpSpPr>
      <p:grpSpPr>
        <a:xfrm>
          <a:off x="0" y="0"/>
          <a:ext cx="0" cy="0"/>
          <a:chOff x="0" y="0"/>
          <a:chExt cx="0" cy="0"/>
        </a:xfrm>
      </p:grpSpPr>
      <p:pic>
        <p:nvPicPr>
          <p:cNvPr id="43" name="object 5">
            <a:extLst>
              <a:ext uri="{FF2B5EF4-FFF2-40B4-BE49-F238E27FC236}">
                <a16:creationId xmlns:a16="http://schemas.microsoft.com/office/drawing/2014/main" id="{05B1F51F-01B1-4DDB-EF1B-221336A182F4}"/>
              </a:ext>
            </a:extLst>
          </p:cNvPr>
          <p:cNvPicPr/>
          <p:nvPr/>
        </p:nvPicPr>
        <p:blipFill>
          <a:blip r:embed="rId3" cstate="print"/>
          <a:stretch>
            <a:fillRect/>
          </a:stretch>
        </p:blipFill>
        <p:spPr>
          <a:xfrm>
            <a:off x="1602740" y="0"/>
            <a:ext cx="3665219" cy="6858000"/>
          </a:xfrm>
          <a:prstGeom prst="rect">
            <a:avLst/>
          </a:prstGeom>
        </p:spPr>
      </p:pic>
      <p:grpSp>
        <p:nvGrpSpPr>
          <p:cNvPr id="44" name="object 3">
            <a:extLst>
              <a:ext uri="{FF2B5EF4-FFF2-40B4-BE49-F238E27FC236}">
                <a16:creationId xmlns:a16="http://schemas.microsoft.com/office/drawing/2014/main" id="{F5E71F34-DAA0-6121-4638-6F03CD21C946}"/>
              </a:ext>
            </a:extLst>
          </p:cNvPr>
          <p:cNvGrpSpPr/>
          <p:nvPr/>
        </p:nvGrpSpPr>
        <p:grpSpPr>
          <a:xfrm>
            <a:off x="1602740" y="0"/>
            <a:ext cx="3665219" cy="6858000"/>
            <a:chOff x="0" y="0"/>
            <a:chExt cx="3665219" cy="6858000"/>
          </a:xfrm>
        </p:grpSpPr>
        <p:sp>
          <p:nvSpPr>
            <p:cNvPr id="45" name="object 4">
              <a:extLst>
                <a:ext uri="{FF2B5EF4-FFF2-40B4-BE49-F238E27FC236}">
                  <a16:creationId xmlns:a16="http://schemas.microsoft.com/office/drawing/2014/main" id="{5F994557-1EA3-D6E5-B236-1D15BC27E591}"/>
                </a:ext>
              </a:extLst>
            </p:cNvPr>
            <p:cNvSpPr/>
            <p:nvPr/>
          </p:nvSpPr>
          <p:spPr>
            <a:xfrm>
              <a:off x="321563" y="2072639"/>
              <a:ext cx="3086100" cy="0"/>
            </a:xfrm>
            <a:custGeom>
              <a:avLst/>
              <a:gdLst/>
              <a:ahLst/>
              <a:cxnLst/>
              <a:rect l="l" t="t" r="r" b="b"/>
              <a:pathLst>
                <a:path w="3086100">
                  <a:moveTo>
                    <a:pt x="0" y="0"/>
                  </a:moveTo>
                  <a:lnTo>
                    <a:pt x="3086100" y="0"/>
                  </a:lnTo>
                </a:path>
              </a:pathLst>
            </a:custGeom>
            <a:ln w="9525">
              <a:solidFill>
                <a:srgbClr val="FFFFFF"/>
              </a:solidFill>
            </a:ln>
          </p:spPr>
          <p:txBody>
            <a:bodyPr wrap="square" lIns="0" tIns="0" rIns="0" bIns="0" rtlCol="0"/>
            <a:lstStyle/>
            <a:p>
              <a:endParaRPr kern="0">
                <a:solidFill>
                  <a:sysClr val="windowText" lastClr="000000"/>
                </a:solidFill>
              </a:endParaRPr>
            </a:p>
          </p:txBody>
        </p:sp>
        <p:pic>
          <p:nvPicPr>
            <p:cNvPr id="46" name="object 5">
              <a:extLst>
                <a:ext uri="{FF2B5EF4-FFF2-40B4-BE49-F238E27FC236}">
                  <a16:creationId xmlns:a16="http://schemas.microsoft.com/office/drawing/2014/main" id="{A565266F-4018-4C97-344F-E234873E5429}"/>
                </a:ext>
              </a:extLst>
            </p:cNvPr>
            <p:cNvPicPr/>
            <p:nvPr/>
          </p:nvPicPr>
          <p:blipFill>
            <a:blip r:embed="rId3" cstate="print"/>
            <a:stretch>
              <a:fillRect/>
            </a:stretch>
          </p:blipFill>
          <p:spPr>
            <a:xfrm>
              <a:off x="0" y="0"/>
              <a:ext cx="3665219" cy="6858000"/>
            </a:xfrm>
            <a:prstGeom prst="rect">
              <a:avLst/>
            </a:prstGeom>
          </p:spPr>
        </p:pic>
        <p:sp>
          <p:nvSpPr>
            <p:cNvPr id="47" name="object 6">
              <a:extLst>
                <a:ext uri="{FF2B5EF4-FFF2-40B4-BE49-F238E27FC236}">
                  <a16:creationId xmlns:a16="http://schemas.microsoft.com/office/drawing/2014/main" id="{D08BBD87-D70C-4CD7-C589-E830DC6B49E6}"/>
                </a:ext>
              </a:extLst>
            </p:cNvPr>
            <p:cNvSpPr/>
            <p:nvPr/>
          </p:nvSpPr>
          <p:spPr>
            <a:xfrm>
              <a:off x="0" y="0"/>
              <a:ext cx="3589020" cy="6858000"/>
            </a:xfrm>
            <a:custGeom>
              <a:avLst/>
              <a:gdLst/>
              <a:ahLst/>
              <a:cxnLst/>
              <a:rect l="l" t="t" r="r" b="b"/>
              <a:pathLst>
                <a:path w="3589020" h="6858000">
                  <a:moveTo>
                    <a:pt x="0" y="6858000"/>
                  </a:moveTo>
                  <a:lnTo>
                    <a:pt x="3589020" y="6858000"/>
                  </a:lnTo>
                  <a:lnTo>
                    <a:pt x="3589020" y="0"/>
                  </a:lnTo>
                  <a:lnTo>
                    <a:pt x="0" y="0"/>
                  </a:lnTo>
                  <a:lnTo>
                    <a:pt x="0" y="6858000"/>
                  </a:lnTo>
                  <a:close/>
                </a:path>
              </a:pathLst>
            </a:custGeom>
            <a:solidFill>
              <a:srgbClr val="A78B5E">
                <a:alpha val="65489"/>
              </a:srgbClr>
            </a:solidFill>
          </p:spPr>
          <p:txBody>
            <a:bodyPr wrap="square" lIns="0" tIns="0" rIns="0" bIns="0" rtlCol="0"/>
            <a:lstStyle/>
            <a:p>
              <a:endParaRPr kern="0">
                <a:solidFill>
                  <a:sysClr val="windowText" lastClr="000000"/>
                </a:solidFill>
              </a:endParaRPr>
            </a:p>
          </p:txBody>
        </p:sp>
        <p:sp>
          <p:nvSpPr>
            <p:cNvPr id="48" name="object 7">
              <a:extLst>
                <a:ext uri="{FF2B5EF4-FFF2-40B4-BE49-F238E27FC236}">
                  <a16:creationId xmlns:a16="http://schemas.microsoft.com/office/drawing/2014/main" id="{29520F8B-74E7-B37B-5A18-B5C27B7A8F9E}"/>
                </a:ext>
              </a:extLst>
            </p:cNvPr>
            <p:cNvSpPr/>
            <p:nvPr/>
          </p:nvSpPr>
          <p:spPr>
            <a:xfrm>
              <a:off x="321563" y="2081783"/>
              <a:ext cx="3086100" cy="0"/>
            </a:xfrm>
            <a:custGeom>
              <a:avLst/>
              <a:gdLst/>
              <a:ahLst/>
              <a:cxnLst/>
              <a:rect l="l" t="t" r="r" b="b"/>
              <a:pathLst>
                <a:path w="3086100">
                  <a:moveTo>
                    <a:pt x="0" y="0"/>
                  </a:moveTo>
                  <a:lnTo>
                    <a:pt x="3086100" y="0"/>
                  </a:lnTo>
                </a:path>
              </a:pathLst>
            </a:custGeom>
            <a:ln w="9525">
              <a:solidFill>
                <a:srgbClr val="FFFFFF"/>
              </a:solidFill>
            </a:ln>
          </p:spPr>
          <p:txBody>
            <a:bodyPr wrap="square" lIns="0" tIns="0" rIns="0" bIns="0" rtlCol="0"/>
            <a:lstStyle/>
            <a:p>
              <a:endParaRPr kern="0">
                <a:solidFill>
                  <a:sysClr val="windowText" lastClr="000000"/>
                </a:solidFill>
              </a:endParaRPr>
            </a:p>
          </p:txBody>
        </p:sp>
      </p:grpSp>
      <p:sp>
        <p:nvSpPr>
          <p:cNvPr id="50" name="object 9">
            <a:extLst>
              <a:ext uri="{FF2B5EF4-FFF2-40B4-BE49-F238E27FC236}">
                <a16:creationId xmlns:a16="http://schemas.microsoft.com/office/drawing/2014/main" id="{61B69AC9-8547-FB00-A62B-31E7BB979129}"/>
              </a:ext>
            </a:extLst>
          </p:cNvPr>
          <p:cNvSpPr txBox="1">
            <a:spLocks/>
          </p:cNvSpPr>
          <p:nvPr/>
        </p:nvSpPr>
        <p:spPr>
          <a:xfrm>
            <a:off x="2743275" y="1493039"/>
            <a:ext cx="2186534" cy="443070"/>
          </a:xfrm>
          <a:prstGeom prst="rect">
            <a:avLst/>
          </a:prstGeom>
        </p:spPr>
        <p:txBody>
          <a:bodyPr vert="horz" wrap="square" lIns="0" tIns="12065" rIns="0" bIns="0" rtlCol="0">
            <a:sp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12700" algn="l" rtl="1">
              <a:spcBef>
                <a:spcPts val="95"/>
              </a:spcBef>
            </a:pPr>
            <a:r>
              <a:rPr lang="ar-SA" sz="2800" dirty="0">
                <a:solidFill>
                  <a:srgbClr val="FFFFFF"/>
                </a:solidFill>
              </a:rPr>
              <a:t>الوحدة الثانية</a:t>
            </a:r>
          </a:p>
        </p:txBody>
      </p:sp>
      <p:sp>
        <p:nvSpPr>
          <p:cNvPr id="51" name="object 10">
            <a:extLst>
              <a:ext uri="{FF2B5EF4-FFF2-40B4-BE49-F238E27FC236}">
                <a16:creationId xmlns:a16="http://schemas.microsoft.com/office/drawing/2014/main" id="{ABB1F926-6A17-6615-D290-EBE42B2B4104}"/>
              </a:ext>
            </a:extLst>
          </p:cNvPr>
          <p:cNvSpPr txBox="1"/>
          <p:nvPr/>
        </p:nvSpPr>
        <p:spPr>
          <a:xfrm>
            <a:off x="1454426" y="2251792"/>
            <a:ext cx="3475383" cy="406971"/>
          </a:xfrm>
          <a:prstGeom prst="rect">
            <a:avLst/>
          </a:prstGeom>
        </p:spPr>
        <p:txBody>
          <a:bodyPr vert="horz" wrap="square" lIns="0" tIns="60960" rIns="0" bIns="0" rtlCol="0">
            <a:spAutoFit/>
          </a:bodyPr>
          <a:lstStyle/>
          <a:p>
            <a:pPr marL="12700" marR="5080" algn="r">
              <a:lnSpc>
                <a:spcPts val="3020"/>
              </a:lnSpc>
              <a:spcBef>
                <a:spcPts val="480"/>
              </a:spcBef>
            </a:pPr>
            <a:r>
              <a:rPr lang="ar-SA" sz="2000" b="1" kern="0" dirty="0">
                <a:solidFill>
                  <a:srgbClr val="FFFFFF"/>
                </a:solidFill>
                <a:latin typeface="Century Gothic"/>
                <a:cs typeface="Century Gothic"/>
              </a:rPr>
              <a:t>عالم مؤشرات الأداء الرئيسية (</a:t>
            </a:r>
            <a:r>
              <a:rPr lang="en-US" sz="2000" b="1" kern="0" dirty="0">
                <a:solidFill>
                  <a:srgbClr val="FFFFFF"/>
                </a:solidFill>
                <a:latin typeface="Century Gothic"/>
                <a:cs typeface="Century Gothic"/>
              </a:rPr>
              <a:t>(KPIs</a:t>
            </a:r>
          </a:p>
        </p:txBody>
      </p:sp>
      <p:sp>
        <p:nvSpPr>
          <p:cNvPr id="54" name="object 11">
            <a:extLst>
              <a:ext uri="{FF2B5EF4-FFF2-40B4-BE49-F238E27FC236}">
                <a16:creationId xmlns:a16="http://schemas.microsoft.com/office/drawing/2014/main" id="{B91ABFBD-8662-8D4A-799D-0764E17284B7}"/>
              </a:ext>
            </a:extLst>
          </p:cNvPr>
          <p:cNvSpPr/>
          <p:nvPr/>
        </p:nvSpPr>
        <p:spPr>
          <a:xfrm>
            <a:off x="10777408" y="2314305"/>
            <a:ext cx="300355" cy="300355"/>
          </a:xfrm>
          <a:custGeom>
            <a:avLst/>
            <a:gdLst/>
            <a:ahLst/>
            <a:cxnLst/>
            <a:rect l="l" t="t" r="r" b="b"/>
            <a:pathLst>
              <a:path w="300354" h="300355">
                <a:moveTo>
                  <a:pt x="0" y="150113"/>
                </a:moveTo>
                <a:lnTo>
                  <a:pt x="7650" y="102656"/>
                </a:lnTo>
                <a:lnTo>
                  <a:pt x="28955" y="61447"/>
                </a:lnTo>
                <a:lnTo>
                  <a:pt x="61447" y="28955"/>
                </a:lnTo>
                <a:lnTo>
                  <a:pt x="102656" y="7650"/>
                </a:lnTo>
                <a:lnTo>
                  <a:pt x="150113" y="0"/>
                </a:lnTo>
                <a:lnTo>
                  <a:pt x="197571" y="7650"/>
                </a:lnTo>
                <a:lnTo>
                  <a:pt x="238780" y="28955"/>
                </a:lnTo>
                <a:lnTo>
                  <a:pt x="271272" y="61447"/>
                </a:lnTo>
                <a:lnTo>
                  <a:pt x="292577" y="102656"/>
                </a:lnTo>
                <a:lnTo>
                  <a:pt x="300227" y="150113"/>
                </a:lnTo>
                <a:lnTo>
                  <a:pt x="292577" y="197571"/>
                </a:lnTo>
                <a:lnTo>
                  <a:pt x="271272" y="238780"/>
                </a:lnTo>
                <a:lnTo>
                  <a:pt x="238780" y="271272"/>
                </a:lnTo>
                <a:lnTo>
                  <a:pt x="197571" y="292577"/>
                </a:lnTo>
                <a:lnTo>
                  <a:pt x="150113" y="300227"/>
                </a:lnTo>
                <a:lnTo>
                  <a:pt x="102656" y="292577"/>
                </a:lnTo>
                <a:lnTo>
                  <a:pt x="61447" y="271272"/>
                </a:lnTo>
                <a:lnTo>
                  <a:pt x="28955" y="238780"/>
                </a:lnTo>
                <a:lnTo>
                  <a:pt x="7650" y="197571"/>
                </a:lnTo>
                <a:lnTo>
                  <a:pt x="0" y="150113"/>
                </a:lnTo>
                <a:close/>
              </a:path>
            </a:pathLst>
          </a:custGeom>
          <a:ln w="12700">
            <a:solidFill>
              <a:srgbClr val="A78B5E"/>
            </a:solidFill>
          </a:ln>
        </p:spPr>
        <p:txBody>
          <a:bodyPr wrap="square" lIns="0" tIns="0" rIns="0" bIns="0" rtlCol="0"/>
          <a:lstStyle/>
          <a:p>
            <a:endParaRPr kern="0" dirty="0">
              <a:solidFill>
                <a:sysClr val="windowText" lastClr="000000"/>
              </a:solidFill>
            </a:endParaRPr>
          </a:p>
        </p:txBody>
      </p:sp>
      <p:sp>
        <p:nvSpPr>
          <p:cNvPr id="55" name="object 12">
            <a:extLst>
              <a:ext uri="{FF2B5EF4-FFF2-40B4-BE49-F238E27FC236}">
                <a16:creationId xmlns:a16="http://schemas.microsoft.com/office/drawing/2014/main" id="{D6433503-5EDD-0AEC-512D-5454650E9769}"/>
              </a:ext>
            </a:extLst>
          </p:cNvPr>
          <p:cNvSpPr txBox="1"/>
          <p:nvPr/>
        </p:nvSpPr>
        <p:spPr>
          <a:xfrm>
            <a:off x="10863514" y="2332737"/>
            <a:ext cx="128905" cy="228909"/>
          </a:xfrm>
          <a:prstGeom prst="rect">
            <a:avLst/>
          </a:prstGeom>
        </p:spPr>
        <p:txBody>
          <a:bodyPr vert="horz" wrap="square" lIns="0" tIns="13335" rIns="0" bIns="0" rtlCol="0">
            <a:spAutoFit/>
          </a:bodyPr>
          <a:lstStyle/>
          <a:p>
            <a:pPr marL="12700">
              <a:spcBef>
                <a:spcPts val="105"/>
              </a:spcBef>
            </a:pPr>
            <a:r>
              <a:rPr sz="1400" kern="0" spc="-50" dirty="0">
                <a:solidFill>
                  <a:srgbClr val="A78B5E"/>
                </a:solidFill>
                <a:latin typeface="Tahoma"/>
                <a:cs typeface="Tahoma"/>
              </a:rPr>
              <a:t>1</a:t>
            </a:r>
            <a:endParaRPr sz="1400" kern="0" dirty="0">
              <a:solidFill>
                <a:srgbClr val="A78B5E"/>
              </a:solidFill>
              <a:latin typeface="Tahoma"/>
              <a:cs typeface="Tahoma"/>
            </a:endParaRPr>
          </a:p>
        </p:txBody>
      </p:sp>
      <p:sp>
        <p:nvSpPr>
          <p:cNvPr id="56" name="object 13">
            <a:extLst>
              <a:ext uri="{FF2B5EF4-FFF2-40B4-BE49-F238E27FC236}">
                <a16:creationId xmlns:a16="http://schemas.microsoft.com/office/drawing/2014/main" id="{B57A7E77-AF23-B878-84D0-C441DDC32C3B}"/>
              </a:ext>
            </a:extLst>
          </p:cNvPr>
          <p:cNvSpPr/>
          <p:nvPr/>
        </p:nvSpPr>
        <p:spPr>
          <a:xfrm>
            <a:off x="10777408" y="2856849"/>
            <a:ext cx="300355" cy="300355"/>
          </a:xfrm>
          <a:custGeom>
            <a:avLst/>
            <a:gdLst/>
            <a:ahLst/>
            <a:cxnLst/>
            <a:rect l="l" t="t" r="r" b="b"/>
            <a:pathLst>
              <a:path w="300354" h="300355">
                <a:moveTo>
                  <a:pt x="0" y="150114"/>
                </a:moveTo>
                <a:lnTo>
                  <a:pt x="7650" y="102656"/>
                </a:lnTo>
                <a:lnTo>
                  <a:pt x="28955" y="61447"/>
                </a:lnTo>
                <a:lnTo>
                  <a:pt x="61447" y="28956"/>
                </a:lnTo>
                <a:lnTo>
                  <a:pt x="102656" y="7650"/>
                </a:lnTo>
                <a:lnTo>
                  <a:pt x="150113" y="0"/>
                </a:lnTo>
                <a:lnTo>
                  <a:pt x="197571" y="7650"/>
                </a:lnTo>
                <a:lnTo>
                  <a:pt x="238780" y="28955"/>
                </a:lnTo>
                <a:lnTo>
                  <a:pt x="271272" y="61447"/>
                </a:lnTo>
                <a:lnTo>
                  <a:pt x="292577" y="102656"/>
                </a:lnTo>
                <a:lnTo>
                  <a:pt x="300227" y="150114"/>
                </a:lnTo>
                <a:lnTo>
                  <a:pt x="292577" y="197571"/>
                </a:lnTo>
                <a:lnTo>
                  <a:pt x="271272" y="238780"/>
                </a:lnTo>
                <a:lnTo>
                  <a:pt x="238780" y="271272"/>
                </a:lnTo>
                <a:lnTo>
                  <a:pt x="197571" y="292577"/>
                </a:lnTo>
                <a:lnTo>
                  <a:pt x="150113" y="300228"/>
                </a:lnTo>
                <a:lnTo>
                  <a:pt x="102656" y="292577"/>
                </a:lnTo>
                <a:lnTo>
                  <a:pt x="61447" y="271272"/>
                </a:lnTo>
                <a:lnTo>
                  <a:pt x="28955" y="238780"/>
                </a:lnTo>
                <a:lnTo>
                  <a:pt x="7650" y="197571"/>
                </a:lnTo>
                <a:lnTo>
                  <a:pt x="0" y="150114"/>
                </a:lnTo>
                <a:close/>
              </a:path>
            </a:pathLst>
          </a:custGeom>
          <a:ln w="12700">
            <a:solidFill>
              <a:srgbClr val="A78B5E"/>
            </a:solidFill>
          </a:ln>
        </p:spPr>
        <p:txBody>
          <a:bodyPr wrap="square" lIns="0" tIns="0" rIns="0" bIns="0" rtlCol="0"/>
          <a:lstStyle/>
          <a:p>
            <a:endParaRPr kern="0">
              <a:solidFill>
                <a:sysClr val="windowText" lastClr="000000"/>
              </a:solidFill>
            </a:endParaRPr>
          </a:p>
        </p:txBody>
      </p:sp>
      <p:sp>
        <p:nvSpPr>
          <p:cNvPr id="57" name="object 14">
            <a:extLst>
              <a:ext uri="{FF2B5EF4-FFF2-40B4-BE49-F238E27FC236}">
                <a16:creationId xmlns:a16="http://schemas.microsoft.com/office/drawing/2014/main" id="{6F85F3DA-B66B-C10B-0F98-4017AACC0126}"/>
              </a:ext>
            </a:extLst>
          </p:cNvPr>
          <p:cNvSpPr txBox="1"/>
          <p:nvPr/>
        </p:nvSpPr>
        <p:spPr>
          <a:xfrm>
            <a:off x="10863514" y="2876246"/>
            <a:ext cx="129539" cy="228909"/>
          </a:xfrm>
          <a:prstGeom prst="rect">
            <a:avLst/>
          </a:prstGeom>
        </p:spPr>
        <p:txBody>
          <a:bodyPr vert="horz" wrap="square" lIns="0" tIns="13335" rIns="0" bIns="0" rtlCol="0">
            <a:spAutoFit/>
          </a:bodyPr>
          <a:lstStyle/>
          <a:p>
            <a:pPr marL="12700">
              <a:spcBef>
                <a:spcPts val="105"/>
              </a:spcBef>
            </a:pPr>
            <a:r>
              <a:rPr sz="1400" kern="0" spc="-50" dirty="0">
                <a:solidFill>
                  <a:srgbClr val="A78B5E"/>
                </a:solidFill>
                <a:latin typeface="Tahoma"/>
                <a:cs typeface="Tahoma"/>
              </a:rPr>
              <a:t>2</a:t>
            </a:r>
            <a:endParaRPr sz="1400" kern="0" dirty="0">
              <a:solidFill>
                <a:srgbClr val="A78B5E"/>
              </a:solidFill>
              <a:latin typeface="Tahoma"/>
              <a:cs typeface="Tahoma"/>
            </a:endParaRPr>
          </a:p>
        </p:txBody>
      </p:sp>
      <p:sp>
        <p:nvSpPr>
          <p:cNvPr id="58" name="object 15">
            <a:extLst>
              <a:ext uri="{FF2B5EF4-FFF2-40B4-BE49-F238E27FC236}">
                <a16:creationId xmlns:a16="http://schemas.microsoft.com/office/drawing/2014/main" id="{CBDE7F79-CC5B-C6E3-3A7D-CD5797264EE0}"/>
              </a:ext>
            </a:extLst>
          </p:cNvPr>
          <p:cNvSpPr/>
          <p:nvPr/>
        </p:nvSpPr>
        <p:spPr>
          <a:xfrm>
            <a:off x="10777408" y="3405490"/>
            <a:ext cx="300355" cy="300355"/>
          </a:xfrm>
          <a:custGeom>
            <a:avLst/>
            <a:gdLst/>
            <a:ahLst/>
            <a:cxnLst/>
            <a:rect l="l" t="t" r="r" b="b"/>
            <a:pathLst>
              <a:path w="300354" h="300354">
                <a:moveTo>
                  <a:pt x="0" y="150113"/>
                </a:moveTo>
                <a:lnTo>
                  <a:pt x="7650" y="102656"/>
                </a:lnTo>
                <a:lnTo>
                  <a:pt x="28955" y="61447"/>
                </a:lnTo>
                <a:lnTo>
                  <a:pt x="61447" y="28955"/>
                </a:lnTo>
                <a:lnTo>
                  <a:pt x="102656" y="7650"/>
                </a:lnTo>
                <a:lnTo>
                  <a:pt x="150113" y="0"/>
                </a:lnTo>
                <a:lnTo>
                  <a:pt x="197571" y="7650"/>
                </a:lnTo>
                <a:lnTo>
                  <a:pt x="238780" y="28955"/>
                </a:lnTo>
                <a:lnTo>
                  <a:pt x="271272" y="61447"/>
                </a:lnTo>
                <a:lnTo>
                  <a:pt x="292577" y="102656"/>
                </a:lnTo>
                <a:lnTo>
                  <a:pt x="300227" y="150113"/>
                </a:lnTo>
                <a:lnTo>
                  <a:pt x="292577" y="197571"/>
                </a:lnTo>
                <a:lnTo>
                  <a:pt x="271272" y="238780"/>
                </a:lnTo>
                <a:lnTo>
                  <a:pt x="238780" y="271272"/>
                </a:lnTo>
                <a:lnTo>
                  <a:pt x="197571" y="292577"/>
                </a:lnTo>
                <a:lnTo>
                  <a:pt x="150113" y="300227"/>
                </a:lnTo>
                <a:lnTo>
                  <a:pt x="102656" y="292577"/>
                </a:lnTo>
                <a:lnTo>
                  <a:pt x="61447" y="271272"/>
                </a:lnTo>
                <a:lnTo>
                  <a:pt x="28955" y="238780"/>
                </a:lnTo>
                <a:lnTo>
                  <a:pt x="7650" y="197571"/>
                </a:lnTo>
                <a:lnTo>
                  <a:pt x="0" y="150113"/>
                </a:lnTo>
                <a:close/>
              </a:path>
            </a:pathLst>
          </a:custGeom>
          <a:ln w="12700">
            <a:solidFill>
              <a:srgbClr val="A78B5E"/>
            </a:solidFill>
          </a:ln>
        </p:spPr>
        <p:txBody>
          <a:bodyPr wrap="square" lIns="0" tIns="0" rIns="0" bIns="0" rtlCol="0"/>
          <a:lstStyle/>
          <a:p>
            <a:endParaRPr kern="0">
              <a:solidFill>
                <a:sysClr val="windowText" lastClr="000000"/>
              </a:solidFill>
            </a:endParaRPr>
          </a:p>
        </p:txBody>
      </p:sp>
      <p:sp>
        <p:nvSpPr>
          <p:cNvPr id="59" name="object 16">
            <a:extLst>
              <a:ext uri="{FF2B5EF4-FFF2-40B4-BE49-F238E27FC236}">
                <a16:creationId xmlns:a16="http://schemas.microsoft.com/office/drawing/2014/main" id="{1E0D3DCF-0AA2-BFA4-8415-2F790668ECF4}"/>
              </a:ext>
            </a:extLst>
          </p:cNvPr>
          <p:cNvSpPr txBox="1"/>
          <p:nvPr/>
        </p:nvSpPr>
        <p:spPr>
          <a:xfrm>
            <a:off x="10863514" y="3433938"/>
            <a:ext cx="128905" cy="228909"/>
          </a:xfrm>
          <a:prstGeom prst="rect">
            <a:avLst/>
          </a:prstGeom>
        </p:spPr>
        <p:txBody>
          <a:bodyPr vert="horz" wrap="square" lIns="0" tIns="13335" rIns="0" bIns="0" rtlCol="0">
            <a:spAutoFit/>
          </a:bodyPr>
          <a:lstStyle/>
          <a:p>
            <a:pPr marL="12700">
              <a:spcBef>
                <a:spcPts val="105"/>
              </a:spcBef>
            </a:pPr>
            <a:r>
              <a:rPr sz="1400" kern="0" spc="-50" dirty="0">
                <a:solidFill>
                  <a:srgbClr val="A78B5E"/>
                </a:solidFill>
                <a:latin typeface="Tahoma"/>
                <a:cs typeface="Tahoma"/>
              </a:rPr>
              <a:t>3</a:t>
            </a:r>
            <a:endParaRPr sz="1400" kern="0" dirty="0">
              <a:solidFill>
                <a:srgbClr val="A78B5E"/>
              </a:solidFill>
              <a:latin typeface="Tahoma"/>
              <a:cs typeface="Tahoma"/>
            </a:endParaRPr>
          </a:p>
        </p:txBody>
      </p:sp>
      <p:sp>
        <p:nvSpPr>
          <p:cNvPr id="65" name="object 23">
            <a:extLst>
              <a:ext uri="{FF2B5EF4-FFF2-40B4-BE49-F238E27FC236}">
                <a16:creationId xmlns:a16="http://schemas.microsoft.com/office/drawing/2014/main" id="{4123E38F-4339-7760-F705-A458CD107FFC}"/>
              </a:ext>
            </a:extLst>
          </p:cNvPr>
          <p:cNvSpPr txBox="1"/>
          <p:nvPr/>
        </p:nvSpPr>
        <p:spPr>
          <a:xfrm>
            <a:off x="9354349" y="1553953"/>
            <a:ext cx="1568685" cy="321242"/>
          </a:xfrm>
          <a:prstGeom prst="rect">
            <a:avLst/>
          </a:prstGeom>
        </p:spPr>
        <p:txBody>
          <a:bodyPr vert="horz" wrap="square" lIns="0" tIns="13335" rIns="0" bIns="0" rtlCol="0">
            <a:spAutoFit/>
          </a:bodyPr>
          <a:lstStyle/>
          <a:p>
            <a:pPr marL="12700">
              <a:spcBef>
                <a:spcPts val="105"/>
              </a:spcBef>
            </a:pPr>
            <a:r>
              <a:rPr lang="ar-SA" sz="2000" b="1" kern="0" spc="-25" dirty="0">
                <a:solidFill>
                  <a:srgbClr val="A78B5E"/>
                </a:solidFill>
                <a:latin typeface="Avenir Next Arabic Demi" panose="020B0703020202020204" pitchFamily="34" charset="-78"/>
                <a:cs typeface="Avenir Next Arabic Demi" panose="020B0703020202020204" pitchFamily="34" charset="-78"/>
              </a:rPr>
              <a:t>جدول الأعمال :</a:t>
            </a:r>
            <a:endParaRPr sz="2000" b="1" kern="0" dirty="0">
              <a:solidFill>
                <a:srgbClr val="A78B5E"/>
              </a:solidFill>
              <a:latin typeface="Avenir Next Arabic Demi" panose="020B0703020202020204" pitchFamily="34" charset="-78"/>
              <a:cs typeface="Avenir Next Arabic Demi" panose="020B0703020202020204" pitchFamily="34" charset="-78"/>
            </a:endParaRPr>
          </a:p>
        </p:txBody>
      </p:sp>
      <p:sp>
        <p:nvSpPr>
          <p:cNvPr id="2" name="object 11">
            <a:extLst>
              <a:ext uri="{FF2B5EF4-FFF2-40B4-BE49-F238E27FC236}">
                <a16:creationId xmlns:a16="http://schemas.microsoft.com/office/drawing/2014/main" id="{DF31892E-F8F1-5CB2-A3FC-24B46B43F68F}"/>
              </a:ext>
            </a:extLst>
          </p:cNvPr>
          <p:cNvSpPr txBox="1"/>
          <p:nvPr/>
        </p:nvSpPr>
        <p:spPr>
          <a:xfrm>
            <a:off x="5866407" y="2265957"/>
            <a:ext cx="4820825" cy="1361335"/>
          </a:xfrm>
          <a:prstGeom prst="rect">
            <a:avLst/>
          </a:prstGeom>
        </p:spPr>
        <p:txBody>
          <a:bodyPr vert="horz" wrap="square" lIns="0" tIns="13335" rIns="0" bIns="0" rtlCol="0">
            <a:spAutoFit/>
          </a:bodyPr>
          <a:lstStyle/>
          <a:p>
            <a:pPr marL="12700">
              <a:lnSpc>
                <a:spcPct val="150000"/>
              </a:lnSpc>
              <a:spcBef>
                <a:spcPts val="105"/>
              </a:spcBef>
            </a:pPr>
            <a:r>
              <a:rPr lang="ar-SA" sz="2000" kern="0" dirty="0">
                <a:solidFill>
                  <a:srgbClr val="5F5F5F"/>
                </a:solidFill>
                <a:latin typeface="Tahoma"/>
                <a:cs typeface="Tahoma"/>
              </a:rPr>
              <a:t>المصطلحات المتعلقة بمؤشرات الأداء الرئيسية</a:t>
            </a:r>
          </a:p>
          <a:p>
            <a:pPr marL="12700">
              <a:lnSpc>
                <a:spcPct val="150000"/>
              </a:lnSpc>
              <a:spcBef>
                <a:spcPts val="105"/>
              </a:spcBef>
            </a:pPr>
            <a:r>
              <a:rPr lang="ar-SA" sz="2000" kern="0" spc="60" dirty="0">
                <a:solidFill>
                  <a:srgbClr val="5F5F5F"/>
                </a:solidFill>
                <a:latin typeface="Tahoma"/>
                <a:cs typeface="Tahoma"/>
              </a:rPr>
              <a:t>تفصيل الأهداف الذكية</a:t>
            </a:r>
          </a:p>
          <a:p>
            <a:pPr marL="12700">
              <a:lnSpc>
                <a:spcPct val="150000"/>
              </a:lnSpc>
              <a:spcBef>
                <a:spcPts val="105"/>
              </a:spcBef>
            </a:pPr>
            <a:r>
              <a:rPr lang="ar-SA" sz="2000" kern="0" dirty="0">
                <a:solidFill>
                  <a:srgbClr val="5F5F5F"/>
                </a:solidFill>
                <a:latin typeface="Tahoma"/>
                <a:cs typeface="Tahoma"/>
              </a:rPr>
              <a:t>دورة حياة مؤشرات الأداء الرئيسية</a:t>
            </a:r>
            <a:endParaRPr sz="2000" kern="0" dirty="0">
              <a:solidFill>
                <a:sysClr val="windowText" lastClr="000000"/>
              </a:solidFill>
              <a:latin typeface="Tahoma"/>
              <a:cs typeface="Tahoma"/>
            </a:endParaRPr>
          </a:p>
        </p:txBody>
      </p:sp>
    </p:spTree>
    <p:extLst>
      <p:ext uri="{BB962C8B-B14F-4D97-AF65-F5344CB8AC3E}">
        <p14:creationId xmlns:p14="http://schemas.microsoft.com/office/powerpoint/2010/main" val="373406055"/>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ECFC71-0590-A096-68DE-D551013F4000}"/>
            </a:ext>
          </a:extLst>
        </p:cNvPr>
        <p:cNvGrpSpPr/>
        <p:nvPr/>
      </p:nvGrpSpPr>
      <p:grpSpPr>
        <a:xfrm>
          <a:off x="0" y="0"/>
          <a:ext cx="0" cy="0"/>
          <a:chOff x="0" y="0"/>
          <a:chExt cx="0" cy="0"/>
        </a:xfrm>
      </p:grpSpPr>
      <p:pic>
        <p:nvPicPr>
          <p:cNvPr id="43" name="object 5">
            <a:extLst>
              <a:ext uri="{FF2B5EF4-FFF2-40B4-BE49-F238E27FC236}">
                <a16:creationId xmlns:a16="http://schemas.microsoft.com/office/drawing/2014/main" id="{36CEDBDD-3800-6B30-B889-BFFCAE142CD8}"/>
              </a:ext>
            </a:extLst>
          </p:cNvPr>
          <p:cNvPicPr/>
          <p:nvPr/>
        </p:nvPicPr>
        <p:blipFill>
          <a:blip r:embed="rId3" cstate="print"/>
          <a:stretch>
            <a:fillRect/>
          </a:stretch>
        </p:blipFill>
        <p:spPr>
          <a:xfrm>
            <a:off x="1602740" y="0"/>
            <a:ext cx="3665219" cy="6858000"/>
          </a:xfrm>
          <a:prstGeom prst="rect">
            <a:avLst/>
          </a:prstGeom>
        </p:spPr>
      </p:pic>
      <p:grpSp>
        <p:nvGrpSpPr>
          <p:cNvPr id="44" name="object 3">
            <a:extLst>
              <a:ext uri="{FF2B5EF4-FFF2-40B4-BE49-F238E27FC236}">
                <a16:creationId xmlns:a16="http://schemas.microsoft.com/office/drawing/2014/main" id="{D334CB64-39FC-23C9-EFC9-A82D96B2DA20}"/>
              </a:ext>
            </a:extLst>
          </p:cNvPr>
          <p:cNvGrpSpPr/>
          <p:nvPr/>
        </p:nvGrpSpPr>
        <p:grpSpPr>
          <a:xfrm>
            <a:off x="1602740" y="0"/>
            <a:ext cx="3665219" cy="6858000"/>
            <a:chOff x="0" y="0"/>
            <a:chExt cx="3665219" cy="6858000"/>
          </a:xfrm>
          <a:solidFill>
            <a:srgbClr val="C0A66C"/>
          </a:solidFill>
        </p:grpSpPr>
        <p:sp>
          <p:nvSpPr>
            <p:cNvPr id="45" name="object 4">
              <a:extLst>
                <a:ext uri="{FF2B5EF4-FFF2-40B4-BE49-F238E27FC236}">
                  <a16:creationId xmlns:a16="http://schemas.microsoft.com/office/drawing/2014/main" id="{8334C08F-1E6F-A38A-AFA7-A6AF2BBD049F}"/>
                </a:ext>
              </a:extLst>
            </p:cNvPr>
            <p:cNvSpPr/>
            <p:nvPr/>
          </p:nvSpPr>
          <p:spPr>
            <a:xfrm>
              <a:off x="321563" y="2072639"/>
              <a:ext cx="3086100" cy="0"/>
            </a:xfrm>
            <a:custGeom>
              <a:avLst/>
              <a:gdLst/>
              <a:ahLst/>
              <a:cxnLst/>
              <a:rect l="l" t="t" r="r" b="b"/>
              <a:pathLst>
                <a:path w="3086100">
                  <a:moveTo>
                    <a:pt x="0" y="0"/>
                  </a:moveTo>
                  <a:lnTo>
                    <a:pt x="3086100" y="0"/>
                  </a:lnTo>
                </a:path>
              </a:pathLst>
            </a:custGeom>
            <a:grpFill/>
            <a:ln w="9525">
              <a:solidFill>
                <a:srgbClr val="FFFFFF"/>
              </a:solidFill>
            </a:ln>
          </p:spPr>
          <p:txBody>
            <a:bodyPr wrap="square" lIns="0" tIns="0" rIns="0" bIns="0" rtlCol="0"/>
            <a:lstStyle/>
            <a:p>
              <a:endParaRPr kern="0">
                <a:solidFill>
                  <a:sysClr val="windowText" lastClr="000000"/>
                </a:solidFill>
              </a:endParaRPr>
            </a:p>
          </p:txBody>
        </p:sp>
        <p:pic>
          <p:nvPicPr>
            <p:cNvPr id="46" name="object 5">
              <a:extLst>
                <a:ext uri="{FF2B5EF4-FFF2-40B4-BE49-F238E27FC236}">
                  <a16:creationId xmlns:a16="http://schemas.microsoft.com/office/drawing/2014/main" id="{2AE7D981-0A1D-1804-41D6-FDCC2A8AA739}"/>
                </a:ext>
              </a:extLst>
            </p:cNvPr>
            <p:cNvPicPr/>
            <p:nvPr/>
          </p:nvPicPr>
          <p:blipFill>
            <a:blip r:embed="rId3" cstate="print"/>
            <a:stretch>
              <a:fillRect/>
            </a:stretch>
          </p:blipFill>
          <p:spPr>
            <a:xfrm>
              <a:off x="0" y="0"/>
              <a:ext cx="3665219" cy="6858000"/>
            </a:xfrm>
            <a:prstGeom prst="rect">
              <a:avLst/>
            </a:prstGeom>
            <a:grpFill/>
          </p:spPr>
        </p:pic>
        <p:sp>
          <p:nvSpPr>
            <p:cNvPr id="47" name="object 6">
              <a:extLst>
                <a:ext uri="{FF2B5EF4-FFF2-40B4-BE49-F238E27FC236}">
                  <a16:creationId xmlns:a16="http://schemas.microsoft.com/office/drawing/2014/main" id="{04B304A5-55C2-BEAC-200F-023AD44F3230}"/>
                </a:ext>
              </a:extLst>
            </p:cNvPr>
            <p:cNvSpPr/>
            <p:nvPr/>
          </p:nvSpPr>
          <p:spPr>
            <a:xfrm>
              <a:off x="0" y="0"/>
              <a:ext cx="3589020" cy="6858000"/>
            </a:xfrm>
            <a:custGeom>
              <a:avLst/>
              <a:gdLst/>
              <a:ahLst/>
              <a:cxnLst/>
              <a:rect l="l" t="t" r="r" b="b"/>
              <a:pathLst>
                <a:path w="3589020" h="6858000">
                  <a:moveTo>
                    <a:pt x="0" y="6858000"/>
                  </a:moveTo>
                  <a:lnTo>
                    <a:pt x="3589020" y="6858000"/>
                  </a:lnTo>
                  <a:lnTo>
                    <a:pt x="3589020" y="0"/>
                  </a:lnTo>
                  <a:lnTo>
                    <a:pt x="0" y="0"/>
                  </a:lnTo>
                  <a:lnTo>
                    <a:pt x="0" y="6858000"/>
                  </a:lnTo>
                  <a:close/>
                </a:path>
              </a:pathLst>
            </a:custGeom>
            <a:grpFill/>
          </p:spPr>
          <p:txBody>
            <a:bodyPr wrap="square" lIns="0" tIns="0" rIns="0" bIns="0" rtlCol="0"/>
            <a:lstStyle/>
            <a:p>
              <a:endParaRPr kern="0">
                <a:solidFill>
                  <a:sysClr val="windowText" lastClr="000000"/>
                </a:solidFill>
              </a:endParaRPr>
            </a:p>
          </p:txBody>
        </p:sp>
        <p:sp>
          <p:nvSpPr>
            <p:cNvPr id="48" name="object 7">
              <a:extLst>
                <a:ext uri="{FF2B5EF4-FFF2-40B4-BE49-F238E27FC236}">
                  <a16:creationId xmlns:a16="http://schemas.microsoft.com/office/drawing/2014/main" id="{9655706A-C6C2-71C4-2F4E-A5207FD8C6CE}"/>
                </a:ext>
              </a:extLst>
            </p:cNvPr>
            <p:cNvSpPr/>
            <p:nvPr/>
          </p:nvSpPr>
          <p:spPr>
            <a:xfrm>
              <a:off x="321563" y="2081783"/>
              <a:ext cx="3086100" cy="0"/>
            </a:xfrm>
            <a:custGeom>
              <a:avLst/>
              <a:gdLst/>
              <a:ahLst/>
              <a:cxnLst/>
              <a:rect l="l" t="t" r="r" b="b"/>
              <a:pathLst>
                <a:path w="3086100">
                  <a:moveTo>
                    <a:pt x="0" y="0"/>
                  </a:moveTo>
                  <a:lnTo>
                    <a:pt x="3086100" y="0"/>
                  </a:lnTo>
                </a:path>
              </a:pathLst>
            </a:custGeom>
            <a:grpFill/>
            <a:ln w="9525">
              <a:solidFill>
                <a:srgbClr val="FFFFFF"/>
              </a:solidFill>
            </a:ln>
          </p:spPr>
          <p:txBody>
            <a:bodyPr wrap="square" lIns="0" tIns="0" rIns="0" bIns="0" rtlCol="0"/>
            <a:lstStyle/>
            <a:p>
              <a:endParaRPr kern="0">
                <a:solidFill>
                  <a:sysClr val="windowText" lastClr="000000"/>
                </a:solidFill>
              </a:endParaRPr>
            </a:p>
          </p:txBody>
        </p:sp>
      </p:grpSp>
      <p:sp>
        <p:nvSpPr>
          <p:cNvPr id="50" name="object 9">
            <a:extLst>
              <a:ext uri="{FF2B5EF4-FFF2-40B4-BE49-F238E27FC236}">
                <a16:creationId xmlns:a16="http://schemas.microsoft.com/office/drawing/2014/main" id="{DCCC19A8-E387-2692-7EE3-199D1F983C96}"/>
              </a:ext>
            </a:extLst>
          </p:cNvPr>
          <p:cNvSpPr txBox="1">
            <a:spLocks/>
          </p:cNvSpPr>
          <p:nvPr/>
        </p:nvSpPr>
        <p:spPr>
          <a:xfrm>
            <a:off x="2620726" y="1533223"/>
            <a:ext cx="2186534" cy="443070"/>
          </a:xfrm>
          <a:prstGeom prst="rect">
            <a:avLst/>
          </a:prstGeom>
        </p:spPr>
        <p:txBody>
          <a:bodyPr vert="horz" wrap="square" lIns="0" tIns="12065" rIns="0" bIns="0" rtlCol="0">
            <a:sp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12700" algn="l" rtl="1">
              <a:spcBef>
                <a:spcPts val="95"/>
              </a:spcBef>
            </a:pPr>
            <a:r>
              <a:rPr lang="ar-SA" sz="2800" dirty="0">
                <a:solidFill>
                  <a:srgbClr val="FFFFFF"/>
                </a:solidFill>
              </a:rPr>
              <a:t>الوحدة الأولى</a:t>
            </a:r>
          </a:p>
        </p:txBody>
      </p:sp>
      <p:sp>
        <p:nvSpPr>
          <p:cNvPr id="51" name="object 10">
            <a:extLst>
              <a:ext uri="{FF2B5EF4-FFF2-40B4-BE49-F238E27FC236}">
                <a16:creationId xmlns:a16="http://schemas.microsoft.com/office/drawing/2014/main" id="{29FE21E6-2253-3513-0182-403F987CA3EB}"/>
              </a:ext>
            </a:extLst>
          </p:cNvPr>
          <p:cNvSpPr txBox="1"/>
          <p:nvPr/>
        </p:nvSpPr>
        <p:spPr>
          <a:xfrm>
            <a:off x="1454426" y="2251792"/>
            <a:ext cx="3475383" cy="406971"/>
          </a:xfrm>
          <a:prstGeom prst="rect">
            <a:avLst/>
          </a:prstGeom>
        </p:spPr>
        <p:txBody>
          <a:bodyPr vert="horz" wrap="square" lIns="0" tIns="60960" rIns="0" bIns="0" rtlCol="0">
            <a:spAutoFit/>
          </a:bodyPr>
          <a:lstStyle/>
          <a:p>
            <a:pPr marL="12700" marR="5080" algn="r">
              <a:lnSpc>
                <a:spcPts val="3020"/>
              </a:lnSpc>
              <a:spcBef>
                <a:spcPts val="480"/>
              </a:spcBef>
            </a:pPr>
            <a:r>
              <a:rPr lang="ar-SA" sz="2000" b="1" kern="0" dirty="0">
                <a:solidFill>
                  <a:srgbClr val="FFFFFF"/>
                </a:solidFill>
                <a:latin typeface="Century Gothic"/>
                <a:cs typeface="Century Gothic"/>
              </a:rPr>
              <a:t>عالم مؤشرات الأداء الرئيسية (</a:t>
            </a:r>
            <a:r>
              <a:rPr lang="en-US" sz="2000" b="1" kern="0" dirty="0">
                <a:solidFill>
                  <a:srgbClr val="FFFFFF"/>
                </a:solidFill>
                <a:latin typeface="Century Gothic"/>
                <a:cs typeface="Century Gothic"/>
              </a:rPr>
              <a:t>(KPIs</a:t>
            </a:r>
          </a:p>
        </p:txBody>
      </p:sp>
      <p:sp>
        <p:nvSpPr>
          <p:cNvPr id="3" name="object 8">
            <a:extLst>
              <a:ext uri="{FF2B5EF4-FFF2-40B4-BE49-F238E27FC236}">
                <a16:creationId xmlns:a16="http://schemas.microsoft.com/office/drawing/2014/main" id="{BA8288CC-6783-5DA4-3FB1-601B88C9C761}"/>
              </a:ext>
            </a:extLst>
          </p:cNvPr>
          <p:cNvSpPr txBox="1"/>
          <p:nvPr/>
        </p:nvSpPr>
        <p:spPr>
          <a:xfrm>
            <a:off x="8675878" y="1996186"/>
            <a:ext cx="2588260" cy="331470"/>
          </a:xfrm>
          <a:prstGeom prst="rect">
            <a:avLst/>
          </a:prstGeom>
        </p:spPr>
        <p:txBody>
          <a:bodyPr vert="horz" wrap="square" lIns="0" tIns="13335" rIns="0" bIns="0" rtlCol="0">
            <a:spAutoFit/>
          </a:bodyPr>
          <a:lstStyle/>
          <a:p>
            <a:pPr marL="12700">
              <a:spcBef>
                <a:spcPts val="105"/>
              </a:spcBef>
            </a:pPr>
            <a:r>
              <a:rPr lang="ar-SA" sz="2000" b="1" kern="0" spc="65" dirty="0">
                <a:solidFill>
                  <a:srgbClr val="A78B5E"/>
                </a:solidFill>
                <a:latin typeface="Century Gothic"/>
                <a:cs typeface="Century Gothic"/>
              </a:rPr>
              <a:t>النقاط الرئيسية للتعلم:</a:t>
            </a:r>
          </a:p>
        </p:txBody>
      </p:sp>
      <p:sp>
        <p:nvSpPr>
          <p:cNvPr id="4" name="object 12">
            <a:extLst>
              <a:ext uri="{FF2B5EF4-FFF2-40B4-BE49-F238E27FC236}">
                <a16:creationId xmlns:a16="http://schemas.microsoft.com/office/drawing/2014/main" id="{4F35DE2E-B383-E2ED-4DC1-5DFC14D728B8}"/>
              </a:ext>
            </a:extLst>
          </p:cNvPr>
          <p:cNvSpPr txBox="1"/>
          <p:nvPr/>
        </p:nvSpPr>
        <p:spPr>
          <a:xfrm>
            <a:off x="5409669" y="2499280"/>
            <a:ext cx="5967100" cy="1298753"/>
          </a:xfrm>
          <a:prstGeom prst="rect">
            <a:avLst/>
          </a:prstGeom>
        </p:spPr>
        <p:txBody>
          <a:bodyPr vert="horz" wrap="square" lIns="0" tIns="25400" rIns="0" bIns="0" rtlCol="0">
            <a:spAutoFit/>
          </a:bodyPr>
          <a:lstStyle/>
          <a:p>
            <a:pPr marL="355600" marR="62865" indent="-342900">
              <a:lnSpc>
                <a:spcPct val="200000"/>
              </a:lnSpc>
              <a:spcBef>
                <a:spcPts val="200"/>
              </a:spcBef>
              <a:buClr>
                <a:srgbClr val="A36C3F"/>
              </a:buClr>
              <a:buSzPct val="80000"/>
              <a:buFont typeface="Segoe UI Symbol"/>
              <a:buChar char="⮚"/>
              <a:tabLst>
                <a:tab pos="355600" algn="l"/>
              </a:tabLst>
            </a:pPr>
            <a:r>
              <a:rPr lang="ar-SA" sz="1400" kern="0" dirty="0">
                <a:solidFill>
                  <a:srgbClr val="C1A171"/>
                </a:solidFill>
                <a:latin typeface="Tahoma"/>
                <a:cs typeface="Tahoma"/>
              </a:rPr>
              <a:t>تعريف الأهداف، مؤشرات الأداء الرئيسية، والمبادرات وفقًا لمعايير المصطلحات؛</a:t>
            </a:r>
          </a:p>
          <a:p>
            <a:pPr marL="355600" marR="62865" indent="-342900">
              <a:lnSpc>
                <a:spcPct val="200000"/>
              </a:lnSpc>
              <a:spcBef>
                <a:spcPts val="200"/>
              </a:spcBef>
              <a:buClr>
                <a:srgbClr val="A36C3F"/>
              </a:buClr>
              <a:buSzPct val="80000"/>
              <a:buFont typeface="Segoe UI Symbol"/>
              <a:buChar char="⮚"/>
              <a:tabLst>
                <a:tab pos="355600" algn="l"/>
              </a:tabLst>
            </a:pPr>
            <a:r>
              <a:rPr lang="ar-SA" sz="1400" kern="0" dirty="0">
                <a:solidFill>
                  <a:srgbClr val="C1A171"/>
                </a:solidFill>
                <a:latin typeface="Tahoma"/>
                <a:cs typeface="Tahoma"/>
              </a:rPr>
              <a:t>تطوير أهداف ذكية</a:t>
            </a:r>
            <a:r>
              <a:rPr lang="en-US" sz="1400" kern="0" dirty="0">
                <a:solidFill>
                  <a:srgbClr val="C1A171"/>
                </a:solidFill>
                <a:latin typeface="Tahoma"/>
                <a:cs typeface="Tahoma"/>
              </a:rPr>
              <a:t>؛</a:t>
            </a:r>
            <a:endParaRPr lang="ar-SA" sz="1400" kern="0" dirty="0">
              <a:solidFill>
                <a:srgbClr val="C1A171"/>
              </a:solidFill>
              <a:latin typeface="Tahoma"/>
              <a:cs typeface="Tahoma"/>
            </a:endParaRPr>
          </a:p>
          <a:p>
            <a:pPr marL="355600" marR="62865" indent="-342900">
              <a:lnSpc>
                <a:spcPct val="200000"/>
              </a:lnSpc>
              <a:spcBef>
                <a:spcPts val="200"/>
              </a:spcBef>
              <a:buClr>
                <a:srgbClr val="A36C3F"/>
              </a:buClr>
              <a:buSzPct val="80000"/>
              <a:buFont typeface="Segoe UI Symbol"/>
              <a:buChar char="⮚"/>
              <a:tabLst>
                <a:tab pos="355600" algn="l"/>
              </a:tabLst>
            </a:pPr>
            <a:r>
              <a:rPr lang="ar-SA" sz="1400" kern="0" spc="-35" dirty="0">
                <a:solidFill>
                  <a:srgbClr val="C1A171"/>
                </a:solidFill>
                <a:latin typeface="Tahoma"/>
                <a:cs typeface="Tahoma"/>
              </a:rPr>
              <a:t>تحديد مراحل دورة حياة مؤشرات الأداء الرئيسية</a:t>
            </a:r>
            <a:endParaRPr sz="1400" kern="0" dirty="0">
              <a:solidFill>
                <a:srgbClr val="C1A171"/>
              </a:solidFill>
              <a:latin typeface="Tahoma"/>
              <a:cs typeface="Tahoma"/>
            </a:endParaRPr>
          </a:p>
        </p:txBody>
      </p:sp>
    </p:spTree>
    <p:extLst>
      <p:ext uri="{BB962C8B-B14F-4D97-AF65-F5344CB8AC3E}">
        <p14:creationId xmlns:p14="http://schemas.microsoft.com/office/powerpoint/2010/main" val="3406870280"/>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F0F3C3-DD9B-1196-8B02-EF0C354C25D0}"/>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B2B5BFE4-1385-3110-C000-AF3DA99631BB}"/>
              </a:ext>
            </a:extLst>
          </p:cNvPr>
          <p:cNvSpPr txBox="1">
            <a:spLocks/>
          </p:cNvSpPr>
          <p:nvPr/>
        </p:nvSpPr>
        <p:spPr>
          <a:xfrm>
            <a:off x="2454381" y="418506"/>
            <a:ext cx="11292772" cy="642189"/>
          </a:xfrm>
          <a:prstGeom prst="rect">
            <a:avLst/>
          </a:prstGeom>
        </p:spPr>
        <p:txBody>
          <a:bodyPr vert="horz" wrap="square" lIns="0" tIns="209258" rIns="0" bIns="0" rtlCol="0">
            <a:sp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31115">
              <a:spcBef>
                <a:spcPts val="100"/>
              </a:spcBef>
            </a:pPr>
            <a:r>
              <a:rPr lang="ar-SA" sz="2800" dirty="0">
                <a:solidFill>
                  <a:srgbClr val="A36C3F"/>
                </a:solidFill>
                <a:latin typeface="Avenir Next Arabic Demi" panose="020B0703020202020204" pitchFamily="34" charset="-78"/>
                <a:cs typeface="Avenir Next Arabic Demi" panose="020B0703020202020204" pitchFamily="34" charset="-78"/>
              </a:rPr>
              <a:t>دورة حياة مؤشرات الأداء الرئيسية</a:t>
            </a:r>
          </a:p>
        </p:txBody>
      </p:sp>
      <p:sp>
        <p:nvSpPr>
          <p:cNvPr id="5" name="object 5">
            <a:extLst>
              <a:ext uri="{FF2B5EF4-FFF2-40B4-BE49-F238E27FC236}">
                <a16:creationId xmlns:a16="http://schemas.microsoft.com/office/drawing/2014/main" id="{5D8E0536-262F-367A-6F9D-3242DE20815D}"/>
              </a:ext>
            </a:extLst>
          </p:cNvPr>
          <p:cNvSpPr/>
          <p:nvPr/>
        </p:nvSpPr>
        <p:spPr>
          <a:xfrm>
            <a:off x="1920650" y="1438352"/>
            <a:ext cx="2827020" cy="751840"/>
          </a:xfrm>
          <a:custGeom>
            <a:avLst/>
            <a:gdLst/>
            <a:ahLst/>
            <a:cxnLst/>
            <a:rect l="l" t="t" r="r" b="b"/>
            <a:pathLst>
              <a:path w="2827020" h="751839">
                <a:moveTo>
                  <a:pt x="2467864" y="0"/>
                </a:moveTo>
                <a:lnTo>
                  <a:pt x="62725" y="0"/>
                </a:lnTo>
                <a:lnTo>
                  <a:pt x="38672" y="4780"/>
                </a:lnTo>
                <a:lnTo>
                  <a:pt x="18694" y="17859"/>
                </a:lnTo>
                <a:lnTo>
                  <a:pt x="5050" y="37343"/>
                </a:lnTo>
                <a:lnTo>
                  <a:pt x="0" y="61340"/>
                </a:lnTo>
                <a:lnTo>
                  <a:pt x="0" y="689990"/>
                </a:lnTo>
                <a:lnTo>
                  <a:pt x="5050" y="713988"/>
                </a:lnTo>
                <a:lnTo>
                  <a:pt x="18694" y="733472"/>
                </a:lnTo>
                <a:lnTo>
                  <a:pt x="38672" y="746551"/>
                </a:lnTo>
                <a:lnTo>
                  <a:pt x="62725" y="751332"/>
                </a:lnTo>
                <a:lnTo>
                  <a:pt x="2460625" y="751332"/>
                </a:lnTo>
                <a:lnTo>
                  <a:pt x="2542232" y="691542"/>
                </a:lnTo>
                <a:lnTo>
                  <a:pt x="2656316" y="572293"/>
                </a:lnTo>
                <a:lnTo>
                  <a:pt x="2820035" y="399542"/>
                </a:lnTo>
                <a:lnTo>
                  <a:pt x="2826972" y="375666"/>
                </a:lnTo>
                <a:lnTo>
                  <a:pt x="2824446" y="363108"/>
                </a:lnTo>
                <a:lnTo>
                  <a:pt x="2630612" y="152340"/>
                </a:lnTo>
                <a:lnTo>
                  <a:pt x="2533602" y="49688"/>
                </a:lnTo>
                <a:lnTo>
                  <a:pt x="2495385" y="11283"/>
                </a:lnTo>
                <a:lnTo>
                  <a:pt x="2467864" y="0"/>
                </a:lnTo>
                <a:close/>
              </a:path>
            </a:pathLst>
          </a:custGeom>
          <a:solidFill>
            <a:srgbClr val="C0A66C">
              <a:alpha val="66275"/>
            </a:srgbClr>
          </a:solidFill>
        </p:spPr>
        <p:txBody>
          <a:bodyPr wrap="square" lIns="0" tIns="0" rIns="0" bIns="0" rtlCol="0"/>
          <a:lstStyle/>
          <a:p>
            <a:endParaRPr kern="0">
              <a:solidFill>
                <a:sysClr val="windowText" lastClr="000000"/>
              </a:solidFill>
            </a:endParaRPr>
          </a:p>
        </p:txBody>
      </p:sp>
      <p:pic>
        <p:nvPicPr>
          <p:cNvPr id="6" name="object 6">
            <a:extLst>
              <a:ext uri="{FF2B5EF4-FFF2-40B4-BE49-F238E27FC236}">
                <a16:creationId xmlns:a16="http://schemas.microsoft.com/office/drawing/2014/main" id="{EDCDAE5B-0793-59D3-0CAA-D43A05F85C31}"/>
              </a:ext>
            </a:extLst>
          </p:cNvPr>
          <p:cNvPicPr/>
          <p:nvPr/>
        </p:nvPicPr>
        <p:blipFill>
          <a:blip r:embed="rId3" cstate="print"/>
          <a:stretch>
            <a:fillRect/>
          </a:stretch>
        </p:blipFill>
        <p:spPr>
          <a:xfrm>
            <a:off x="4640580" y="1399019"/>
            <a:ext cx="2805684" cy="853452"/>
          </a:xfrm>
          <a:prstGeom prst="rect">
            <a:avLst/>
          </a:prstGeom>
        </p:spPr>
      </p:pic>
      <p:sp>
        <p:nvSpPr>
          <p:cNvPr id="7" name="object 7">
            <a:extLst>
              <a:ext uri="{FF2B5EF4-FFF2-40B4-BE49-F238E27FC236}">
                <a16:creationId xmlns:a16="http://schemas.microsoft.com/office/drawing/2014/main" id="{2E702A59-5DDB-CC70-B51A-707BC0560ACA}"/>
              </a:ext>
            </a:extLst>
          </p:cNvPr>
          <p:cNvSpPr/>
          <p:nvPr/>
        </p:nvSpPr>
        <p:spPr>
          <a:xfrm>
            <a:off x="4666487" y="1424939"/>
            <a:ext cx="2703830" cy="751840"/>
          </a:xfrm>
          <a:custGeom>
            <a:avLst/>
            <a:gdLst/>
            <a:ahLst/>
            <a:cxnLst/>
            <a:rect l="l" t="t" r="r" b="b"/>
            <a:pathLst>
              <a:path w="2703829" h="751839">
                <a:moveTo>
                  <a:pt x="2341969" y="71"/>
                </a:moveTo>
                <a:lnTo>
                  <a:pt x="0" y="0"/>
                </a:lnTo>
                <a:lnTo>
                  <a:pt x="6861" y="392"/>
                </a:lnTo>
                <a:lnTo>
                  <a:pt x="13271" y="1428"/>
                </a:lnTo>
                <a:lnTo>
                  <a:pt x="81607" y="59789"/>
                </a:lnTo>
                <a:lnTo>
                  <a:pt x="195691" y="179038"/>
                </a:lnTo>
                <a:lnTo>
                  <a:pt x="359410" y="351789"/>
                </a:lnTo>
                <a:lnTo>
                  <a:pt x="368458" y="375665"/>
                </a:lnTo>
                <a:lnTo>
                  <a:pt x="366196" y="388223"/>
                </a:lnTo>
                <a:lnTo>
                  <a:pt x="172400" y="598991"/>
                </a:lnTo>
                <a:lnTo>
                  <a:pt x="75390" y="701643"/>
                </a:lnTo>
                <a:lnTo>
                  <a:pt x="37173" y="740048"/>
                </a:lnTo>
                <a:lnTo>
                  <a:pt x="0" y="751332"/>
                </a:lnTo>
                <a:lnTo>
                  <a:pt x="2337181" y="751332"/>
                </a:lnTo>
                <a:lnTo>
                  <a:pt x="2418788" y="691542"/>
                </a:lnTo>
                <a:lnTo>
                  <a:pt x="2532872" y="572293"/>
                </a:lnTo>
                <a:lnTo>
                  <a:pt x="2696591" y="399542"/>
                </a:lnTo>
                <a:lnTo>
                  <a:pt x="2703528" y="375666"/>
                </a:lnTo>
                <a:lnTo>
                  <a:pt x="2701002" y="363108"/>
                </a:lnTo>
                <a:lnTo>
                  <a:pt x="2507168" y="152340"/>
                </a:lnTo>
                <a:lnTo>
                  <a:pt x="2410158" y="49688"/>
                </a:lnTo>
                <a:lnTo>
                  <a:pt x="2371941" y="11283"/>
                </a:lnTo>
                <a:lnTo>
                  <a:pt x="2348944" y="571"/>
                </a:lnTo>
                <a:lnTo>
                  <a:pt x="2341969" y="71"/>
                </a:lnTo>
                <a:close/>
              </a:path>
            </a:pathLst>
          </a:custGeom>
          <a:solidFill>
            <a:srgbClr val="C4862A"/>
          </a:solidFill>
        </p:spPr>
        <p:txBody>
          <a:bodyPr wrap="square" lIns="0" tIns="0" rIns="0" bIns="0" rtlCol="0"/>
          <a:lstStyle/>
          <a:p>
            <a:endParaRPr kern="0">
              <a:solidFill>
                <a:sysClr val="windowText" lastClr="000000"/>
              </a:solidFill>
            </a:endParaRPr>
          </a:p>
        </p:txBody>
      </p:sp>
      <p:pic>
        <p:nvPicPr>
          <p:cNvPr id="8" name="object 8">
            <a:extLst>
              <a:ext uri="{FF2B5EF4-FFF2-40B4-BE49-F238E27FC236}">
                <a16:creationId xmlns:a16="http://schemas.microsoft.com/office/drawing/2014/main" id="{07D9745A-75D1-6801-AFF6-D46FD52F2E9E}"/>
              </a:ext>
            </a:extLst>
          </p:cNvPr>
          <p:cNvPicPr/>
          <p:nvPr/>
        </p:nvPicPr>
        <p:blipFill>
          <a:blip r:embed="rId4" cstate="print"/>
          <a:stretch>
            <a:fillRect/>
          </a:stretch>
        </p:blipFill>
        <p:spPr>
          <a:xfrm>
            <a:off x="7176515" y="1399019"/>
            <a:ext cx="2807208" cy="853452"/>
          </a:xfrm>
          <a:prstGeom prst="rect">
            <a:avLst/>
          </a:prstGeom>
        </p:spPr>
      </p:pic>
      <p:sp>
        <p:nvSpPr>
          <p:cNvPr id="9" name="object 9">
            <a:extLst>
              <a:ext uri="{FF2B5EF4-FFF2-40B4-BE49-F238E27FC236}">
                <a16:creationId xmlns:a16="http://schemas.microsoft.com/office/drawing/2014/main" id="{8C2340E0-0467-9F7D-9FCE-66E615F3EF5E}"/>
              </a:ext>
            </a:extLst>
          </p:cNvPr>
          <p:cNvSpPr/>
          <p:nvPr/>
        </p:nvSpPr>
        <p:spPr>
          <a:xfrm>
            <a:off x="7202424" y="1424939"/>
            <a:ext cx="2705100" cy="751840"/>
          </a:xfrm>
          <a:custGeom>
            <a:avLst/>
            <a:gdLst/>
            <a:ahLst/>
            <a:cxnLst/>
            <a:rect l="l" t="t" r="r" b="b"/>
            <a:pathLst>
              <a:path w="2705100" h="751839">
                <a:moveTo>
                  <a:pt x="2343366" y="71"/>
                </a:moveTo>
                <a:lnTo>
                  <a:pt x="0" y="0"/>
                </a:lnTo>
                <a:lnTo>
                  <a:pt x="6861" y="392"/>
                </a:lnTo>
                <a:lnTo>
                  <a:pt x="13271" y="1428"/>
                </a:lnTo>
                <a:lnTo>
                  <a:pt x="81627" y="59789"/>
                </a:lnTo>
                <a:lnTo>
                  <a:pt x="195754" y="179038"/>
                </a:lnTo>
                <a:lnTo>
                  <a:pt x="359537" y="351789"/>
                </a:lnTo>
                <a:lnTo>
                  <a:pt x="368585" y="375665"/>
                </a:lnTo>
                <a:lnTo>
                  <a:pt x="366323" y="388223"/>
                </a:lnTo>
                <a:lnTo>
                  <a:pt x="172454" y="598991"/>
                </a:lnTo>
                <a:lnTo>
                  <a:pt x="75406" y="701643"/>
                </a:lnTo>
                <a:lnTo>
                  <a:pt x="37175" y="740048"/>
                </a:lnTo>
                <a:lnTo>
                  <a:pt x="0" y="751332"/>
                </a:lnTo>
                <a:lnTo>
                  <a:pt x="2338578" y="751332"/>
                </a:lnTo>
                <a:lnTo>
                  <a:pt x="2420205" y="691542"/>
                </a:lnTo>
                <a:lnTo>
                  <a:pt x="2534332" y="572293"/>
                </a:lnTo>
                <a:lnTo>
                  <a:pt x="2698115" y="399542"/>
                </a:lnTo>
                <a:lnTo>
                  <a:pt x="2705052" y="375666"/>
                </a:lnTo>
                <a:lnTo>
                  <a:pt x="2702526" y="363108"/>
                </a:lnTo>
                <a:lnTo>
                  <a:pt x="2508619" y="152340"/>
                </a:lnTo>
                <a:lnTo>
                  <a:pt x="2411571" y="49688"/>
                </a:lnTo>
                <a:lnTo>
                  <a:pt x="2373340" y="11283"/>
                </a:lnTo>
                <a:lnTo>
                  <a:pt x="2350341" y="571"/>
                </a:lnTo>
                <a:lnTo>
                  <a:pt x="2343366" y="71"/>
                </a:lnTo>
                <a:close/>
              </a:path>
            </a:pathLst>
          </a:custGeom>
          <a:solidFill>
            <a:srgbClr val="A36C3F"/>
          </a:solidFill>
        </p:spPr>
        <p:txBody>
          <a:bodyPr wrap="square" lIns="0" tIns="0" rIns="0" bIns="0" rtlCol="0"/>
          <a:lstStyle/>
          <a:p>
            <a:endParaRPr kern="0">
              <a:solidFill>
                <a:sysClr val="windowText" lastClr="000000"/>
              </a:solidFill>
            </a:endParaRPr>
          </a:p>
        </p:txBody>
      </p:sp>
      <p:pic>
        <p:nvPicPr>
          <p:cNvPr id="10" name="object 10">
            <a:extLst>
              <a:ext uri="{FF2B5EF4-FFF2-40B4-BE49-F238E27FC236}">
                <a16:creationId xmlns:a16="http://schemas.microsoft.com/office/drawing/2014/main" id="{480399D7-7962-50A2-1A45-267FDF0B0616}"/>
              </a:ext>
            </a:extLst>
          </p:cNvPr>
          <p:cNvPicPr/>
          <p:nvPr/>
        </p:nvPicPr>
        <p:blipFill>
          <a:blip r:embed="rId5" cstate="print"/>
          <a:stretch>
            <a:fillRect/>
          </a:stretch>
        </p:blipFill>
        <p:spPr>
          <a:xfrm>
            <a:off x="7731251" y="2247963"/>
            <a:ext cx="301815" cy="301815"/>
          </a:xfrm>
          <a:prstGeom prst="rect">
            <a:avLst/>
          </a:prstGeom>
        </p:spPr>
      </p:pic>
      <p:pic>
        <p:nvPicPr>
          <p:cNvPr id="11" name="object 11">
            <a:extLst>
              <a:ext uri="{FF2B5EF4-FFF2-40B4-BE49-F238E27FC236}">
                <a16:creationId xmlns:a16="http://schemas.microsoft.com/office/drawing/2014/main" id="{862AE6B3-7750-675D-894D-15A6019E56E0}"/>
              </a:ext>
            </a:extLst>
          </p:cNvPr>
          <p:cNvPicPr/>
          <p:nvPr/>
        </p:nvPicPr>
        <p:blipFill>
          <a:blip r:embed="rId6" cstate="print"/>
          <a:stretch>
            <a:fillRect/>
          </a:stretch>
        </p:blipFill>
        <p:spPr>
          <a:xfrm>
            <a:off x="7763256" y="2279903"/>
            <a:ext cx="187452" cy="187451"/>
          </a:xfrm>
          <a:prstGeom prst="rect">
            <a:avLst/>
          </a:prstGeom>
        </p:spPr>
      </p:pic>
      <p:sp>
        <p:nvSpPr>
          <p:cNvPr id="12" name="object 12">
            <a:extLst>
              <a:ext uri="{FF2B5EF4-FFF2-40B4-BE49-F238E27FC236}">
                <a16:creationId xmlns:a16="http://schemas.microsoft.com/office/drawing/2014/main" id="{30FE9735-9E41-4451-C47F-29FA92C3DA21}"/>
              </a:ext>
            </a:extLst>
          </p:cNvPr>
          <p:cNvSpPr/>
          <p:nvPr/>
        </p:nvSpPr>
        <p:spPr>
          <a:xfrm>
            <a:off x="7763256" y="2279903"/>
            <a:ext cx="187960" cy="187960"/>
          </a:xfrm>
          <a:custGeom>
            <a:avLst/>
            <a:gdLst/>
            <a:ahLst/>
            <a:cxnLst/>
            <a:rect l="l" t="t" r="r" b="b"/>
            <a:pathLst>
              <a:path w="187960" h="187960">
                <a:moveTo>
                  <a:pt x="0" y="93725"/>
                </a:moveTo>
                <a:lnTo>
                  <a:pt x="7358" y="57221"/>
                </a:lnTo>
                <a:lnTo>
                  <a:pt x="27432" y="27432"/>
                </a:lnTo>
                <a:lnTo>
                  <a:pt x="57221" y="7358"/>
                </a:lnTo>
                <a:lnTo>
                  <a:pt x="93726" y="0"/>
                </a:lnTo>
                <a:lnTo>
                  <a:pt x="130230" y="7358"/>
                </a:lnTo>
                <a:lnTo>
                  <a:pt x="160020" y="27432"/>
                </a:lnTo>
                <a:lnTo>
                  <a:pt x="180093" y="57221"/>
                </a:lnTo>
                <a:lnTo>
                  <a:pt x="187452" y="93725"/>
                </a:lnTo>
                <a:lnTo>
                  <a:pt x="180093" y="130230"/>
                </a:lnTo>
                <a:lnTo>
                  <a:pt x="160020" y="160020"/>
                </a:lnTo>
                <a:lnTo>
                  <a:pt x="130230" y="180093"/>
                </a:lnTo>
                <a:lnTo>
                  <a:pt x="93726" y="187451"/>
                </a:lnTo>
                <a:lnTo>
                  <a:pt x="57221" y="180093"/>
                </a:lnTo>
                <a:lnTo>
                  <a:pt x="27431" y="160020"/>
                </a:lnTo>
                <a:lnTo>
                  <a:pt x="7358" y="130230"/>
                </a:lnTo>
                <a:lnTo>
                  <a:pt x="0" y="93725"/>
                </a:lnTo>
                <a:close/>
              </a:path>
            </a:pathLst>
          </a:custGeom>
          <a:ln w="12700">
            <a:solidFill>
              <a:srgbClr val="BEBEBE"/>
            </a:solidFill>
          </a:ln>
        </p:spPr>
        <p:txBody>
          <a:bodyPr wrap="square" lIns="0" tIns="0" rIns="0" bIns="0" rtlCol="0"/>
          <a:lstStyle/>
          <a:p>
            <a:endParaRPr kern="0">
              <a:solidFill>
                <a:sysClr val="windowText" lastClr="000000"/>
              </a:solidFill>
            </a:endParaRPr>
          </a:p>
        </p:txBody>
      </p:sp>
      <p:pic>
        <p:nvPicPr>
          <p:cNvPr id="13" name="object 13">
            <a:extLst>
              <a:ext uri="{FF2B5EF4-FFF2-40B4-BE49-F238E27FC236}">
                <a16:creationId xmlns:a16="http://schemas.microsoft.com/office/drawing/2014/main" id="{403ED928-116C-3FE3-2A97-04CF467C6F82}"/>
              </a:ext>
            </a:extLst>
          </p:cNvPr>
          <p:cNvPicPr/>
          <p:nvPr/>
        </p:nvPicPr>
        <p:blipFill>
          <a:blip r:embed="rId7" cstate="print"/>
          <a:stretch>
            <a:fillRect/>
          </a:stretch>
        </p:blipFill>
        <p:spPr>
          <a:xfrm>
            <a:off x="7749005" y="2659335"/>
            <a:ext cx="266307" cy="272888"/>
          </a:xfrm>
          <a:prstGeom prst="rect">
            <a:avLst/>
          </a:prstGeom>
        </p:spPr>
      </p:pic>
      <p:pic>
        <p:nvPicPr>
          <p:cNvPr id="14" name="object 14">
            <a:extLst>
              <a:ext uri="{FF2B5EF4-FFF2-40B4-BE49-F238E27FC236}">
                <a16:creationId xmlns:a16="http://schemas.microsoft.com/office/drawing/2014/main" id="{9E0D72EE-F3EF-734A-5A6A-9FCECCE6FFF1}"/>
              </a:ext>
            </a:extLst>
          </p:cNvPr>
          <p:cNvPicPr/>
          <p:nvPr/>
        </p:nvPicPr>
        <p:blipFill>
          <a:blip r:embed="rId8" cstate="print"/>
          <a:stretch>
            <a:fillRect/>
          </a:stretch>
        </p:blipFill>
        <p:spPr>
          <a:xfrm>
            <a:off x="7763256" y="2673095"/>
            <a:ext cx="187452" cy="185927"/>
          </a:xfrm>
          <a:prstGeom prst="rect">
            <a:avLst/>
          </a:prstGeom>
        </p:spPr>
      </p:pic>
      <p:sp>
        <p:nvSpPr>
          <p:cNvPr id="15" name="object 15">
            <a:extLst>
              <a:ext uri="{FF2B5EF4-FFF2-40B4-BE49-F238E27FC236}">
                <a16:creationId xmlns:a16="http://schemas.microsoft.com/office/drawing/2014/main" id="{DEC20986-44BF-DD13-D624-885A49E8A1A4}"/>
              </a:ext>
            </a:extLst>
          </p:cNvPr>
          <p:cNvSpPr/>
          <p:nvPr/>
        </p:nvSpPr>
        <p:spPr>
          <a:xfrm>
            <a:off x="7763256" y="2673095"/>
            <a:ext cx="187960" cy="186055"/>
          </a:xfrm>
          <a:custGeom>
            <a:avLst/>
            <a:gdLst/>
            <a:ahLst/>
            <a:cxnLst/>
            <a:rect l="l" t="t" r="r" b="b"/>
            <a:pathLst>
              <a:path w="187960" h="186055">
                <a:moveTo>
                  <a:pt x="0" y="92963"/>
                </a:moveTo>
                <a:lnTo>
                  <a:pt x="7358" y="56792"/>
                </a:lnTo>
                <a:lnTo>
                  <a:pt x="27432" y="27241"/>
                </a:lnTo>
                <a:lnTo>
                  <a:pt x="57221" y="7310"/>
                </a:lnTo>
                <a:lnTo>
                  <a:pt x="93726" y="0"/>
                </a:lnTo>
                <a:lnTo>
                  <a:pt x="130230" y="7310"/>
                </a:lnTo>
                <a:lnTo>
                  <a:pt x="160020" y="27241"/>
                </a:lnTo>
                <a:lnTo>
                  <a:pt x="180093" y="56792"/>
                </a:lnTo>
                <a:lnTo>
                  <a:pt x="187452" y="92963"/>
                </a:lnTo>
                <a:lnTo>
                  <a:pt x="180093" y="129135"/>
                </a:lnTo>
                <a:lnTo>
                  <a:pt x="160020" y="158686"/>
                </a:lnTo>
                <a:lnTo>
                  <a:pt x="130230" y="178617"/>
                </a:lnTo>
                <a:lnTo>
                  <a:pt x="93726" y="185927"/>
                </a:lnTo>
                <a:lnTo>
                  <a:pt x="57221" y="178617"/>
                </a:lnTo>
                <a:lnTo>
                  <a:pt x="27431" y="158686"/>
                </a:lnTo>
                <a:lnTo>
                  <a:pt x="7358" y="129135"/>
                </a:lnTo>
                <a:lnTo>
                  <a:pt x="0" y="92963"/>
                </a:lnTo>
                <a:close/>
              </a:path>
            </a:pathLst>
          </a:custGeom>
          <a:ln w="12700">
            <a:solidFill>
              <a:srgbClr val="BEBEBE"/>
            </a:solidFill>
          </a:ln>
        </p:spPr>
        <p:txBody>
          <a:bodyPr wrap="square" lIns="0" tIns="0" rIns="0" bIns="0" rtlCol="0"/>
          <a:lstStyle/>
          <a:p>
            <a:endParaRPr kern="0">
              <a:solidFill>
                <a:sysClr val="windowText" lastClr="000000"/>
              </a:solidFill>
            </a:endParaRPr>
          </a:p>
        </p:txBody>
      </p:sp>
      <p:pic>
        <p:nvPicPr>
          <p:cNvPr id="16" name="object 16">
            <a:extLst>
              <a:ext uri="{FF2B5EF4-FFF2-40B4-BE49-F238E27FC236}">
                <a16:creationId xmlns:a16="http://schemas.microsoft.com/office/drawing/2014/main" id="{19CDBC87-78F0-A3D6-616C-5A53359825F3}"/>
              </a:ext>
            </a:extLst>
          </p:cNvPr>
          <p:cNvPicPr/>
          <p:nvPr/>
        </p:nvPicPr>
        <p:blipFill>
          <a:blip r:embed="rId9" cstate="print"/>
          <a:stretch>
            <a:fillRect/>
          </a:stretch>
        </p:blipFill>
        <p:spPr>
          <a:xfrm>
            <a:off x="7749005" y="3050577"/>
            <a:ext cx="266307" cy="266307"/>
          </a:xfrm>
          <a:prstGeom prst="rect">
            <a:avLst/>
          </a:prstGeom>
        </p:spPr>
      </p:pic>
      <p:pic>
        <p:nvPicPr>
          <p:cNvPr id="17" name="object 17">
            <a:extLst>
              <a:ext uri="{FF2B5EF4-FFF2-40B4-BE49-F238E27FC236}">
                <a16:creationId xmlns:a16="http://schemas.microsoft.com/office/drawing/2014/main" id="{B5CC00F1-C3A4-2D5A-27D3-CD3C40EA21C3}"/>
              </a:ext>
            </a:extLst>
          </p:cNvPr>
          <p:cNvPicPr/>
          <p:nvPr/>
        </p:nvPicPr>
        <p:blipFill>
          <a:blip r:embed="rId10" cstate="print"/>
          <a:stretch>
            <a:fillRect/>
          </a:stretch>
        </p:blipFill>
        <p:spPr>
          <a:xfrm>
            <a:off x="7763256" y="3064763"/>
            <a:ext cx="187452" cy="187451"/>
          </a:xfrm>
          <a:prstGeom prst="rect">
            <a:avLst/>
          </a:prstGeom>
        </p:spPr>
      </p:pic>
      <p:sp>
        <p:nvSpPr>
          <p:cNvPr id="18" name="object 18">
            <a:extLst>
              <a:ext uri="{FF2B5EF4-FFF2-40B4-BE49-F238E27FC236}">
                <a16:creationId xmlns:a16="http://schemas.microsoft.com/office/drawing/2014/main" id="{00C205EB-3929-0F53-2820-910E778F10E8}"/>
              </a:ext>
            </a:extLst>
          </p:cNvPr>
          <p:cNvSpPr/>
          <p:nvPr/>
        </p:nvSpPr>
        <p:spPr>
          <a:xfrm>
            <a:off x="7763256" y="3064763"/>
            <a:ext cx="187960" cy="187960"/>
          </a:xfrm>
          <a:custGeom>
            <a:avLst/>
            <a:gdLst/>
            <a:ahLst/>
            <a:cxnLst/>
            <a:rect l="l" t="t" r="r" b="b"/>
            <a:pathLst>
              <a:path w="187960" h="187960">
                <a:moveTo>
                  <a:pt x="0" y="93725"/>
                </a:moveTo>
                <a:lnTo>
                  <a:pt x="7358" y="57221"/>
                </a:lnTo>
                <a:lnTo>
                  <a:pt x="27432" y="27432"/>
                </a:lnTo>
                <a:lnTo>
                  <a:pt x="57221" y="7358"/>
                </a:lnTo>
                <a:lnTo>
                  <a:pt x="93726" y="0"/>
                </a:lnTo>
                <a:lnTo>
                  <a:pt x="130230" y="7358"/>
                </a:lnTo>
                <a:lnTo>
                  <a:pt x="160020" y="27432"/>
                </a:lnTo>
                <a:lnTo>
                  <a:pt x="180093" y="57221"/>
                </a:lnTo>
                <a:lnTo>
                  <a:pt x="187452" y="93725"/>
                </a:lnTo>
                <a:lnTo>
                  <a:pt x="180093" y="130230"/>
                </a:lnTo>
                <a:lnTo>
                  <a:pt x="160020" y="160019"/>
                </a:lnTo>
                <a:lnTo>
                  <a:pt x="130230" y="180093"/>
                </a:lnTo>
                <a:lnTo>
                  <a:pt x="93726" y="187451"/>
                </a:lnTo>
                <a:lnTo>
                  <a:pt x="57221" y="180093"/>
                </a:lnTo>
                <a:lnTo>
                  <a:pt x="27431" y="160019"/>
                </a:lnTo>
                <a:lnTo>
                  <a:pt x="7358" y="130230"/>
                </a:lnTo>
                <a:lnTo>
                  <a:pt x="0" y="93725"/>
                </a:lnTo>
                <a:close/>
              </a:path>
            </a:pathLst>
          </a:custGeom>
          <a:ln w="12700">
            <a:solidFill>
              <a:srgbClr val="BEBEBE"/>
            </a:solidFill>
          </a:ln>
        </p:spPr>
        <p:txBody>
          <a:bodyPr wrap="square" lIns="0" tIns="0" rIns="0" bIns="0" rtlCol="0"/>
          <a:lstStyle/>
          <a:p>
            <a:endParaRPr kern="0">
              <a:solidFill>
                <a:sysClr val="windowText" lastClr="000000"/>
              </a:solidFill>
            </a:endParaRPr>
          </a:p>
        </p:txBody>
      </p:sp>
      <p:pic>
        <p:nvPicPr>
          <p:cNvPr id="19" name="object 19">
            <a:extLst>
              <a:ext uri="{FF2B5EF4-FFF2-40B4-BE49-F238E27FC236}">
                <a16:creationId xmlns:a16="http://schemas.microsoft.com/office/drawing/2014/main" id="{382576F7-7AE5-D03D-6BCF-4B6039C67F8A}"/>
              </a:ext>
            </a:extLst>
          </p:cNvPr>
          <p:cNvPicPr/>
          <p:nvPr/>
        </p:nvPicPr>
        <p:blipFill>
          <a:blip r:embed="rId9" cstate="print"/>
          <a:stretch>
            <a:fillRect/>
          </a:stretch>
        </p:blipFill>
        <p:spPr>
          <a:xfrm>
            <a:off x="7749005" y="3443769"/>
            <a:ext cx="266307" cy="266307"/>
          </a:xfrm>
          <a:prstGeom prst="rect">
            <a:avLst/>
          </a:prstGeom>
        </p:spPr>
      </p:pic>
      <p:pic>
        <p:nvPicPr>
          <p:cNvPr id="20" name="object 20">
            <a:extLst>
              <a:ext uri="{FF2B5EF4-FFF2-40B4-BE49-F238E27FC236}">
                <a16:creationId xmlns:a16="http://schemas.microsoft.com/office/drawing/2014/main" id="{8A32E754-8D32-5966-C4C2-F11B40E57019}"/>
              </a:ext>
            </a:extLst>
          </p:cNvPr>
          <p:cNvPicPr/>
          <p:nvPr/>
        </p:nvPicPr>
        <p:blipFill>
          <a:blip r:embed="rId10" cstate="print"/>
          <a:stretch>
            <a:fillRect/>
          </a:stretch>
        </p:blipFill>
        <p:spPr>
          <a:xfrm>
            <a:off x="7763256" y="3457955"/>
            <a:ext cx="187452" cy="187452"/>
          </a:xfrm>
          <a:prstGeom prst="rect">
            <a:avLst/>
          </a:prstGeom>
        </p:spPr>
      </p:pic>
      <p:sp>
        <p:nvSpPr>
          <p:cNvPr id="21" name="object 21">
            <a:extLst>
              <a:ext uri="{FF2B5EF4-FFF2-40B4-BE49-F238E27FC236}">
                <a16:creationId xmlns:a16="http://schemas.microsoft.com/office/drawing/2014/main" id="{CD3FA672-B7DA-DAC1-D310-45580C0826F9}"/>
              </a:ext>
            </a:extLst>
          </p:cNvPr>
          <p:cNvSpPr/>
          <p:nvPr/>
        </p:nvSpPr>
        <p:spPr>
          <a:xfrm>
            <a:off x="7763256" y="3457955"/>
            <a:ext cx="187960" cy="187960"/>
          </a:xfrm>
          <a:custGeom>
            <a:avLst/>
            <a:gdLst/>
            <a:ahLst/>
            <a:cxnLst/>
            <a:rect l="l" t="t" r="r" b="b"/>
            <a:pathLst>
              <a:path w="187960" h="187960">
                <a:moveTo>
                  <a:pt x="0" y="93726"/>
                </a:moveTo>
                <a:lnTo>
                  <a:pt x="7358" y="57221"/>
                </a:lnTo>
                <a:lnTo>
                  <a:pt x="27432" y="27431"/>
                </a:lnTo>
                <a:lnTo>
                  <a:pt x="57221" y="7358"/>
                </a:lnTo>
                <a:lnTo>
                  <a:pt x="93726" y="0"/>
                </a:lnTo>
                <a:lnTo>
                  <a:pt x="130230" y="7358"/>
                </a:lnTo>
                <a:lnTo>
                  <a:pt x="160020" y="27432"/>
                </a:lnTo>
                <a:lnTo>
                  <a:pt x="180093" y="57221"/>
                </a:lnTo>
                <a:lnTo>
                  <a:pt x="187452" y="93726"/>
                </a:lnTo>
                <a:lnTo>
                  <a:pt x="180093" y="130230"/>
                </a:lnTo>
                <a:lnTo>
                  <a:pt x="160020" y="160020"/>
                </a:lnTo>
                <a:lnTo>
                  <a:pt x="130230" y="180093"/>
                </a:lnTo>
                <a:lnTo>
                  <a:pt x="93726" y="187452"/>
                </a:lnTo>
                <a:lnTo>
                  <a:pt x="57221" y="180093"/>
                </a:lnTo>
                <a:lnTo>
                  <a:pt x="27431" y="160020"/>
                </a:lnTo>
                <a:lnTo>
                  <a:pt x="7358" y="130230"/>
                </a:lnTo>
                <a:lnTo>
                  <a:pt x="0" y="93726"/>
                </a:lnTo>
                <a:close/>
              </a:path>
            </a:pathLst>
          </a:custGeom>
          <a:ln w="12700">
            <a:solidFill>
              <a:srgbClr val="BEBEBE"/>
            </a:solidFill>
          </a:ln>
        </p:spPr>
        <p:txBody>
          <a:bodyPr wrap="square" lIns="0" tIns="0" rIns="0" bIns="0" rtlCol="0"/>
          <a:lstStyle/>
          <a:p>
            <a:endParaRPr kern="0">
              <a:solidFill>
                <a:sysClr val="windowText" lastClr="000000"/>
              </a:solidFill>
            </a:endParaRPr>
          </a:p>
        </p:txBody>
      </p:sp>
      <p:pic>
        <p:nvPicPr>
          <p:cNvPr id="22" name="object 22">
            <a:extLst>
              <a:ext uri="{FF2B5EF4-FFF2-40B4-BE49-F238E27FC236}">
                <a16:creationId xmlns:a16="http://schemas.microsoft.com/office/drawing/2014/main" id="{E5B51248-2753-D7FD-B4C0-17B238595413}"/>
              </a:ext>
            </a:extLst>
          </p:cNvPr>
          <p:cNvPicPr/>
          <p:nvPr/>
        </p:nvPicPr>
        <p:blipFill>
          <a:blip r:embed="rId9" cstate="print"/>
          <a:stretch>
            <a:fillRect/>
          </a:stretch>
        </p:blipFill>
        <p:spPr>
          <a:xfrm>
            <a:off x="7749005" y="3836961"/>
            <a:ext cx="266307" cy="266307"/>
          </a:xfrm>
          <a:prstGeom prst="rect">
            <a:avLst/>
          </a:prstGeom>
        </p:spPr>
      </p:pic>
      <p:pic>
        <p:nvPicPr>
          <p:cNvPr id="23" name="object 23">
            <a:extLst>
              <a:ext uri="{FF2B5EF4-FFF2-40B4-BE49-F238E27FC236}">
                <a16:creationId xmlns:a16="http://schemas.microsoft.com/office/drawing/2014/main" id="{AF024304-17AB-449B-8C37-9D94CA26F3D6}"/>
              </a:ext>
            </a:extLst>
          </p:cNvPr>
          <p:cNvPicPr/>
          <p:nvPr/>
        </p:nvPicPr>
        <p:blipFill>
          <a:blip r:embed="rId6" cstate="print"/>
          <a:stretch>
            <a:fillRect/>
          </a:stretch>
        </p:blipFill>
        <p:spPr>
          <a:xfrm>
            <a:off x="7763256" y="3851147"/>
            <a:ext cx="187452" cy="187451"/>
          </a:xfrm>
          <a:prstGeom prst="rect">
            <a:avLst/>
          </a:prstGeom>
        </p:spPr>
      </p:pic>
      <p:sp>
        <p:nvSpPr>
          <p:cNvPr id="24" name="object 24">
            <a:extLst>
              <a:ext uri="{FF2B5EF4-FFF2-40B4-BE49-F238E27FC236}">
                <a16:creationId xmlns:a16="http://schemas.microsoft.com/office/drawing/2014/main" id="{CD6C25A6-8A14-73E6-5C76-1A49A3B825F4}"/>
              </a:ext>
            </a:extLst>
          </p:cNvPr>
          <p:cNvSpPr/>
          <p:nvPr/>
        </p:nvSpPr>
        <p:spPr>
          <a:xfrm>
            <a:off x="7763256" y="3851147"/>
            <a:ext cx="187960" cy="187960"/>
          </a:xfrm>
          <a:custGeom>
            <a:avLst/>
            <a:gdLst/>
            <a:ahLst/>
            <a:cxnLst/>
            <a:rect l="l" t="t" r="r" b="b"/>
            <a:pathLst>
              <a:path w="187960" h="187960">
                <a:moveTo>
                  <a:pt x="0" y="93725"/>
                </a:moveTo>
                <a:lnTo>
                  <a:pt x="7358" y="57221"/>
                </a:lnTo>
                <a:lnTo>
                  <a:pt x="27432" y="27431"/>
                </a:lnTo>
                <a:lnTo>
                  <a:pt x="57221" y="7358"/>
                </a:lnTo>
                <a:lnTo>
                  <a:pt x="93726" y="0"/>
                </a:lnTo>
                <a:lnTo>
                  <a:pt x="130230" y="7358"/>
                </a:lnTo>
                <a:lnTo>
                  <a:pt x="160020" y="27431"/>
                </a:lnTo>
                <a:lnTo>
                  <a:pt x="180093" y="57221"/>
                </a:lnTo>
                <a:lnTo>
                  <a:pt x="187452" y="93725"/>
                </a:lnTo>
                <a:lnTo>
                  <a:pt x="180093" y="130230"/>
                </a:lnTo>
                <a:lnTo>
                  <a:pt x="160020" y="160019"/>
                </a:lnTo>
                <a:lnTo>
                  <a:pt x="130230" y="180093"/>
                </a:lnTo>
                <a:lnTo>
                  <a:pt x="93726" y="187451"/>
                </a:lnTo>
                <a:lnTo>
                  <a:pt x="57221" y="180093"/>
                </a:lnTo>
                <a:lnTo>
                  <a:pt x="27431" y="160019"/>
                </a:lnTo>
                <a:lnTo>
                  <a:pt x="7358" y="130230"/>
                </a:lnTo>
                <a:lnTo>
                  <a:pt x="0" y="93725"/>
                </a:lnTo>
                <a:close/>
              </a:path>
            </a:pathLst>
          </a:custGeom>
          <a:ln w="12700">
            <a:solidFill>
              <a:srgbClr val="BEBEBE"/>
            </a:solidFill>
          </a:ln>
        </p:spPr>
        <p:txBody>
          <a:bodyPr wrap="square" lIns="0" tIns="0" rIns="0" bIns="0" rtlCol="0"/>
          <a:lstStyle/>
          <a:p>
            <a:endParaRPr kern="0">
              <a:solidFill>
                <a:sysClr val="windowText" lastClr="000000"/>
              </a:solidFill>
            </a:endParaRPr>
          </a:p>
        </p:txBody>
      </p:sp>
      <p:pic>
        <p:nvPicPr>
          <p:cNvPr id="25" name="object 25">
            <a:extLst>
              <a:ext uri="{FF2B5EF4-FFF2-40B4-BE49-F238E27FC236}">
                <a16:creationId xmlns:a16="http://schemas.microsoft.com/office/drawing/2014/main" id="{46268AA8-C8A3-CB8F-D577-7157BD94904C}"/>
              </a:ext>
            </a:extLst>
          </p:cNvPr>
          <p:cNvPicPr/>
          <p:nvPr/>
        </p:nvPicPr>
        <p:blipFill>
          <a:blip r:embed="rId7" cstate="print"/>
          <a:stretch>
            <a:fillRect/>
          </a:stretch>
        </p:blipFill>
        <p:spPr>
          <a:xfrm>
            <a:off x="7749005" y="4230579"/>
            <a:ext cx="266307" cy="272888"/>
          </a:xfrm>
          <a:prstGeom prst="rect">
            <a:avLst/>
          </a:prstGeom>
        </p:spPr>
      </p:pic>
      <p:pic>
        <p:nvPicPr>
          <p:cNvPr id="26" name="object 26">
            <a:extLst>
              <a:ext uri="{FF2B5EF4-FFF2-40B4-BE49-F238E27FC236}">
                <a16:creationId xmlns:a16="http://schemas.microsoft.com/office/drawing/2014/main" id="{2632F3AB-7467-A39D-2F68-14A63DAF19DC}"/>
              </a:ext>
            </a:extLst>
          </p:cNvPr>
          <p:cNvPicPr/>
          <p:nvPr/>
        </p:nvPicPr>
        <p:blipFill>
          <a:blip r:embed="rId11" cstate="print"/>
          <a:stretch>
            <a:fillRect/>
          </a:stretch>
        </p:blipFill>
        <p:spPr>
          <a:xfrm>
            <a:off x="7763256" y="4244339"/>
            <a:ext cx="187452" cy="185928"/>
          </a:xfrm>
          <a:prstGeom prst="rect">
            <a:avLst/>
          </a:prstGeom>
        </p:spPr>
      </p:pic>
      <p:sp>
        <p:nvSpPr>
          <p:cNvPr id="27" name="object 27">
            <a:extLst>
              <a:ext uri="{FF2B5EF4-FFF2-40B4-BE49-F238E27FC236}">
                <a16:creationId xmlns:a16="http://schemas.microsoft.com/office/drawing/2014/main" id="{5F5E7A98-91CA-704D-8B16-B26A6E2339E1}"/>
              </a:ext>
            </a:extLst>
          </p:cNvPr>
          <p:cNvSpPr/>
          <p:nvPr/>
        </p:nvSpPr>
        <p:spPr>
          <a:xfrm>
            <a:off x="7763256" y="4244339"/>
            <a:ext cx="187960" cy="186055"/>
          </a:xfrm>
          <a:custGeom>
            <a:avLst/>
            <a:gdLst/>
            <a:ahLst/>
            <a:cxnLst/>
            <a:rect l="l" t="t" r="r" b="b"/>
            <a:pathLst>
              <a:path w="187960" h="186054">
                <a:moveTo>
                  <a:pt x="0" y="92964"/>
                </a:moveTo>
                <a:lnTo>
                  <a:pt x="7358" y="56792"/>
                </a:lnTo>
                <a:lnTo>
                  <a:pt x="27432" y="27241"/>
                </a:lnTo>
                <a:lnTo>
                  <a:pt x="57221" y="7310"/>
                </a:lnTo>
                <a:lnTo>
                  <a:pt x="93726" y="0"/>
                </a:lnTo>
                <a:lnTo>
                  <a:pt x="130230" y="7310"/>
                </a:lnTo>
                <a:lnTo>
                  <a:pt x="160020" y="27241"/>
                </a:lnTo>
                <a:lnTo>
                  <a:pt x="180093" y="56792"/>
                </a:lnTo>
                <a:lnTo>
                  <a:pt x="187452" y="92964"/>
                </a:lnTo>
                <a:lnTo>
                  <a:pt x="180093" y="129135"/>
                </a:lnTo>
                <a:lnTo>
                  <a:pt x="160020" y="158686"/>
                </a:lnTo>
                <a:lnTo>
                  <a:pt x="130230" y="178617"/>
                </a:lnTo>
                <a:lnTo>
                  <a:pt x="93726" y="185928"/>
                </a:lnTo>
                <a:lnTo>
                  <a:pt x="57221" y="178617"/>
                </a:lnTo>
                <a:lnTo>
                  <a:pt x="27431" y="158686"/>
                </a:lnTo>
                <a:lnTo>
                  <a:pt x="7358" y="129135"/>
                </a:lnTo>
                <a:lnTo>
                  <a:pt x="0" y="92964"/>
                </a:lnTo>
                <a:close/>
              </a:path>
            </a:pathLst>
          </a:custGeom>
          <a:ln w="12700">
            <a:solidFill>
              <a:srgbClr val="BEBEBE"/>
            </a:solidFill>
          </a:ln>
        </p:spPr>
        <p:txBody>
          <a:bodyPr wrap="square" lIns="0" tIns="0" rIns="0" bIns="0" rtlCol="0"/>
          <a:lstStyle/>
          <a:p>
            <a:endParaRPr kern="0">
              <a:solidFill>
                <a:sysClr val="windowText" lastClr="000000"/>
              </a:solidFill>
            </a:endParaRPr>
          </a:p>
        </p:txBody>
      </p:sp>
      <p:sp>
        <p:nvSpPr>
          <p:cNvPr id="28" name="object 30">
            <a:extLst>
              <a:ext uri="{FF2B5EF4-FFF2-40B4-BE49-F238E27FC236}">
                <a16:creationId xmlns:a16="http://schemas.microsoft.com/office/drawing/2014/main" id="{BEABCDDE-F4A0-653D-4C10-56F4D8324C9D}"/>
              </a:ext>
            </a:extLst>
          </p:cNvPr>
          <p:cNvSpPr/>
          <p:nvPr/>
        </p:nvSpPr>
        <p:spPr>
          <a:xfrm>
            <a:off x="7763256" y="4636007"/>
            <a:ext cx="187960" cy="187960"/>
          </a:xfrm>
          <a:custGeom>
            <a:avLst/>
            <a:gdLst/>
            <a:ahLst/>
            <a:cxnLst/>
            <a:rect l="l" t="t" r="r" b="b"/>
            <a:pathLst>
              <a:path w="187960" h="187960">
                <a:moveTo>
                  <a:pt x="0" y="93726"/>
                </a:moveTo>
                <a:lnTo>
                  <a:pt x="7358" y="57221"/>
                </a:lnTo>
                <a:lnTo>
                  <a:pt x="27432" y="27432"/>
                </a:lnTo>
                <a:lnTo>
                  <a:pt x="57221" y="7358"/>
                </a:lnTo>
                <a:lnTo>
                  <a:pt x="93726" y="0"/>
                </a:lnTo>
                <a:lnTo>
                  <a:pt x="130230" y="7358"/>
                </a:lnTo>
                <a:lnTo>
                  <a:pt x="160020" y="27432"/>
                </a:lnTo>
                <a:lnTo>
                  <a:pt x="180093" y="57221"/>
                </a:lnTo>
                <a:lnTo>
                  <a:pt x="187452" y="93726"/>
                </a:lnTo>
                <a:lnTo>
                  <a:pt x="180093" y="130230"/>
                </a:lnTo>
                <a:lnTo>
                  <a:pt x="160020" y="160020"/>
                </a:lnTo>
                <a:lnTo>
                  <a:pt x="130230" y="180093"/>
                </a:lnTo>
                <a:lnTo>
                  <a:pt x="93726" y="187452"/>
                </a:lnTo>
                <a:lnTo>
                  <a:pt x="57221" y="180093"/>
                </a:lnTo>
                <a:lnTo>
                  <a:pt x="27431" y="160020"/>
                </a:lnTo>
                <a:lnTo>
                  <a:pt x="7358" y="130230"/>
                </a:lnTo>
                <a:lnTo>
                  <a:pt x="0" y="93726"/>
                </a:lnTo>
                <a:close/>
              </a:path>
            </a:pathLst>
          </a:custGeom>
          <a:solidFill>
            <a:srgbClr val="C0A66C"/>
          </a:solidFill>
          <a:ln w="12700">
            <a:solidFill>
              <a:srgbClr val="A36C3F"/>
            </a:solidFill>
          </a:ln>
        </p:spPr>
        <p:txBody>
          <a:bodyPr wrap="square" lIns="0" tIns="0" rIns="0" bIns="0" rtlCol="0"/>
          <a:lstStyle/>
          <a:p>
            <a:endParaRPr kern="0">
              <a:solidFill>
                <a:sysClr val="windowText" lastClr="000000"/>
              </a:solidFill>
            </a:endParaRPr>
          </a:p>
        </p:txBody>
      </p:sp>
      <p:sp>
        <p:nvSpPr>
          <p:cNvPr id="29" name="object 33">
            <a:extLst>
              <a:ext uri="{FF2B5EF4-FFF2-40B4-BE49-F238E27FC236}">
                <a16:creationId xmlns:a16="http://schemas.microsoft.com/office/drawing/2014/main" id="{86F8D1BD-E60E-E64F-B261-FBA39F00960C}"/>
              </a:ext>
            </a:extLst>
          </p:cNvPr>
          <p:cNvSpPr/>
          <p:nvPr/>
        </p:nvSpPr>
        <p:spPr>
          <a:xfrm>
            <a:off x="7763256" y="5029200"/>
            <a:ext cx="187960" cy="187960"/>
          </a:xfrm>
          <a:custGeom>
            <a:avLst/>
            <a:gdLst/>
            <a:ahLst/>
            <a:cxnLst/>
            <a:rect l="l" t="t" r="r" b="b"/>
            <a:pathLst>
              <a:path w="187960" h="187960">
                <a:moveTo>
                  <a:pt x="0" y="93725"/>
                </a:moveTo>
                <a:lnTo>
                  <a:pt x="7358" y="57221"/>
                </a:lnTo>
                <a:lnTo>
                  <a:pt x="27432" y="27431"/>
                </a:lnTo>
                <a:lnTo>
                  <a:pt x="57221" y="7358"/>
                </a:lnTo>
                <a:lnTo>
                  <a:pt x="93726" y="0"/>
                </a:lnTo>
                <a:lnTo>
                  <a:pt x="130230" y="7358"/>
                </a:lnTo>
                <a:lnTo>
                  <a:pt x="160020" y="27431"/>
                </a:lnTo>
                <a:lnTo>
                  <a:pt x="180093" y="57221"/>
                </a:lnTo>
                <a:lnTo>
                  <a:pt x="187452" y="93725"/>
                </a:lnTo>
                <a:lnTo>
                  <a:pt x="180093" y="130230"/>
                </a:lnTo>
                <a:lnTo>
                  <a:pt x="160020" y="160019"/>
                </a:lnTo>
                <a:lnTo>
                  <a:pt x="130230" y="180093"/>
                </a:lnTo>
                <a:lnTo>
                  <a:pt x="93726" y="187451"/>
                </a:lnTo>
                <a:lnTo>
                  <a:pt x="57221" y="180093"/>
                </a:lnTo>
                <a:lnTo>
                  <a:pt x="27431" y="160019"/>
                </a:lnTo>
                <a:lnTo>
                  <a:pt x="7358" y="130230"/>
                </a:lnTo>
                <a:lnTo>
                  <a:pt x="0" y="93725"/>
                </a:lnTo>
                <a:close/>
              </a:path>
            </a:pathLst>
          </a:custGeom>
          <a:solidFill>
            <a:srgbClr val="C0A66C"/>
          </a:solidFill>
          <a:ln w="12700">
            <a:solidFill>
              <a:srgbClr val="A36C3F"/>
            </a:solidFill>
          </a:ln>
        </p:spPr>
        <p:txBody>
          <a:bodyPr wrap="square" lIns="0" tIns="0" rIns="0" bIns="0" rtlCol="0"/>
          <a:lstStyle/>
          <a:p>
            <a:endParaRPr kern="0">
              <a:solidFill>
                <a:sysClr val="windowText" lastClr="000000"/>
              </a:solidFill>
            </a:endParaRPr>
          </a:p>
        </p:txBody>
      </p:sp>
      <p:sp>
        <p:nvSpPr>
          <p:cNvPr id="30" name="object 36">
            <a:extLst>
              <a:ext uri="{FF2B5EF4-FFF2-40B4-BE49-F238E27FC236}">
                <a16:creationId xmlns:a16="http://schemas.microsoft.com/office/drawing/2014/main" id="{863AC8FC-B1C6-F60F-79A9-B026A84DE049}"/>
              </a:ext>
            </a:extLst>
          </p:cNvPr>
          <p:cNvSpPr/>
          <p:nvPr/>
        </p:nvSpPr>
        <p:spPr>
          <a:xfrm>
            <a:off x="7763256" y="5422391"/>
            <a:ext cx="187960" cy="187960"/>
          </a:xfrm>
          <a:custGeom>
            <a:avLst/>
            <a:gdLst/>
            <a:ahLst/>
            <a:cxnLst/>
            <a:rect l="l" t="t" r="r" b="b"/>
            <a:pathLst>
              <a:path w="187960" h="187960">
                <a:moveTo>
                  <a:pt x="0" y="93726"/>
                </a:moveTo>
                <a:lnTo>
                  <a:pt x="7358" y="57221"/>
                </a:lnTo>
                <a:lnTo>
                  <a:pt x="27432" y="27432"/>
                </a:lnTo>
                <a:lnTo>
                  <a:pt x="57221" y="7358"/>
                </a:lnTo>
                <a:lnTo>
                  <a:pt x="93726" y="0"/>
                </a:lnTo>
                <a:lnTo>
                  <a:pt x="130230" y="7358"/>
                </a:lnTo>
                <a:lnTo>
                  <a:pt x="160020" y="27432"/>
                </a:lnTo>
                <a:lnTo>
                  <a:pt x="180093" y="57221"/>
                </a:lnTo>
                <a:lnTo>
                  <a:pt x="187452" y="93726"/>
                </a:lnTo>
                <a:lnTo>
                  <a:pt x="180093" y="130230"/>
                </a:lnTo>
                <a:lnTo>
                  <a:pt x="160020" y="160020"/>
                </a:lnTo>
                <a:lnTo>
                  <a:pt x="130230" y="180093"/>
                </a:lnTo>
                <a:lnTo>
                  <a:pt x="93726" y="187452"/>
                </a:lnTo>
                <a:lnTo>
                  <a:pt x="57221" y="180093"/>
                </a:lnTo>
                <a:lnTo>
                  <a:pt x="27431" y="160020"/>
                </a:lnTo>
                <a:lnTo>
                  <a:pt x="7358" y="130230"/>
                </a:lnTo>
                <a:lnTo>
                  <a:pt x="0" y="93726"/>
                </a:lnTo>
                <a:close/>
              </a:path>
            </a:pathLst>
          </a:custGeom>
          <a:solidFill>
            <a:srgbClr val="C0A66C"/>
          </a:solidFill>
          <a:ln w="12700">
            <a:solidFill>
              <a:srgbClr val="A36C3F"/>
            </a:solidFill>
          </a:ln>
        </p:spPr>
        <p:txBody>
          <a:bodyPr wrap="square" lIns="0" tIns="0" rIns="0" bIns="0" rtlCol="0"/>
          <a:lstStyle/>
          <a:p>
            <a:endParaRPr kern="0">
              <a:solidFill>
                <a:sysClr val="windowText" lastClr="000000"/>
              </a:solidFill>
            </a:endParaRPr>
          </a:p>
        </p:txBody>
      </p:sp>
      <p:sp>
        <p:nvSpPr>
          <p:cNvPr id="31" name="object 39">
            <a:extLst>
              <a:ext uri="{FF2B5EF4-FFF2-40B4-BE49-F238E27FC236}">
                <a16:creationId xmlns:a16="http://schemas.microsoft.com/office/drawing/2014/main" id="{48F0CFB5-A86A-8D19-970F-EDA79A9830BF}"/>
              </a:ext>
            </a:extLst>
          </p:cNvPr>
          <p:cNvSpPr/>
          <p:nvPr/>
        </p:nvSpPr>
        <p:spPr>
          <a:xfrm>
            <a:off x="7763256" y="5815583"/>
            <a:ext cx="187960" cy="186055"/>
          </a:xfrm>
          <a:custGeom>
            <a:avLst/>
            <a:gdLst/>
            <a:ahLst/>
            <a:cxnLst/>
            <a:rect l="l" t="t" r="r" b="b"/>
            <a:pathLst>
              <a:path w="187960" h="186054">
                <a:moveTo>
                  <a:pt x="0" y="92963"/>
                </a:moveTo>
                <a:lnTo>
                  <a:pt x="7358" y="56776"/>
                </a:lnTo>
                <a:lnTo>
                  <a:pt x="27432" y="27227"/>
                </a:lnTo>
                <a:lnTo>
                  <a:pt x="57221" y="7305"/>
                </a:lnTo>
                <a:lnTo>
                  <a:pt x="93726" y="0"/>
                </a:lnTo>
                <a:lnTo>
                  <a:pt x="130230" y="7305"/>
                </a:lnTo>
                <a:lnTo>
                  <a:pt x="160020" y="27227"/>
                </a:lnTo>
                <a:lnTo>
                  <a:pt x="180093" y="56776"/>
                </a:lnTo>
                <a:lnTo>
                  <a:pt x="187452" y="92963"/>
                </a:lnTo>
                <a:lnTo>
                  <a:pt x="180093" y="129151"/>
                </a:lnTo>
                <a:lnTo>
                  <a:pt x="160020" y="158700"/>
                </a:lnTo>
                <a:lnTo>
                  <a:pt x="130230" y="178622"/>
                </a:lnTo>
                <a:lnTo>
                  <a:pt x="93726" y="185927"/>
                </a:lnTo>
                <a:lnTo>
                  <a:pt x="57221" y="178622"/>
                </a:lnTo>
                <a:lnTo>
                  <a:pt x="27431" y="158700"/>
                </a:lnTo>
                <a:lnTo>
                  <a:pt x="7358" y="129151"/>
                </a:lnTo>
                <a:lnTo>
                  <a:pt x="0" y="92963"/>
                </a:lnTo>
                <a:close/>
              </a:path>
            </a:pathLst>
          </a:custGeom>
          <a:solidFill>
            <a:srgbClr val="C0A66C"/>
          </a:solidFill>
          <a:ln w="12700">
            <a:solidFill>
              <a:srgbClr val="A36C3F"/>
            </a:solidFill>
          </a:ln>
        </p:spPr>
        <p:txBody>
          <a:bodyPr wrap="square" lIns="0" tIns="0" rIns="0" bIns="0" rtlCol="0"/>
          <a:lstStyle/>
          <a:p>
            <a:endParaRPr kern="0">
              <a:solidFill>
                <a:sysClr val="windowText" lastClr="000000"/>
              </a:solidFill>
            </a:endParaRPr>
          </a:p>
        </p:txBody>
      </p:sp>
      <p:sp>
        <p:nvSpPr>
          <p:cNvPr id="32" name="object 40">
            <a:extLst>
              <a:ext uri="{FF2B5EF4-FFF2-40B4-BE49-F238E27FC236}">
                <a16:creationId xmlns:a16="http://schemas.microsoft.com/office/drawing/2014/main" id="{A20FB9BB-E5AE-1977-B5AE-8A3C30FA546C}"/>
              </a:ext>
            </a:extLst>
          </p:cNvPr>
          <p:cNvSpPr/>
          <p:nvPr/>
        </p:nvSpPr>
        <p:spPr>
          <a:xfrm>
            <a:off x="7856219" y="2467355"/>
            <a:ext cx="0" cy="2168525"/>
          </a:xfrm>
          <a:custGeom>
            <a:avLst/>
            <a:gdLst/>
            <a:ahLst/>
            <a:cxnLst/>
            <a:rect l="l" t="t" r="r" b="b"/>
            <a:pathLst>
              <a:path h="2168525">
                <a:moveTo>
                  <a:pt x="0" y="0"/>
                </a:moveTo>
                <a:lnTo>
                  <a:pt x="0" y="205613"/>
                </a:lnTo>
              </a:path>
              <a:path h="2168525">
                <a:moveTo>
                  <a:pt x="0" y="391668"/>
                </a:moveTo>
                <a:lnTo>
                  <a:pt x="0" y="597281"/>
                </a:lnTo>
              </a:path>
              <a:path h="2168525">
                <a:moveTo>
                  <a:pt x="0" y="784860"/>
                </a:moveTo>
                <a:lnTo>
                  <a:pt x="0" y="990473"/>
                </a:lnTo>
              </a:path>
              <a:path h="2168525">
                <a:moveTo>
                  <a:pt x="0" y="1178052"/>
                </a:moveTo>
                <a:lnTo>
                  <a:pt x="0" y="1383665"/>
                </a:lnTo>
              </a:path>
              <a:path h="2168525">
                <a:moveTo>
                  <a:pt x="0" y="1571244"/>
                </a:moveTo>
                <a:lnTo>
                  <a:pt x="0" y="1776857"/>
                </a:lnTo>
              </a:path>
              <a:path h="2168525">
                <a:moveTo>
                  <a:pt x="0" y="1962912"/>
                </a:moveTo>
                <a:lnTo>
                  <a:pt x="0" y="2168525"/>
                </a:lnTo>
              </a:path>
            </a:pathLst>
          </a:custGeom>
          <a:ln w="12700">
            <a:solidFill>
              <a:srgbClr val="BEBEBE"/>
            </a:solidFill>
          </a:ln>
        </p:spPr>
        <p:txBody>
          <a:bodyPr wrap="square" lIns="0" tIns="0" rIns="0" bIns="0" rtlCol="0"/>
          <a:lstStyle/>
          <a:p>
            <a:endParaRPr kern="0">
              <a:solidFill>
                <a:sysClr val="windowText" lastClr="000000"/>
              </a:solidFill>
            </a:endParaRPr>
          </a:p>
        </p:txBody>
      </p:sp>
      <p:sp>
        <p:nvSpPr>
          <p:cNvPr id="33" name="object 41">
            <a:extLst>
              <a:ext uri="{FF2B5EF4-FFF2-40B4-BE49-F238E27FC236}">
                <a16:creationId xmlns:a16="http://schemas.microsoft.com/office/drawing/2014/main" id="{58F0306B-830F-0E5C-CC50-8922A4BE37F7}"/>
              </a:ext>
            </a:extLst>
          </p:cNvPr>
          <p:cNvSpPr/>
          <p:nvPr/>
        </p:nvSpPr>
        <p:spPr>
          <a:xfrm>
            <a:off x="7818120" y="4823459"/>
            <a:ext cx="76200" cy="992505"/>
          </a:xfrm>
          <a:custGeom>
            <a:avLst/>
            <a:gdLst/>
            <a:ahLst/>
            <a:cxnLst/>
            <a:rect l="l" t="t" r="r" b="b"/>
            <a:pathLst>
              <a:path w="76200" h="992504">
                <a:moveTo>
                  <a:pt x="76200" y="915784"/>
                </a:moveTo>
                <a:lnTo>
                  <a:pt x="44450" y="915784"/>
                </a:lnTo>
                <a:lnTo>
                  <a:pt x="44450" y="786384"/>
                </a:lnTo>
                <a:lnTo>
                  <a:pt x="31750" y="786384"/>
                </a:lnTo>
                <a:lnTo>
                  <a:pt x="31750" y="915784"/>
                </a:lnTo>
                <a:lnTo>
                  <a:pt x="0" y="915784"/>
                </a:lnTo>
                <a:lnTo>
                  <a:pt x="38100" y="991984"/>
                </a:lnTo>
                <a:lnTo>
                  <a:pt x="69850" y="928484"/>
                </a:lnTo>
                <a:lnTo>
                  <a:pt x="76200" y="915784"/>
                </a:lnTo>
                <a:close/>
              </a:path>
              <a:path w="76200" h="992504">
                <a:moveTo>
                  <a:pt x="76200" y="522605"/>
                </a:moveTo>
                <a:lnTo>
                  <a:pt x="44450" y="522605"/>
                </a:lnTo>
                <a:lnTo>
                  <a:pt x="44450" y="393192"/>
                </a:lnTo>
                <a:lnTo>
                  <a:pt x="31750" y="393192"/>
                </a:lnTo>
                <a:lnTo>
                  <a:pt x="31750" y="522605"/>
                </a:lnTo>
                <a:lnTo>
                  <a:pt x="0" y="522605"/>
                </a:lnTo>
                <a:lnTo>
                  <a:pt x="38100" y="598805"/>
                </a:lnTo>
                <a:lnTo>
                  <a:pt x="69850" y="535305"/>
                </a:lnTo>
                <a:lnTo>
                  <a:pt x="76200" y="522605"/>
                </a:lnTo>
                <a:close/>
              </a:path>
              <a:path w="76200" h="992504">
                <a:moveTo>
                  <a:pt x="76200" y="129413"/>
                </a:moveTo>
                <a:lnTo>
                  <a:pt x="44450" y="129413"/>
                </a:lnTo>
                <a:lnTo>
                  <a:pt x="44450" y="0"/>
                </a:lnTo>
                <a:lnTo>
                  <a:pt x="31750" y="0"/>
                </a:lnTo>
                <a:lnTo>
                  <a:pt x="31750" y="129413"/>
                </a:lnTo>
                <a:lnTo>
                  <a:pt x="0" y="129413"/>
                </a:lnTo>
                <a:lnTo>
                  <a:pt x="38100" y="205613"/>
                </a:lnTo>
                <a:lnTo>
                  <a:pt x="69850" y="142113"/>
                </a:lnTo>
                <a:lnTo>
                  <a:pt x="76200" y="129413"/>
                </a:lnTo>
                <a:close/>
              </a:path>
            </a:pathLst>
          </a:custGeom>
          <a:solidFill>
            <a:srgbClr val="C0A66C"/>
          </a:solidFill>
        </p:spPr>
        <p:txBody>
          <a:bodyPr wrap="square" lIns="0" tIns="0" rIns="0" bIns="0" rtlCol="0"/>
          <a:lstStyle/>
          <a:p>
            <a:endParaRPr kern="0">
              <a:solidFill>
                <a:sysClr val="windowText" lastClr="000000"/>
              </a:solidFill>
            </a:endParaRPr>
          </a:p>
        </p:txBody>
      </p:sp>
      <p:sp>
        <p:nvSpPr>
          <p:cNvPr id="34" name="object 44">
            <a:extLst>
              <a:ext uri="{FF2B5EF4-FFF2-40B4-BE49-F238E27FC236}">
                <a16:creationId xmlns:a16="http://schemas.microsoft.com/office/drawing/2014/main" id="{4D5A167A-FF24-E788-2FEB-91C1CFC591B6}"/>
              </a:ext>
            </a:extLst>
          </p:cNvPr>
          <p:cNvSpPr/>
          <p:nvPr/>
        </p:nvSpPr>
        <p:spPr>
          <a:xfrm>
            <a:off x="2100072" y="2315655"/>
            <a:ext cx="187960" cy="186055"/>
          </a:xfrm>
          <a:custGeom>
            <a:avLst/>
            <a:gdLst/>
            <a:ahLst/>
            <a:cxnLst/>
            <a:rect l="l" t="t" r="r" b="b"/>
            <a:pathLst>
              <a:path w="187959" h="186055">
                <a:moveTo>
                  <a:pt x="93726" y="0"/>
                </a:moveTo>
                <a:lnTo>
                  <a:pt x="57242" y="7310"/>
                </a:lnTo>
                <a:lnTo>
                  <a:pt x="27451" y="27241"/>
                </a:lnTo>
                <a:lnTo>
                  <a:pt x="7365" y="56792"/>
                </a:lnTo>
                <a:lnTo>
                  <a:pt x="0" y="92963"/>
                </a:lnTo>
                <a:lnTo>
                  <a:pt x="7365" y="129135"/>
                </a:lnTo>
                <a:lnTo>
                  <a:pt x="27451" y="158686"/>
                </a:lnTo>
                <a:lnTo>
                  <a:pt x="57242" y="178617"/>
                </a:lnTo>
                <a:lnTo>
                  <a:pt x="93726" y="185927"/>
                </a:lnTo>
                <a:lnTo>
                  <a:pt x="130209" y="178617"/>
                </a:lnTo>
                <a:lnTo>
                  <a:pt x="160000" y="158686"/>
                </a:lnTo>
                <a:lnTo>
                  <a:pt x="180086" y="129135"/>
                </a:lnTo>
                <a:lnTo>
                  <a:pt x="187451" y="92963"/>
                </a:lnTo>
                <a:lnTo>
                  <a:pt x="180086" y="56792"/>
                </a:lnTo>
                <a:lnTo>
                  <a:pt x="160000" y="27241"/>
                </a:lnTo>
                <a:lnTo>
                  <a:pt x="130209" y="7310"/>
                </a:lnTo>
                <a:lnTo>
                  <a:pt x="93726" y="0"/>
                </a:lnTo>
                <a:close/>
              </a:path>
            </a:pathLst>
          </a:custGeom>
          <a:solidFill>
            <a:srgbClr val="C0A66C"/>
          </a:solidFill>
          <a:ln>
            <a:solidFill>
              <a:srgbClr val="A36C3F"/>
            </a:solidFill>
          </a:ln>
        </p:spPr>
        <p:txBody>
          <a:bodyPr wrap="square" lIns="0" tIns="0" rIns="0" bIns="0" rtlCol="0"/>
          <a:lstStyle/>
          <a:p>
            <a:endParaRPr kern="0" dirty="0">
              <a:solidFill>
                <a:srgbClr val="A36C3F"/>
              </a:solidFill>
            </a:endParaRPr>
          </a:p>
        </p:txBody>
      </p:sp>
      <p:sp>
        <p:nvSpPr>
          <p:cNvPr id="35" name="object 45">
            <a:extLst>
              <a:ext uri="{FF2B5EF4-FFF2-40B4-BE49-F238E27FC236}">
                <a16:creationId xmlns:a16="http://schemas.microsoft.com/office/drawing/2014/main" id="{A21B51FE-6127-45FC-7338-46E2052DEDAA}"/>
              </a:ext>
            </a:extLst>
          </p:cNvPr>
          <p:cNvSpPr/>
          <p:nvPr/>
        </p:nvSpPr>
        <p:spPr>
          <a:xfrm>
            <a:off x="2100072" y="2296528"/>
            <a:ext cx="187960" cy="186055"/>
          </a:xfrm>
          <a:custGeom>
            <a:avLst/>
            <a:gdLst/>
            <a:ahLst/>
            <a:cxnLst/>
            <a:rect l="l" t="t" r="r" b="b"/>
            <a:pathLst>
              <a:path w="187959" h="186055">
                <a:moveTo>
                  <a:pt x="0" y="92963"/>
                </a:moveTo>
                <a:lnTo>
                  <a:pt x="7365" y="56792"/>
                </a:lnTo>
                <a:lnTo>
                  <a:pt x="27451" y="27241"/>
                </a:lnTo>
                <a:lnTo>
                  <a:pt x="57242" y="7310"/>
                </a:lnTo>
                <a:lnTo>
                  <a:pt x="93726" y="0"/>
                </a:lnTo>
                <a:lnTo>
                  <a:pt x="130209" y="7310"/>
                </a:lnTo>
                <a:lnTo>
                  <a:pt x="160000" y="27241"/>
                </a:lnTo>
                <a:lnTo>
                  <a:pt x="180086" y="56792"/>
                </a:lnTo>
                <a:lnTo>
                  <a:pt x="187451" y="92963"/>
                </a:lnTo>
                <a:lnTo>
                  <a:pt x="180086" y="129135"/>
                </a:lnTo>
                <a:lnTo>
                  <a:pt x="160000" y="158686"/>
                </a:lnTo>
                <a:lnTo>
                  <a:pt x="130209" y="178617"/>
                </a:lnTo>
                <a:lnTo>
                  <a:pt x="93726" y="185927"/>
                </a:lnTo>
                <a:lnTo>
                  <a:pt x="57242" y="178617"/>
                </a:lnTo>
                <a:lnTo>
                  <a:pt x="27451" y="158686"/>
                </a:lnTo>
                <a:lnTo>
                  <a:pt x="7365" y="129135"/>
                </a:lnTo>
                <a:lnTo>
                  <a:pt x="0" y="92963"/>
                </a:lnTo>
                <a:close/>
              </a:path>
            </a:pathLst>
          </a:custGeom>
          <a:solidFill>
            <a:srgbClr val="C0A66C"/>
          </a:solidFill>
          <a:ln w="12700">
            <a:solidFill>
              <a:srgbClr val="A36C3F"/>
            </a:solidFill>
          </a:ln>
        </p:spPr>
        <p:txBody>
          <a:bodyPr wrap="square" lIns="0" tIns="0" rIns="0" bIns="0" rtlCol="0"/>
          <a:lstStyle/>
          <a:p>
            <a:endParaRPr kern="0">
              <a:solidFill>
                <a:srgbClr val="A36C3F"/>
              </a:solidFill>
            </a:endParaRPr>
          </a:p>
        </p:txBody>
      </p:sp>
      <p:sp>
        <p:nvSpPr>
          <p:cNvPr id="36" name="object 47">
            <a:extLst>
              <a:ext uri="{FF2B5EF4-FFF2-40B4-BE49-F238E27FC236}">
                <a16:creationId xmlns:a16="http://schemas.microsoft.com/office/drawing/2014/main" id="{2F888748-BF76-873E-F8C9-1CB6BA1FE4F4}"/>
              </a:ext>
            </a:extLst>
          </p:cNvPr>
          <p:cNvSpPr/>
          <p:nvPr/>
        </p:nvSpPr>
        <p:spPr>
          <a:xfrm>
            <a:off x="2100072" y="2714244"/>
            <a:ext cx="187960" cy="187960"/>
          </a:xfrm>
          <a:custGeom>
            <a:avLst/>
            <a:gdLst/>
            <a:ahLst/>
            <a:cxnLst/>
            <a:rect l="l" t="t" r="r" b="b"/>
            <a:pathLst>
              <a:path w="187959" h="187960">
                <a:moveTo>
                  <a:pt x="93726" y="0"/>
                </a:moveTo>
                <a:lnTo>
                  <a:pt x="57242" y="7358"/>
                </a:lnTo>
                <a:lnTo>
                  <a:pt x="27451" y="27431"/>
                </a:lnTo>
                <a:lnTo>
                  <a:pt x="7365" y="57221"/>
                </a:lnTo>
                <a:lnTo>
                  <a:pt x="0" y="93725"/>
                </a:lnTo>
                <a:lnTo>
                  <a:pt x="7365" y="130230"/>
                </a:lnTo>
                <a:lnTo>
                  <a:pt x="27451" y="160019"/>
                </a:lnTo>
                <a:lnTo>
                  <a:pt x="57242" y="180093"/>
                </a:lnTo>
                <a:lnTo>
                  <a:pt x="93726" y="187451"/>
                </a:lnTo>
                <a:lnTo>
                  <a:pt x="130209" y="180093"/>
                </a:lnTo>
                <a:lnTo>
                  <a:pt x="160000" y="160019"/>
                </a:lnTo>
                <a:lnTo>
                  <a:pt x="180086" y="130230"/>
                </a:lnTo>
                <a:lnTo>
                  <a:pt x="187451" y="93725"/>
                </a:lnTo>
                <a:lnTo>
                  <a:pt x="180086" y="57221"/>
                </a:lnTo>
                <a:lnTo>
                  <a:pt x="160000" y="27431"/>
                </a:lnTo>
                <a:lnTo>
                  <a:pt x="130209" y="7358"/>
                </a:lnTo>
                <a:lnTo>
                  <a:pt x="93726" y="0"/>
                </a:lnTo>
                <a:close/>
              </a:path>
            </a:pathLst>
          </a:custGeom>
          <a:solidFill>
            <a:srgbClr val="C0A66C"/>
          </a:solidFill>
          <a:ln>
            <a:solidFill>
              <a:srgbClr val="A36C3F"/>
            </a:solidFill>
          </a:ln>
        </p:spPr>
        <p:txBody>
          <a:bodyPr wrap="square" lIns="0" tIns="0" rIns="0" bIns="0" rtlCol="0"/>
          <a:lstStyle/>
          <a:p>
            <a:endParaRPr kern="0">
              <a:solidFill>
                <a:srgbClr val="A36C3F"/>
              </a:solidFill>
            </a:endParaRPr>
          </a:p>
        </p:txBody>
      </p:sp>
      <p:sp>
        <p:nvSpPr>
          <p:cNvPr id="37" name="object 48">
            <a:extLst>
              <a:ext uri="{FF2B5EF4-FFF2-40B4-BE49-F238E27FC236}">
                <a16:creationId xmlns:a16="http://schemas.microsoft.com/office/drawing/2014/main" id="{22561964-C5C4-E54B-2471-479ED63994CC}"/>
              </a:ext>
            </a:extLst>
          </p:cNvPr>
          <p:cNvSpPr/>
          <p:nvPr/>
        </p:nvSpPr>
        <p:spPr>
          <a:xfrm>
            <a:off x="2100072" y="2714244"/>
            <a:ext cx="187960" cy="187960"/>
          </a:xfrm>
          <a:custGeom>
            <a:avLst/>
            <a:gdLst/>
            <a:ahLst/>
            <a:cxnLst/>
            <a:rect l="l" t="t" r="r" b="b"/>
            <a:pathLst>
              <a:path w="187959" h="187960">
                <a:moveTo>
                  <a:pt x="0" y="93725"/>
                </a:moveTo>
                <a:lnTo>
                  <a:pt x="7365" y="57221"/>
                </a:lnTo>
                <a:lnTo>
                  <a:pt x="27451" y="27431"/>
                </a:lnTo>
                <a:lnTo>
                  <a:pt x="57242" y="7358"/>
                </a:lnTo>
                <a:lnTo>
                  <a:pt x="93726" y="0"/>
                </a:lnTo>
                <a:lnTo>
                  <a:pt x="130209" y="7358"/>
                </a:lnTo>
                <a:lnTo>
                  <a:pt x="160000" y="27431"/>
                </a:lnTo>
                <a:lnTo>
                  <a:pt x="180086" y="57221"/>
                </a:lnTo>
                <a:lnTo>
                  <a:pt x="187451" y="93725"/>
                </a:lnTo>
                <a:lnTo>
                  <a:pt x="180086" y="130230"/>
                </a:lnTo>
                <a:lnTo>
                  <a:pt x="160000" y="160019"/>
                </a:lnTo>
                <a:lnTo>
                  <a:pt x="130209" y="180093"/>
                </a:lnTo>
                <a:lnTo>
                  <a:pt x="93726" y="187451"/>
                </a:lnTo>
                <a:lnTo>
                  <a:pt x="57242" y="180093"/>
                </a:lnTo>
                <a:lnTo>
                  <a:pt x="27451" y="160019"/>
                </a:lnTo>
                <a:lnTo>
                  <a:pt x="7365" y="130230"/>
                </a:lnTo>
                <a:lnTo>
                  <a:pt x="0" y="93725"/>
                </a:lnTo>
                <a:close/>
              </a:path>
            </a:pathLst>
          </a:custGeom>
          <a:solidFill>
            <a:srgbClr val="C0A66C"/>
          </a:solidFill>
          <a:ln w="12700">
            <a:solidFill>
              <a:srgbClr val="A36C3F"/>
            </a:solidFill>
          </a:ln>
        </p:spPr>
        <p:txBody>
          <a:bodyPr wrap="square" lIns="0" tIns="0" rIns="0" bIns="0" rtlCol="0"/>
          <a:lstStyle/>
          <a:p>
            <a:endParaRPr kern="0">
              <a:solidFill>
                <a:srgbClr val="A36C3F"/>
              </a:solidFill>
            </a:endParaRPr>
          </a:p>
        </p:txBody>
      </p:sp>
      <p:sp>
        <p:nvSpPr>
          <p:cNvPr id="38" name="object 50">
            <a:extLst>
              <a:ext uri="{FF2B5EF4-FFF2-40B4-BE49-F238E27FC236}">
                <a16:creationId xmlns:a16="http://schemas.microsoft.com/office/drawing/2014/main" id="{21476E65-70B5-3464-0652-0F057E173906}"/>
              </a:ext>
            </a:extLst>
          </p:cNvPr>
          <p:cNvSpPr/>
          <p:nvPr/>
        </p:nvSpPr>
        <p:spPr>
          <a:xfrm>
            <a:off x="2100072" y="3107436"/>
            <a:ext cx="187960" cy="187960"/>
          </a:xfrm>
          <a:custGeom>
            <a:avLst/>
            <a:gdLst/>
            <a:ahLst/>
            <a:cxnLst/>
            <a:rect l="l" t="t" r="r" b="b"/>
            <a:pathLst>
              <a:path w="187959" h="187960">
                <a:moveTo>
                  <a:pt x="93726" y="0"/>
                </a:moveTo>
                <a:lnTo>
                  <a:pt x="57242" y="7358"/>
                </a:lnTo>
                <a:lnTo>
                  <a:pt x="27451" y="27432"/>
                </a:lnTo>
                <a:lnTo>
                  <a:pt x="7365" y="57221"/>
                </a:lnTo>
                <a:lnTo>
                  <a:pt x="0" y="93725"/>
                </a:lnTo>
                <a:lnTo>
                  <a:pt x="7365" y="130230"/>
                </a:lnTo>
                <a:lnTo>
                  <a:pt x="27451" y="160019"/>
                </a:lnTo>
                <a:lnTo>
                  <a:pt x="57242" y="180093"/>
                </a:lnTo>
                <a:lnTo>
                  <a:pt x="93726" y="187451"/>
                </a:lnTo>
                <a:lnTo>
                  <a:pt x="130209" y="180093"/>
                </a:lnTo>
                <a:lnTo>
                  <a:pt x="160000" y="160019"/>
                </a:lnTo>
                <a:lnTo>
                  <a:pt x="180086" y="130230"/>
                </a:lnTo>
                <a:lnTo>
                  <a:pt x="187451" y="93725"/>
                </a:lnTo>
                <a:lnTo>
                  <a:pt x="180086" y="57221"/>
                </a:lnTo>
                <a:lnTo>
                  <a:pt x="160000" y="27432"/>
                </a:lnTo>
                <a:lnTo>
                  <a:pt x="130209" y="7358"/>
                </a:lnTo>
                <a:lnTo>
                  <a:pt x="93726" y="0"/>
                </a:lnTo>
                <a:close/>
              </a:path>
            </a:pathLst>
          </a:custGeom>
          <a:solidFill>
            <a:srgbClr val="C0A66C"/>
          </a:solidFill>
          <a:ln>
            <a:solidFill>
              <a:srgbClr val="A36C3F"/>
            </a:solidFill>
          </a:ln>
        </p:spPr>
        <p:txBody>
          <a:bodyPr wrap="square" lIns="0" tIns="0" rIns="0" bIns="0" rtlCol="0"/>
          <a:lstStyle/>
          <a:p>
            <a:endParaRPr kern="0">
              <a:solidFill>
                <a:srgbClr val="A36C3F"/>
              </a:solidFill>
            </a:endParaRPr>
          </a:p>
        </p:txBody>
      </p:sp>
      <p:sp>
        <p:nvSpPr>
          <p:cNvPr id="39" name="object 51">
            <a:extLst>
              <a:ext uri="{FF2B5EF4-FFF2-40B4-BE49-F238E27FC236}">
                <a16:creationId xmlns:a16="http://schemas.microsoft.com/office/drawing/2014/main" id="{DACF8474-050E-7D11-7BEF-7B494C58FED4}"/>
              </a:ext>
            </a:extLst>
          </p:cNvPr>
          <p:cNvSpPr/>
          <p:nvPr/>
        </p:nvSpPr>
        <p:spPr>
          <a:xfrm>
            <a:off x="2100072" y="3107436"/>
            <a:ext cx="187960" cy="187960"/>
          </a:xfrm>
          <a:custGeom>
            <a:avLst/>
            <a:gdLst/>
            <a:ahLst/>
            <a:cxnLst/>
            <a:rect l="l" t="t" r="r" b="b"/>
            <a:pathLst>
              <a:path w="187959" h="187960">
                <a:moveTo>
                  <a:pt x="0" y="93725"/>
                </a:moveTo>
                <a:lnTo>
                  <a:pt x="7365" y="57221"/>
                </a:lnTo>
                <a:lnTo>
                  <a:pt x="27451" y="27432"/>
                </a:lnTo>
                <a:lnTo>
                  <a:pt x="57242" y="7358"/>
                </a:lnTo>
                <a:lnTo>
                  <a:pt x="93726" y="0"/>
                </a:lnTo>
                <a:lnTo>
                  <a:pt x="130209" y="7358"/>
                </a:lnTo>
                <a:lnTo>
                  <a:pt x="160000" y="27432"/>
                </a:lnTo>
                <a:lnTo>
                  <a:pt x="180086" y="57221"/>
                </a:lnTo>
                <a:lnTo>
                  <a:pt x="187451" y="93725"/>
                </a:lnTo>
                <a:lnTo>
                  <a:pt x="180086" y="130230"/>
                </a:lnTo>
                <a:lnTo>
                  <a:pt x="160000" y="160019"/>
                </a:lnTo>
                <a:lnTo>
                  <a:pt x="130209" y="180093"/>
                </a:lnTo>
                <a:lnTo>
                  <a:pt x="93726" y="187451"/>
                </a:lnTo>
                <a:lnTo>
                  <a:pt x="57242" y="180093"/>
                </a:lnTo>
                <a:lnTo>
                  <a:pt x="27451" y="160019"/>
                </a:lnTo>
                <a:lnTo>
                  <a:pt x="7365" y="130230"/>
                </a:lnTo>
                <a:lnTo>
                  <a:pt x="0" y="93725"/>
                </a:lnTo>
                <a:close/>
              </a:path>
            </a:pathLst>
          </a:custGeom>
          <a:solidFill>
            <a:srgbClr val="C0A66C"/>
          </a:solidFill>
          <a:ln w="12700">
            <a:solidFill>
              <a:srgbClr val="A36C3F"/>
            </a:solidFill>
          </a:ln>
        </p:spPr>
        <p:txBody>
          <a:bodyPr wrap="square" lIns="0" tIns="0" rIns="0" bIns="0" rtlCol="0"/>
          <a:lstStyle/>
          <a:p>
            <a:endParaRPr kern="0">
              <a:solidFill>
                <a:srgbClr val="A36C3F"/>
              </a:solidFill>
            </a:endParaRPr>
          </a:p>
        </p:txBody>
      </p:sp>
      <p:sp>
        <p:nvSpPr>
          <p:cNvPr id="40" name="object 53">
            <a:extLst>
              <a:ext uri="{FF2B5EF4-FFF2-40B4-BE49-F238E27FC236}">
                <a16:creationId xmlns:a16="http://schemas.microsoft.com/office/drawing/2014/main" id="{3C3B9C4C-5A10-CABB-AB25-E7C7D4A405A3}"/>
              </a:ext>
            </a:extLst>
          </p:cNvPr>
          <p:cNvSpPr/>
          <p:nvPr/>
        </p:nvSpPr>
        <p:spPr>
          <a:xfrm>
            <a:off x="2100072" y="3500628"/>
            <a:ext cx="187960" cy="187960"/>
          </a:xfrm>
          <a:custGeom>
            <a:avLst/>
            <a:gdLst/>
            <a:ahLst/>
            <a:cxnLst/>
            <a:rect l="l" t="t" r="r" b="b"/>
            <a:pathLst>
              <a:path w="187959" h="187960">
                <a:moveTo>
                  <a:pt x="93726" y="0"/>
                </a:moveTo>
                <a:lnTo>
                  <a:pt x="57242" y="7358"/>
                </a:lnTo>
                <a:lnTo>
                  <a:pt x="27451" y="27432"/>
                </a:lnTo>
                <a:lnTo>
                  <a:pt x="7365" y="57221"/>
                </a:lnTo>
                <a:lnTo>
                  <a:pt x="0" y="93725"/>
                </a:lnTo>
                <a:lnTo>
                  <a:pt x="7365" y="130230"/>
                </a:lnTo>
                <a:lnTo>
                  <a:pt x="27451" y="160020"/>
                </a:lnTo>
                <a:lnTo>
                  <a:pt x="57242" y="180093"/>
                </a:lnTo>
                <a:lnTo>
                  <a:pt x="93726" y="187452"/>
                </a:lnTo>
                <a:lnTo>
                  <a:pt x="130209" y="180093"/>
                </a:lnTo>
                <a:lnTo>
                  <a:pt x="160000" y="160020"/>
                </a:lnTo>
                <a:lnTo>
                  <a:pt x="180086" y="130230"/>
                </a:lnTo>
                <a:lnTo>
                  <a:pt x="187451" y="93725"/>
                </a:lnTo>
                <a:lnTo>
                  <a:pt x="180086" y="57221"/>
                </a:lnTo>
                <a:lnTo>
                  <a:pt x="160000" y="27432"/>
                </a:lnTo>
                <a:lnTo>
                  <a:pt x="130209" y="7358"/>
                </a:lnTo>
                <a:lnTo>
                  <a:pt x="93726" y="0"/>
                </a:lnTo>
                <a:close/>
              </a:path>
            </a:pathLst>
          </a:custGeom>
          <a:solidFill>
            <a:srgbClr val="C0A66C"/>
          </a:solidFill>
          <a:ln>
            <a:solidFill>
              <a:srgbClr val="A36C3F"/>
            </a:solidFill>
          </a:ln>
        </p:spPr>
        <p:txBody>
          <a:bodyPr wrap="square" lIns="0" tIns="0" rIns="0" bIns="0" rtlCol="0"/>
          <a:lstStyle/>
          <a:p>
            <a:endParaRPr kern="0">
              <a:solidFill>
                <a:srgbClr val="A36C3F"/>
              </a:solidFill>
            </a:endParaRPr>
          </a:p>
        </p:txBody>
      </p:sp>
      <p:sp>
        <p:nvSpPr>
          <p:cNvPr id="41" name="object 54">
            <a:extLst>
              <a:ext uri="{FF2B5EF4-FFF2-40B4-BE49-F238E27FC236}">
                <a16:creationId xmlns:a16="http://schemas.microsoft.com/office/drawing/2014/main" id="{60DD2143-7F55-DD79-E616-0AD19E7B959B}"/>
              </a:ext>
            </a:extLst>
          </p:cNvPr>
          <p:cNvSpPr/>
          <p:nvPr/>
        </p:nvSpPr>
        <p:spPr>
          <a:xfrm>
            <a:off x="2100072" y="3500628"/>
            <a:ext cx="187960" cy="187960"/>
          </a:xfrm>
          <a:custGeom>
            <a:avLst/>
            <a:gdLst/>
            <a:ahLst/>
            <a:cxnLst/>
            <a:rect l="l" t="t" r="r" b="b"/>
            <a:pathLst>
              <a:path w="187959" h="187960">
                <a:moveTo>
                  <a:pt x="0" y="93725"/>
                </a:moveTo>
                <a:lnTo>
                  <a:pt x="7365" y="57221"/>
                </a:lnTo>
                <a:lnTo>
                  <a:pt x="27451" y="27432"/>
                </a:lnTo>
                <a:lnTo>
                  <a:pt x="57242" y="7358"/>
                </a:lnTo>
                <a:lnTo>
                  <a:pt x="93726" y="0"/>
                </a:lnTo>
                <a:lnTo>
                  <a:pt x="130209" y="7358"/>
                </a:lnTo>
                <a:lnTo>
                  <a:pt x="160000" y="27432"/>
                </a:lnTo>
                <a:lnTo>
                  <a:pt x="180086" y="57221"/>
                </a:lnTo>
                <a:lnTo>
                  <a:pt x="187451" y="93725"/>
                </a:lnTo>
                <a:lnTo>
                  <a:pt x="180086" y="130230"/>
                </a:lnTo>
                <a:lnTo>
                  <a:pt x="160000" y="160020"/>
                </a:lnTo>
                <a:lnTo>
                  <a:pt x="130209" y="180093"/>
                </a:lnTo>
                <a:lnTo>
                  <a:pt x="93726" y="187452"/>
                </a:lnTo>
                <a:lnTo>
                  <a:pt x="57242" y="180093"/>
                </a:lnTo>
                <a:lnTo>
                  <a:pt x="27451" y="160020"/>
                </a:lnTo>
                <a:lnTo>
                  <a:pt x="7365" y="130230"/>
                </a:lnTo>
                <a:lnTo>
                  <a:pt x="0" y="93725"/>
                </a:lnTo>
                <a:close/>
              </a:path>
            </a:pathLst>
          </a:custGeom>
          <a:solidFill>
            <a:srgbClr val="C0A66C"/>
          </a:solidFill>
          <a:ln w="12700">
            <a:solidFill>
              <a:srgbClr val="A36C3F"/>
            </a:solidFill>
          </a:ln>
        </p:spPr>
        <p:txBody>
          <a:bodyPr wrap="square" lIns="0" tIns="0" rIns="0" bIns="0" rtlCol="0"/>
          <a:lstStyle/>
          <a:p>
            <a:endParaRPr kern="0">
              <a:solidFill>
                <a:srgbClr val="A36C3F"/>
              </a:solidFill>
            </a:endParaRPr>
          </a:p>
        </p:txBody>
      </p:sp>
      <p:sp>
        <p:nvSpPr>
          <p:cNvPr id="42" name="object 56">
            <a:extLst>
              <a:ext uri="{FF2B5EF4-FFF2-40B4-BE49-F238E27FC236}">
                <a16:creationId xmlns:a16="http://schemas.microsoft.com/office/drawing/2014/main" id="{9AB2CB54-33EC-1746-628C-73C5F3CB14F1}"/>
              </a:ext>
            </a:extLst>
          </p:cNvPr>
          <p:cNvSpPr/>
          <p:nvPr/>
        </p:nvSpPr>
        <p:spPr>
          <a:xfrm>
            <a:off x="2100072" y="3893820"/>
            <a:ext cx="187960" cy="186055"/>
          </a:xfrm>
          <a:custGeom>
            <a:avLst/>
            <a:gdLst/>
            <a:ahLst/>
            <a:cxnLst/>
            <a:rect l="l" t="t" r="r" b="b"/>
            <a:pathLst>
              <a:path w="187959" h="186054">
                <a:moveTo>
                  <a:pt x="93726" y="0"/>
                </a:moveTo>
                <a:lnTo>
                  <a:pt x="57242" y="7310"/>
                </a:lnTo>
                <a:lnTo>
                  <a:pt x="27451" y="27241"/>
                </a:lnTo>
                <a:lnTo>
                  <a:pt x="7365" y="56792"/>
                </a:lnTo>
                <a:lnTo>
                  <a:pt x="0" y="92963"/>
                </a:lnTo>
                <a:lnTo>
                  <a:pt x="7365" y="129135"/>
                </a:lnTo>
                <a:lnTo>
                  <a:pt x="27451" y="158686"/>
                </a:lnTo>
                <a:lnTo>
                  <a:pt x="57242" y="178617"/>
                </a:lnTo>
                <a:lnTo>
                  <a:pt x="93726" y="185927"/>
                </a:lnTo>
                <a:lnTo>
                  <a:pt x="130209" y="178617"/>
                </a:lnTo>
                <a:lnTo>
                  <a:pt x="160000" y="158686"/>
                </a:lnTo>
                <a:lnTo>
                  <a:pt x="180086" y="129135"/>
                </a:lnTo>
                <a:lnTo>
                  <a:pt x="187451" y="92963"/>
                </a:lnTo>
                <a:lnTo>
                  <a:pt x="180086" y="56792"/>
                </a:lnTo>
                <a:lnTo>
                  <a:pt x="160000" y="27241"/>
                </a:lnTo>
                <a:lnTo>
                  <a:pt x="130209" y="7310"/>
                </a:lnTo>
                <a:lnTo>
                  <a:pt x="93726" y="0"/>
                </a:lnTo>
                <a:close/>
              </a:path>
            </a:pathLst>
          </a:custGeom>
          <a:solidFill>
            <a:srgbClr val="C0A66C"/>
          </a:solidFill>
          <a:ln>
            <a:solidFill>
              <a:srgbClr val="A36C3F"/>
            </a:solidFill>
          </a:ln>
        </p:spPr>
        <p:txBody>
          <a:bodyPr wrap="square" lIns="0" tIns="0" rIns="0" bIns="0" rtlCol="0"/>
          <a:lstStyle/>
          <a:p>
            <a:endParaRPr kern="0">
              <a:solidFill>
                <a:srgbClr val="A36C3F"/>
              </a:solidFill>
            </a:endParaRPr>
          </a:p>
        </p:txBody>
      </p:sp>
      <p:sp>
        <p:nvSpPr>
          <p:cNvPr id="49" name="object 57">
            <a:extLst>
              <a:ext uri="{FF2B5EF4-FFF2-40B4-BE49-F238E27FC236}">
                <a16:creationId xmlns:a16="http://schemas.microsoft.com/office/drawing/2014/main" id="{5EF9291B-2396-346B-31F1-B5A2BC640B13}"/>
              </a:ext>
            </a:extLst>
          </p:cNvPr>
          <p:cNvSpPr/>
          <p:nvPr/>
        </p:nvSpPr>
        <p:spPr>
          <a:xfrm>
            <a:off x="2100072" y="3893820"/>
            <a:ext cx="187960" cy="186055"/>
          </a:xfrm>
          <a:custGeom>
            <a:avLst/>
            <a:gdLst/>
            <a:ahLst/>
            <a:cxnLst/>
            <a:rect l="l" t="t" r="r" b="b"/>
            <a:pathLst>
              <a:path w="187959" h="186054">
                <a:moveTo>
                  <a:pt x="0" y="92963"/>
                </a:moveTo>
                <a:lnTo>
                  <a:pt x="7365" y="56792"/>
                </a:lnTo>
                <a:lnTo>
                  <a:pt x="27451" y="27241"/>
                </a:lnTo>
                <a:lnTo>
                  <a:pt x="57242" y="7310"/>
                </a:lnTo>
                <a:lnTo>
                  <a:pt x="93726" y="0"/>
                </a:lnTo>
                <a:lnTo>
                  <a:pt x="130209" y="7310"/>
                </a:lnTo>
                <a:lnTo>
                  <a:pt x="160000" y="27241"/>
                </a:lnTo>
                <a:lnTo>
                  <a:pt x="180086" y="56792"/>
                </a:lnTo>
                <a:lnTo>
                  <a:pt x="187451" y="92963"/>
                </a:lnTo>
                <a:lnTo>
                  <a:pt x="180086" y="129135"/>
                </a:lnTo>
                <a:lnTo>
                  <a:pt x="160000" y="158686"/>
                </a:lnTo>
                <a:lnTo>
                  <a:pt x="130209" y="178617"/>
                </a:lnTo>
                <a:lnTo>
                  <a:pt x="93726" y="185927"/>
                </a:lnTo>
                <a:lnTo>
                  <a:pt x="57242" y="178617"/>
                </a:lnTo>
                <a:lnTo>
                  <a:pt x="27451" y="158686"/>
                </a:lnTo>
                <a:lnTo>
                  <a:pt x="7365" y="129135"/>
                </a:lnTo>
                <a:lnTo>
                  <a:pt x="0" y="92963"/>
                </a:lnTo>
                <a:close/>
              </a:path>
            </a:pathLst>
          </a:custGeom>
          <a:solidFill>
            <a:srgbClr val="C0A66C"/>
          </a:solidFill>
          <a:ln w="12700">
            <a:solidFill>
              <a:srgbClr val="A36C3F"/>
            </a:solidFill>
          </a:ln>
        </p:spPr>
        <p:txBody>
          <a:bodyPr wrap="square" lIns="0" tIns="0" rIns="0" bIns="0" rtlCol="0"/>
          <a:lstStyle/>
          <a:p>
            <a:endParaRPr kern="0">
              <a:solidFill>
                <a:srgbClr val="A36C3F"/>
              </a:solidFill>
            </a:endParaRPr>
          </a:p>
        </p:txBody>
      </p:sp>
      <p:sp>
        <p:nvSpPr>
          <p:cNvPr id="52" name="object 59">
            <a:extLst>
              <a:ext uri="{FF2B5EF4-FFF2-40B4-BE49-F238E27FC236}">
                <a16:creationId xmlns:a16="http://schemas.microsoft.com/office/drawing/2014/main" id="{D6900C8E-ECBF-4B4E-153F-9456723D2AB6}"/>
              </a:ext>
            </a:extLst>
          </p:cNvPr>
          <p:cNvSpPr/>
          <p:nvPr/>
        </p:nvSpPr>
        <p:spPr>
          <a:xfrm>
            <a:off x="2100072" y="4285488"/>
            <a:ext cx="187960" cy="187960"/>
          </a:xfrm>
          <a:custGeom>
            <a:avLst/>
            <a:gdLst/>
            <a:ahLst/>
            <a:cxnLst/>
            <a:rect l="l" t="t" r="r" b="b"/>
            <a:pathLst>
              <a:path w="187959" h="187960">
                <a:moveTo>
                  <a:pt x="93726" y="0"/>
                </a:moveTo>
                <a:lnTo>
                  <a:pt x="57242" y="7358"/>
                </a:lnTo>
                <a:lnTo>
                  <a:pt x="27451" y="27431"/>
                </a:lnTo>
                <a:lnTo>
                  <a:pt x="7365" y="57221"/>
                </a:lnTo>
                <a:lnTo>
                  <a:pt x="0" y="93725"/>
                </a:lnTo>
                <a:lnTo>
                  <a:pt x="7365" y="130230"/>
                </a:lnTo>
                <a:lnTo>
                  <a:pt x="27451" y="160019"/>
                </a:lnTo>
                <a:lnTo>
                  <a:pt x="57242" y="180093"/>
                </a:lnTo>
                <a:lnTo>
                  <a:pt x="93726" y="187451"/>
                </a:lnTo>
                <a:lnTo>
                  <a:pt x="130209" y="180093"/>
                </a:lnTo>
                <a:lnTo>
                  <a:pt x="160000" y="160019"/>
                </a:lnTo>
                <a:lnTo>
                  <a:pt x="180086" y="130230"/>
                </a:lnTo>
                <a:lnTo>
                  <a:pt x="187451" y="93725"/>
                </a:lnTo>
                <a:lnTo>
                  <a:pt x="180086" y="57221"/>
                </a:lnTo>
                <a:lnTo>
                  <a:pt x="160000" y="27431"/>
                </a:lnTo>
                <a:lnTo>
                  <a:pt x="130209" y="7358"/>
                </a:lnTo>
                <a:lnTo>
                  <a:pt x="93726" y="0"/>
                </a:lnTo>
                <a:close/>
              </a:path>
            </a:pathLst>
          </a:custGeom>
          <a:solidFill>
            <a:srgbClr val="C0A66C"/>
          </a:solidFill>
          <a:ln>
            <a:solidFill>
              <a:srgbClr val="A36C3F"/>
            </a:solidFill>
          </a:ln>
        </p:spPr>
        <p:txBody>
          <a:bodyPr wrap="square" lIns="0" tIns="0" rIns="0" bIns="0" rtlCol="0"/>
          <a:lstStyle/>
          <a:p>
            <a:endParaRPr kern="0">
              <a:solidFill>
                <a:srgbClr val="A36C3F"/>
              </a:solidFill>
            </a:endParaRPr>
          </a:p>
        </p:txBody>
      </p:sp>
      <p:sp>
        <p:nvSpPr>
          <p:cNvPr id="53" name="object 60">
            <a:extLst>
              <a:ext uri="{FF2B5EF4-FFF2-40B4-BE49-F238E27FC236}">
                <a16:creationId xmlns:a16="http://schemas.microsoft.com/office/drawing/2014/main" id="{810CF807-F79A-3B5D-96BE-C7E3AEE28B6B}"/>
              </a:ext>
            </a:extLst>
          </p:cNvPr>
          <p:cNvSpPr/>
          <p:nvPr/>
        </p:nvSpPr>
        <p:spPr>
          <a:xfrm>
            <a:off x="2100072" y="4285488"/>
            <a:ext cx="187960" cy="187960"/>
          </a:xfrm>
          <a:custGeom>
            <a:avLst/>
            <a:gdLst/>
            <a:ahLst/>
            <a:cxnLst/>
            <a:rect l="l" t="t" r="r" b="b"/>
            <a:pathLst>
              <a:path w="187959" h="187960">
                <a:moveTo>
                  <a:pt x="0" y="93725"/>
                </a:moveTo>
                <a:lnTo>
                  <a:pt x="7365" y="57221"/>
                </a:lnTo>
                <a:lnTo>
                  <a:pt x="27451" y="27431"/>
                </a:lnTo>
                <a:lnTo>
                  <a:pt x="57242" y="7358"/>
                </a:lnTo>
                <a:lnTo>
                  <a:pt x="93726" y="0"/>
                </a:lnTo>
                <a:lnTo>
                  <a:pt x="130209" y="7358"/>
                </a:lnTo>
                <a:lnTo>
                  <a:pt x="160000" y="27431"/>
                </a:lnTo>
                <a:lnTo>
                  <a:pt x="180086" y="57221"/>
                </a:lnTo>
                <a:lnTo>
                  <a:pt x="187451" y="93725"/>
                </a:lnTo>
                <a:lnTo>
                  <a:pt x="180086" y="130230"/>
                </a:lnTo>
                <a:lnTo>
                  <a:pt x="160000" y="160019"/>
                </a:lnTo>
                <a:lnTo>
                  <a:pt x="130209" y="180093"/>
                </a:lnTo>
                <a:lnTo>
                  <a:pt x="93726" y="187451"/>
                </a:lnTo>
                <a:lnTo>
                  <a:pt x="57242" y="180093"/>
                </a:lnTo>
                <a:lnTo>
                  <a:pt x="27451" y="160019"/>
                </a:lnTo>
                <a:lnTo>
                  <a:pt x="7365" y="130230"/>
                </a:lnTo>
                <a:lnTo>
                  <a:pt x="0" y="93725"/>
                </a:lnTo>
                <a:close/>
              </a:path>
            </a:pathLst>
          </a:custGeom>
          <a:solidFill>
            <a:srgbClr val="C0A66C"/>
          </a:solidFill>
          <a:ln w="12700">
            <a:solidFill>
              <a:srgbClr val="A36C3F"/>
            </a:solidFill>
          </a:ln>
        </p:spPr>
        <p:txBody>
          <a:bodyPr wrap="square" lIns="0" tIns="0" rIns="0" bIns="0" rtlCol="0"/>
          <a:lstStyle/>
          <a:p>
            <a:endParaRPr kern="0">
              <a:solidFill>
                <a:srgbClr val="A36C3F"/>
              </a:solidFill>
            </a:endParaRPr>
          </a:p>
        </p:txBody>
      </p:sp>
      <p:sp>
        <p:nvSpPr>
          <p:cNvPr id="54" name="object 62">
            <a:extLst>
              <a:ext uri="{FF2B5EF4-FFF2-40B4-BE49-F238E27FC236}">
                <a16:creationId xmlns:a16="http://schemas.microsoft.com/office/drawing/2014/main" id="{B1C85449-7B27-DD8B-2105-3EC468367809}"/>
              </a:ext>
            </a:extLst>
          </p:cNvPr>
          <p:cNvSpPr/>
          <p:nvPr/>
        </p:nvSpPr>
        <p:spPr>
          <a:xfrm>
            <a:off x="2100072" y="4678680"/>
            <a:ext cx="187960" cy="187960"/>
          </a:xfrm>
          <a:custGeom>
            <a:avLst/>
            <a:gdLst/>
            <a:ahLst/>
            <a:cxnLst/>
            <a:rect l="l" t="t" r="r" b="b"/>
            <a:pathLst>
              <a:path w="187959" h="187960">
                <a:moveTo>
                  <a:pt x="93726" y="0"/>
                </a:moveTo>
                <a:lnTo>
                  <a:pt x="57242" y="7358"/>
                </a:lnTo>
                <a:lnTo>
                  <a:pt x="27451" y="27432"/>
                </a:lnTo>
                <a:lnTo>
                  <a:pt x="7365" y="57221"/>
                </a:lnTo>
                <a:lnTo>
                  <a:pt x="0" y="93726"/>
                </a:lnTo>
                <a:lnTo>
                  <a:pt x="7365" y="130230"/>
                </a:lnTo>
                <a:lnTo>
                  <a:pt x="27451" y="160020"/>
                </a:lnTo>
                <a:lnTo>
                  <a:pt x="57242" y="180093"/>
                </a:lnTo>
                <a:lnTo>
                  <a:pt x="93726" y="187452"/>
                </a:lnTo>
                <a:lnTo>
                  <a:pt x="130209" y="180093"/>
                </a:lnTo>
                <a:lnTo>
                  <a:pt x="160000" y="160020"/>
                </a:lnTo>
                <a:lnTo>
                  <a:pt x="180086" y="130230"/>
                </a:lnTo>
                <a:lnTo>
                  <a:pt x="187451" y="93726"/>
                </a:lnTo>
                <a:lnTo>
                  <a:pt x="180086" y="57221"/>
                </a:lnTo>
                <a:lnTo>
                  <a:pt x="160000" y="27432"/>
                </a:lnTo>
                <a:lnTo>
                  <a:pt x="130209" y="7358"/>
                </a:lnTo>
                <a:lnTo>
                  <a:pt x="93726" y="0"/>
                </a:lnTo>
                <a:close/>
              </a:path>
            </a:pathLst>
          </a:custGeom>
          <a:solidFill>
            <a:srgbClr val="C0A66C"/>
          </a:solidFill>
          <a:ln>
            <a:solidFill>
              <a:srgbClr val="A36C3F"/>
            </a:solidFill>
          </a:ln>
        </p:spPr>
        <p:txBody>
          <a:bodyPr wrap="square" lIns="0" tIns="0" rIns="0" bIns="0" rtlCol="0"/>
          <a:lstStyle/>
          <a:p>
            <a:endParaRPr kern="0">
              <a:solidFill>
                <a:srgbClr val="A36C3F"/>
              </a:solidFill>
            </a:endParaRPr>
          </a:p>
        </p:txBody>
      </p:sp>
      <p:sp>
        <p:nvSpPr>
          <p:cNvPr id="55" name="object 63">
            <a:extLst>
              <a:ext uri="{FF2B5EF4-FFF2-40B4-BE49-F238E27FC236}">
                <a16:creationId xmlns:a16="http://schemas.microsoft.com/office/drawing/2014/main" id="{1B0699D8-5F02-E06F-A5E0-F7D3E7489671}"/>
              </a:ext>
            </a:extLst>
          </p:cNvPr>
          <p:cNvSpPr/>
          <p:nvPr/>
        </p:nvSpPr>
        <p:spPr>
          <a:xfrm>
            <a:off x="2100072" y="4678680"/>
            <a:ext cx="187960" cy="187960"/>
          </a:xfrm>
          <a:custGeom>
            <a:avLst/>
            <a:gdLst/>
            <a:ahLst/>
            <a:cxnLst/>
            <a:rect l="l" t="t" r="r" b="b"/>
            <a:pathLst>
              <a:path w="187959" h="187960">
                <a:moveTo>
                  <a:pt x="0" y="93726"/>
                </a:moveTo>
                <a:lnTo>
                  <a:pt x="7365" y="57221"/>
                </a:lnTo>
                <a:lnTo>
                  <a:pt x="27451" y="27432"/>
                </a:lnTo>
                <a:lnTo>
                  <a:pt x="57242" y="7358"/>
                </a:lnTo>
                <a:lnTo>
                  <a:pt x="93726" y="0"/>
                </a:lnTo>
                <a:lnTo>
                  <a:pt x="130209" y="7358"/>
                </a:lnTo>
                <a:lnTo>
                  <a:pt x="160000" y="27432"/>
                </a:lnTo>
                <a:lnTo>
                  <a:pt x="180086" y="57221"/>
                </a:lnTo>
                <a:lnTo>
                  <a:pt x="187451" y="93726"/>
                </a:lnTo>
                <a:lnTo>
                  <a:pt x="180086" y="130230"/>
                </a:lnTo>
                <a:lnTo>
                  <a:pt x="160000" y="160020"/>
                </a:lnTo>
                <a:lnTo>
                  <a:pt x="130209" y="180093"/>
                </a:lnTo>
                <a:lnTo>
                  <a:pt x="93726" y="187452"/>
                </a:lnTo>
                <a:lnTo>
                  <a:pt x="57242" y="180093"/>
                </a:lnTo>
                <a:lnTo>
                  <a:pt x="27451" y="160020"/>
                </a:lnTo>
                <a:lnTo>
                  <a:pt x="7365" y="130230"/>
                </a:lnTo>
                <a:lnTo>
                  <a:pt x="0" y="93726"/>
                </a:lnTo>
                <a:close/>
              </a:path>
            </a:pathLst>
          </a:custGeom>
          <a:solidFill>
            <a:srgbClr val="C0A66C"/>
          </a:solidFill>
          <a:ln w="12700">
            <a:solidFill>
              <a:srgbClr val="A36C3F"/>
            </a:solidFill>
          </a:ln>
        </p:spPr>
        <p:txBody>
          <a:bodyPr wrap="square" lIns="0" tIns="0" rIns="0" bIns="0" rtlCol="0"/>
          <a:lstStyle/>
          <a:p>
            <a:endParaRPr kern="0">
              <a:solidFill>
                <a:srgbClr val="A36C3F"/>
              </a:solidFill>
            </a:endParaRPr>
          </a:p>
        </p:txBody>
      </p:sp>
      <p:sp>
        <p:nvSpPr>
          <p:cNvPr id="56" name="object 65">
            <a:extLst>
              <a:ext uri="{FF2B5EF4-FFF2-40B4-BE49-F238E27FC236}">
                <a16:creationId xmlns:a16="http://schemas.microsoft.com/office/drawing/2014/main" id="{2CA26897-65CB-93A5-09F4-2F40F371CEB8}"/>
              </a:ext>
            </a:extLst>
          </p:cNvPr>
          <p:cNvSpPr/>
          <p:nvPr/>
        </p:nvSpPr>
        <p:spPr>
          <a:xfrm>
            <a:off x="2100072" y="5071873"/>
            <a:ext cx="187960" cy="187960"/>
          </a:xfrm>
          <a:custGeom>
            <a:avLst/>
            <a:gdLst/>
            <a:ahLst/>
            <a:cxnLst/>
            <a:rect l="l" t="t" r="r" b="b"/>
            <a:pathLst>
              <a:path w="187959" h="187960">
                <a:moveTo>
                  <a:pt x="93726" y="0"/>
                </a:moveTo>
                <a:lnTo>
                  <a:pt x="57242" y="7358"/>
                </a:lnTo>
                <a:lnTo>
                  <a:pt x="27451" y="27431"/>
                </a:lnTo>
                <a:lnTo>
                  <a:pt x="7365" y="57221"/>
                </a:lnTo>
                <a:lnTo>
                  <a:pt x="0" y="93725"/>
                </a:lnTo>
                <a:lnTo>
                  <a:pt x="7365" y="130230"/>
                </a:lnTo>
                <a:lnTo>
                  <a:pt x="27451" y="160019"/>
                </a:lnTo>
                <a:lnTo>
                  <a:pt x="57242" y="180093"/>
                </a:lnTo>
                <a:lnTo>
                  <a:pt x="93726" y="187451"/>
                </a:lnTo>
                <a:lnTo>
                  <a:pt x="130209" y="180093"/>
                </a:lnTo>
                <a:lnTo>
                  <a:pt x="160000" y="160019"/>
                </a:lnTo>
                <a:lnTo>
                  <a:pt x="180086" y="130230"/>
                </a:lnTo>
                <a:lnTo>
                  <a:pt x="187451" y="93725"/>
                </a:lnTo>
                <a:lnTo>
                  <a:pt x="180086" y="57221"/>
                </a:lnTo>
                <a:lnTo>
                  <a:pt x="160000" y="27431"/>
                </a:lnTo>
                <a:lnTo>
                  <a:pt x="130209" y="7358"/>
                </a:lnTo>
                <a:lnTo>
                  <a:pt x="93726" y="0"/>
                </a:lnTo>
                <a:close/>
              </a:path>
            </a:pathLst>
          </a:custGeom>
          <a:solidFill>
            <a:srgbClr val="C0A66C"/>
          </a:solidFill>
          <a:ln>
            <a:solidFill>
              <a:srgbClr val="A36C3F"/>
            </a:solidFill>
          </a:ln>
        </p:spPr>
        <p:txBody>
          <a:bodyPr wrap="square" lIns="0" tIns="0" rIns="0" bIns="0" rtlCol="0"/>
          <a:lstStyle/>
          <a:p>
            <a:endParaRPr kern="0">
              <a:solidFill>
                <a:srgbClr val="A36C3F"/>
              </a:solidFill>
            </a:endParaRPr>
          </a:p>
        </p:txBody>
      </p:sp>
      <p:sp>
        <p:nvSpPr>
          <p:cNvPr id="57" name="object 66">
            <a:extLst>
              <a:ext uri="{FF2B5EF4-FFF2-40B4-BE49-F238E27FC236}">
                <a16:creationId xmlns:a16="http://schemas.microsoft.com/office/drawing/2014/main" id="{63661E6F-00C7-2FDB-C6AC-D4B8E2782D1F}"/>
              </a:ext>
            </a:extLst>
          </p:cNvPr>
          <p:cNvSpPr/>
          <p:nvPr/>
        </p:nvSpPr>
        <p:spPr>
          <a:xfrm>
            <a:off x="2100072" y="5071873"/>
            <a:ext cx="187960" cy="187960"/>
          </a:xfrm>
          <a:custGeom>
            <a:avLst/>
            <a:gdLst/>
            <a:ahLst/>
            <a:cxnLst/>
            <a:rect l="l" t="t" r="r" b="b"/>
            <a:pathLst>
              <a:path w="187959" h="187960">
                <a:moveTo>
                  <a:pt x="0" y="93725"/>
                </a:moveTo>
                <a:lnTo>
                  <a:pt x="7365" y="57221"/>
                </a:lnTo>
                <a:lnTo>
                  <a:pt x="27451" y="27431"/>
                </a:lnTo>
                <a:lnTo>
                  <a:pt x="57242" y="7358"/>
                </a:lnTo>
                <a:lnTo>
                  <a:pt x="93726" y="0"/>
                </a:lnTo>
                <a:lnTo>
                  <a:pt x="130209" y="7358"/>
                </a:lnTo>
                <a:lnTo>
                  <a:pt x="160000" y="27431"/>
                </a:lnTo>
                <a:lnTo>
                  <a:pt x="180086" y="57221"/>
                </a:lnTo>
                <a:lnTo>
                  <a:pt x="187451" y="93725"/>
                </a:lnTo>
                <a:lnTo>
                  <a:pt x="180086" y="130230"/>
                </a:lnTo>
                <a:lnTo>
                  <a:pt x="160000" y="160019"/>
                </a:lnTo>
                <a:lnTo>
                  <a:pt x="130209" y="180093"/>
                </a:lnTo>
                <a:lnTo>
                  <a:pt x="93726" y="187451"/>
                </a:lnTo>
                <a:lnTo>
                  <a:pt x="57242" y="180093"/>
                </a:lnTo>
                <a:lnTo>
                  <a:pt x="27451" y="160019"/>
                </a:lnTo>
                <a:lnTo>
                  <a:pt x="7365" y="130230"/>
                </a:lnTo>
                <a:lnTo>
                  <a:pt x="0" y="93725"/>
                </a:lnTo>
                <a:close/>
              </a:path>
            </a:pathLst>
          </a:custGeom>
          <a:solidFill>
            <a:srgbClr val="C0A66C"/>
          </a:solidFill>
          <a:ln w="12700">
            <a:solidFill>
              <a:srgbClr val="A36C3F"/>
            </a:solidFill>
          </a:ln>
        </p:spPr>
        <p:txBody>
          <a:bodyPr wrap="square" lIns="0" tIns="0" rIns="0" bIns="0" rtlCol="0"/>
          <a:lstStyle/>
          <a:p>
            <a:endParaRPr kern="0">
              <a:solidFill>
                <a:srgbClr val="A36C3F"/>
              </a:solidFill>
            </a:endParaRPr>
          </a:p>
        </p:txBody>
      </p:sp>
      <p:sp>
        <p:nvSpPr>
          <p:cNvPr id="58" name="object 68">
            <a:extLst>
              <a:ext uri="{FF2B5EF4-FFF2-40B4-BE49-F238E27FC236}">
                <a16:creationId xmlns:a16="http://schemas.microsoft.com/office/drawing/2014/main" id="{9FC87956-E920-B07D-E2FA-2BC27E4981FB}"/>
              </a:ext>
            </a:extLst>
          </p:cNvPr>
          <p:cNvSpPr/>
          <p:nvPr/>
        </p:nvSpPr>
        <p:spPr>
          <a:xfrm>
            <a:off x="2100072" y="5465064"/>
            <a:ext cx="187960" cy="186055"/>
          </a:xfrm>
          <a:custGeom>
            <a:avLst/>
            <a:gdLst/>
            <a:ahLst/>
            <a:cxnLst/>
            <a:rect l="l" t="t" r="r" b="b"/>
            <a:pathLst>
              <a:path w="187959" h="186054">
                <a:moveTo>
                  <a:pt x="93726" y="0"/>
                </a:moveTo>
                <a:lnTo>
                  <a:pt x="57242" y="7310"/>
                </a:lnTo>
                <a:lnTo>
                  <a:pt x="27451" y="27241"/>
                </a:lnTo>
                <a:lnTo>
                  <a:pt x="7365" y="56792"/>
                </a:lnTo>
                <a:lnTo>
                  <a:pt x="0" y="92964"/>
                </a:lnTo>
                <a:lnTo>
                  <a:pt x="7365" y="129151"/>
                </a:lnTo>
                <a:lnTo>
                  <a:pt x="27451" y="158700"/>
                </a:lnTo>
                <a:lnTo>
                  <a:pt x="57242" y="178622"/>
                </a:lnTo>
                <a:lnTo>
                  <a:pt x="93726" y="185928"/>
                </a:lnTo>
                <a:lnTo>
                  <a:pt x="130209" y="178622"/>
                </a:lnTo>
                <a:lnTo>
                  <a:pt x="160000" y="158700"/>
                </a:lnTo>
                <a:lnTo>
                  <a:pt x="180086" y="129151"/>
                </a:lnTo>
                <a:lnTo>
                  <a:pt x="187451" y="92964"/>
                </a:lnTo>
                <a:lnTo>
                  <a:pt x="180086" y="56792"/>
                </a:lnTo>
                <a:lnTo>
                  <a:pt x="160000" y="27241"/>
                </a:lnTo>
                <a:lnTo>
                  <a:pt x="130209" y="7310"/>
                </a:lnTo>
                <a:lnTo>
                  <a:pt x="93726" y="0"/>
                </a:lnTo>
                <a:close/>
              </a:path>
            </a:pathLst>
          </a:custGeom>
          <a:solidFill>
            <a:srgbClr val="C0A66C"/>
          </a:solidFill>
          <a:ln>
            <a:solidFill>
              <a:srgbClr val="A36C3F"/>
            </a:solidFill>
          </a:ln>
        </p:spPr>
        <p:txBody>
          <a:bodyPr wrap="square" lIns="0" tIns="0" rIns="0" bIns="0" rtlCol="0"/>
          <a:lstStyle/>
          <a:p>
            <a:endParaRPr kern="0">
              <a:solidFill>
                <a:srgbClr val="A36C3F"/>
              </a:solidFill>
            </a:endParaRPr>
          </a:p>
        </p:txBody>
      </p:sp>
      <p:sp>
        <p:nvSpPr>
          <p:cNvPr id="59" name="object 69">
            <a:extLst>
              <a:ext uri="{FF2B5EF4-FFF2-40B4-BE49-F238E27FC236}">
                <a16:creationId xmlns:a16="http://schemas.microsoft.com/office/drawing/2014/main" id="{2AE6C44D-6743-9486-82FE-FBECD32E5C8E}"/>
              </a:ext>
            </a:extLst>
          </p:cNvPr>
          <p:cNvSpPr/>
          <p:nvPr/>
        </p:nvSpPr>
        <p:spPr>
          <a:xfrm>
            <a:off x="2100072" y="5465064"/>
            <a:ext cx="187960" cy="186055"/>
          </a:xfrm>
          <a:custGeom>
            <a:avLst/>
            <a:gdLst/>
            <a:ahLst/>
            <a:cxnLst/>
            <a:rect l="l" t="t" r="r" b="b"/>
            <a:pathLst>
              <a:path w="187959" h="186054">
                <a:moveTo>
                  <a:pt x="0" y="92964"/>
                </a:moveTo>
                <a:lnTo>
                  <a:pt x="7365" y="56792"/>
                </a:lnTo>
                <a:lnTo>
                  <a:pt x="27451" y="27241"/>
                </a:lnTo>
                <a:lnTo>
                  <a:pt x="57242" y="7310"/>
                </a:lnTo>
                <a:lnTo>
                  <a:pt x="93726" y="0"/>
                </a:lnTo>
                <a:lnTo>
                  <a:pt x="130209" y="7310"/>
                </a:lnTo>
                <a:lnTo>
                  <a:pt x="160000" y="27241"/>
                </a:lnTo>
                <a:lnTo>
                  <a:pt x="180086" y="56792"/>
                </a:lnTo>
                <a:lnTo>
                  <a:pt x="187451" y="92964"/>
                </a:lnTo>
                <a:lnTo>
                  <a:pt x="180086" y="129151"/>
                </a:lnTo>
                <a:lnTo>
                  <a:pt x="160000" y="158700"/>
                </a:lnTo>
                <a:lnTo>
                  <a:pt x="130209" y="178622"/>
                </a:lnTo>
                <a:lnTo>
                  <a:pt x="93726" y="185928"/>
                </a:lnTo>
                <a:lnTo>
                  <a:pt x="57242" y="178622"/>
                </a:lnTo>
                <a:lnTo>
                  <a:pt x="27451" y="158700"/>
                </a:lnTo>
                <a:lnTo>
                  <a:pt x="7365" y="129151"/>
                </a:lnTo>
                <a:lnTo>
                  <a:pt x="0" y="92964"/>
                </a:lnTo>
                <a:close/>
              </a:path>
            </a:pathLst>
          </a:custGeom>
          <a:solidFill>
            <a:srgbClr val="C0A66C"/>
          </a:solidFill>
          <a:ln w="12700">
            <a:solidFill>
              <a:srgbClr val="A36C3F"/>
            </a:solidFill>
          </a:ln>
        </p:spPr>
        <p:txBody>
          <a:bodyPr wrap="square" lIns="0" tIns="0" rIns="0" bIns="0" rtlCol="0"/>
          <a:lstStyle/>
          <a:p>
            <a:endParaRPr kern="0">
              <a:solidFill>
                <a:srgbClr val="A36C3F"/>
              </a:solidFill>
            </a:endParaRPr>
          </a:p>
        </p:txBody>
      </p:sp>
      <p:sp>
        <p:nvSpPr>
          <p:cNvPr id="60" name="object 71">
            <a:extLst>
              <a:ext uri="{FF2B5EF4-FFF2-40B4-BE49-F238E27FC236}">
                <a16:creationId xmlns:a16="http://schemas.microsoft.com/office/drawing/2014/main" id="{6E93E4F3-3EA3-677A-38F5-D1CD803D7132}"/>
              </a:ext>
            </a:extLst>
          </p:cNvPr>
          <p:cNvSpPr/>
          <p:nvPr/>
        </p:nvSpPr>
        <p:spPr>
          <a:xfrm>
            <a:off x="2100072" y="5856733"/>
            <a:ext cx="187960" cy="187960"/>
          </a:xfrm>
          <a:custGeom>
            <a:avLst/>
            <a:gdLst/>
            <a:ahLst/>
            <a:cxnLst/>
            <a:rect l="l" t="t" r="r" b="b"/>
            <a:pathLst>
              <a:path w="187959" h="187960">
                <a:moveTo>
                  <a:pt x="93726" y="0"/>
                </a:moveTo>
                <a:lnTo>
                  <a:pt x="57242" y="7365"/>
                </a:lnTo>
                <a:lnTo>
                  <a:pt x="27451" y="27451"/>
                </a:lnTo>
                <a:lnTo>
                  <a:pt x="7365" y="57242"/>
                </a:lnTo>
                <a:lnTo>
                  <a:pt x="0" y="93726"/>
                </a:lnTo>
                <a:lnTo>
                  <a:pt x="7365" y="130209"/>
                </a:lnTo>
                <a:lnTo>
                  <a:pt x="27451" y="160000"/>
                </a:lnTo>
                <a:lnTo>
                  <a:pt x="57242" y="180086"/>
                </a:lnTo>
                <a:lnTo>
                  <a:pt x="93726" y="187452"/>
                </a:lnTo>
                <a:lnTo>
                  <a:pt x="130209" y="180086"/>
                </a:lnTo>
                <a:lnTo>
                  <a:pt x="160000" y="160000"/>
                </a:lnTo>
                <a:lnTo>
                  <a:pt x="180086" y="130209"/>
                </a:lnTo>
                <a:lnTo>
                  <a:pt x="187451" y="93726"/>
                </a:lnTo>
                <a:lnTo>
                  <a:pt x="180086" y="57242"/>
                </a:lnTo>
                <a:lnTo>
                  <a:pt x="160000" y="27451"/>
                </a:lnTo>
                <a:lnTo>
                  <a:pt x="130209" y="7365"/>
                </a:lnTo>
                <a:lnTo>
                  <a:pt x="93726" y="0"/>
                </a:lnTo>
                <a:close/>
              </a:path>
            </a:pathLst>
          </a:custGeom>
          <a:solidFill>
            <a:srgbClr val="C0A66C"/>
          </a:solidFill>
          <a:ln>
            <a:solidFill>
              <a:srgbClr val="A36C3F"/>
            </a:solidFill>
          </a:ln>
        </p:spPr>
        <p:txBody>
          <a:bodyPr wrap="square" lIns="0" tIns="0" rIns="0" bIns="0" rtlCol="0"/>
          <a:lstStyle/>
          <a:p>
            <a:endParaRPr kern="0">
              <a:solidFill>
                <a:srgbClr val="A36C3F"/>
              </a:solidFill>
            </a:endParaRPr>
          </a:p>
        </p:txBody>
      </p:sp>
      <p:sp>
        <p:nvSpPr>
          <p:cNvPr id="61" name="object 72">
            <a:extLst>
              <a:ext uri="{FF2B5EF4-FFF2-40B4-BE49-F238E27FC236}">
                <a16:creationId xmlns:a16="http://schemas.microsoft.com/office/drawing/2014/main" id="{6F7C95A0-F9ED-CDE1-8072-16620CBAF0EC}"/>
              </a:ext>
            </a:extLst>
          </p:cNvPr>
          <p:cNvSpPr/>
          <p:nvPr/>
        </p:nvSpPr>
        <p:spPr>
          <a:xfrm>
            <a:off x="2100072" y="5856733"/>
            <a:ext cx="187960" cy="187960"/>
          </a:xfrm>
          <a:custGeom>
            <a:avLst/>
            <a:gdLst/>
            <a:ahLst/>
            <a:cxnLst/>
            <a:rect l="l" t="t" r="r" b="b"/>
            <a:pathLst>
              <a:path w="187959" h="187960">
                <a:moveTo>
                  <a:pt x="0" y="93726"/>
                </a:moveTo>
                <a:lnTo>
                  <a:pt x="7365" y="57242"/>
                </a:lnTo>
                <a:lnTo>
                  <a:pt x="27451" y="27451"/>
                </a:lnTo>
                <a:lnTo>
                  <a:pt x="57242" y="7365"/>
                </a:lnTo>
                <a:lnTo>
                  <a:pt x="93726" y="0"/>
                </a:lnTo>
                <a:lnTo>
                  <a:pt x="130209" y="7365"/>
                </a:lnTo>
                <a:lnTo>
                  <a:pt x="160000" y="27451"/>
                </a:lnTo>
                <a:lnTo>
                  <a:pt x="180086" y="57242"/>
                </a:lnTo>
                <a:lnTo>
                  <a:pt x="187451" y="93726"/>
                </a:lnTo>
                <a:lnTo>
                  <a:pt x="180086" y="130209"/>
                </a:lnTo>
                <a:lnTo>
                  <a:pt x="160000" y="160000"/>
                </a:lnTo>
                <a:lnTo>
                  <a:pt x="130209" y="180086"/>
                </a:lnTo>
                <a:lnTo>
                  <a:pt x="93726" y="187452"/>
                </a:lnTo>
                <a:lnTo>
                  <a:pt x="57242" y="180086"/>
                </a:lnTo>
                <a:lnTo>
                  <a:pt x="27451" y="160000"/>
                </a:lnTo>
                <a:lnTo>
                  <a:pt x="7365" y="130209"/>
                </a:lnTo>
                <a:lnTo>
                  <a:pt x="0" y="93726"/>
                </a:lnTo>
                <a:close/>
              </a:path>
            </a:pathLst>
          </a:custGeom>
          <a:solidFill>
            <a:srgbClr val="C0A66C"/>
          </a:solidFill>
          <a:ln w="12700">
            <a:solidFill>
              <a:srgbClr val="A36C3F"/>
            </a:solidFill>
          </a:ln>
        </p:spPr>
        <p:txBody>
          <a:bodyPr wrap="square" lIns="0" tIns="0" rIns="0" bIns="0" rtlCol="0"/>
          <a:lstStyle/>
          <a:p>
            <a:endParaRPr kern="0">
              <a:solidFill>
                <a:srgbClr val="A36C3F"/>
              </a:solidFill>
            </a:endParaRPr>
          </a:p>
        </p:txBody>
      </p:sp>
      <p:sp>
        <p:nvSpPr>
          <p:cNvPr id="62" name="object 73">
            <a:extLst>
              <a:ext uri="{FF2B5EF4-FFF2-40B4-BE49-F238E27FC236}">
                <a16:creationId xmlns:a16="http://schemas.microsoft.com/office/drawing/2014/main" id="{228859DC-872D-4C58-9CE0-4BEAD4D3CC98}"/>
              </a:ext>
            </a:extLst>
          </p:cNvPr>
          <p:cNvSpPr/>
          <p:nvPr/>
        </p:nvSpPr>
        <p:spPr>
          <a:xfrm>
            <a:off x="2156460" y="2508504"/>
            <a:ext cx="76200" cy="3348354"/>
          </a:xfrm>
          <a:custGeom>
            <a:avLst/>
            <a:gdLst/>
            <a:ahLst/>
            <a:cxnLst/>
            <a:rect l="l" t="t" r="r" b="b"/>
            <a:pathLst>
              <a:path w="76200" h="3348354">
                <a:moveTo>
                  <a:pt x="76187" y="3271888"/>
                </a:moveTo>
                <a:lnTo>
                  <a:pt x="44450" y="3271888"/>
                </a:lnTo>
                <a:lnTo>
                  <a:pt x="44450" y="3142488"/>
                </a:lnTo>
                <a:lnTo>
                  <a:pt x="31750" y="3142488"/>
                </a:lnTo>
                <a:lnTo>
                  <a:pt x="31750" y="3271888"/>
                </a:lnTo>
                <a:lnTo>
                  <a:pt x="0" y="3271888"/>
                </a:lnTo>
                <a:lnTo>
                  <a:pt x="38100" y="3348088"/>
                </a:lnTo>
                <a:lnTo>
                  <a:pt x="69837" y="3284588"/>
                </a:lnTo>
                <a:lnTo>
                  <a:pt x="76187" y="3271888"/>
                </a:lnTo>
                <a:close/>
              </a:path>
              <a:path w="76200" h="3348354">
                <a:moveTo>
                  <a:pt x="76200" y="2880233"/>
                </a:moveTo>
                <a:lnTo>
                  <a:pt x="44450" y="2880233"/>
                </a:lnTo>
                <a:lnTo>
                  <a:pt x="44450" y="2750820"/>
                </a:lnTo>
                <a:lnTo>
                  <a:pt x="31750" y="2750820"/>
                </a:lnTo>
                <a:lnTo>
                  <a:pt x="31750" y="2880233"/>
                </a:lnTo>
                <a:lnTo>
                  <a:pt x="0" y="2880233"/>
                </a:lnTo>
                <a:lnTo>
                  <a:pt x="38100" y="2956433"/>
                </a:lnTo>
                <a:lnTo>
                  <a:pt x="69850" y="2892933"/>
                </a:lnTo>
                <a:lnTo>
                  <a:pt x="76200" y="2880233"/>
                </a:lnTo>
                <a:close/>
              </a:path>
              <a:path w="76200" h="3348354">
                <a:moveTo>
                  <a:pt x="76200" y="2487041"/>
                </a:moveTo>
                <a:lnTo>
                  <a:pt x="44450" y="2487041"/>
                </a:lnTo>
                <a:lnTo>
                  <a:pt x="44450" y="2357628"/>
                </a:lnTo>
                <a:lnTo>
                  <a:pt x="31750" y="2357628"/>
                </a:lnTo>
                <a:lnTo>
                  <a:pt x="31750" y="2487041"/>
                </a:lnTo>
                <a:lnTo>
                  <a:pt x="0" y="2487041"/>
                </a:lnTo>
                <a:lnTo>
                  <a:pt x="38100" y="2563241"/>
                </a:lnTo>
                <a:lnTo>
                  <a:pt x="69850" y="2499741"/>
                </a:lnTo>
                <a:lnTo>
                  <a:pt x="76200" y="2487041"/>
                </a:lnTo>
                <a:close/>
              </a:path>
              <a:path w="76200" h="3348354">
                <a:moveTo>
                  <a:pt x="76200" y="2093849"/>
                </a:moveTo>
                <a:lnTo>
                  <a:pt x="44450" y="2093849"/>
                </a:lnTo>
                <a:lnTo>
                  <a:pt x="44450" y="1964436"/>
                </a:lnTo>
                <a:lnTo>
                  <a:pt x="31750" y="1964436"/>
                </a:lnTo>
                <a:lnTo>
                  <a:pt x="31750" y="2093849"/>
                </a:lnTo>
                <a:lnTo>
                  <a:pt x="0" y="2093849"/>
                </a:lnTo>
                <a:lnTo>
                  <a:pt x="38100" y="2170049"/>
                </a:lnTo>
                <a:lnTo>
                  <a:pt x="69850" y="2106549"/>
                </a:lnTo>
                <a:lnTo>
                  <a:pt x="76200" y="2093849"/>
                </a:lnTo>
                <a:close/>
              </a:path>
              <a:path w="76200" h="3348354">
                <a:moveTo>
                  <a:pt x="76200" y="1700657"/>
                </a:moveTo>
                <a:lnTo>
                  <a:pt x="44450" y="1700657"/>
                </a:lnTo>
                <a:lnTo>
                  <a:pt x="44450" y="1571244"/>
                </a:lnTo>
                <a:lnTo>
                  <a:pt x="31750" y="1571244"/>
                </a:lnTo>
                <a:lnTo>
                  <a:pt x="31750" y="1700657"/>
                </a:lnTo>
                <a:lnTo>
                  <a:pt x="0" y="1700657"/>
                </a:lnTo>
                <a:lnTo>
                  <a:pt x="38100" y="1776857"/>
                </a:lnTo>
                <a:lnTo>
                  <a:pt x="69850" y="1713357"/>
                </a:lnTo>
                <a:lnTo>
                  <a:pt x="76200" y="1700657"/>
                </a:lnTo>
                <a:close/>
              </a:path>
              <a:path w="76200" h="3348354">
                <a:moveTo>
                  <a:pt x="76200" y="1308989"/>
                </a:moveTo>
                <a:lnTo>
                  <a:pt x="44450" y="1308989"/>
                </a:lnTo>
                <a:lnTo>
                  <a:pt x="44450" y="1179576"/>
                </a:lnTo>
                <a:lnTo>
                  <a:pt x="31750" y="1179576"/>
                </a:lnTo>
                <a:lnTo>
                  <a:pt x="31750" y="1308989"/>
                </a:lnTo>
                <a:lnTo>
                  <a:pt x="0" y="1308989"/>
                </a:lnTo>
                <a:lnTo>
                  <a:pt x="38100" y="1385189"/>
                </a:lnTo>
                <a:lnTo>
                  <a:pt x="69850" y="1321689"/>
                </a:lnTo>
                <a:lnTo>
                  <a:pt x="76200" y="1308989"/>
                </a:lnTo>
                <a:close/>
              </a:path>
              <a:path w="76200" h="3348354">
                <a:moveTo>
                  <a:pt x="76200" y="915797"/>
                </a:moveTo>
                <a:lnTo>
                  <a:pt x="44450" y="915797"/>
                </a:lnTo>
                <a:lnTo>
                  <a:pt x="44450" y="786384"/>
                </a:lnTo>
                <a:lnTo>
                  <a:pt x="31750" y="786384"/>
                </a:lnTo>
                <a:lnTo>
                  <a:pt x="31750" y="915797"/>
                </a:lnTo>
                <a:lnTo>
                  <a:pt x="0" y="915797"/>
                </a:lnTo>
                <a:lnTo>
                  <a:pt x="38100" y="991997"/>
                </a:lnTo>
                <a:lnTo>
                  <a:pt x="69850" y="928497"/>
                </a:lnTo>
                <a:lnTo>
                  <a:pt x="76200" y="915797"/>
                </a:lnTo>
                <a:close/>
              </a:path>
              <a:path w="76200" h="3348354">
                <a:moveTo>
                  <a:pt x="76200" y="522605"/>
                </a:moveTo>
                <a:lnTo>
                  <a:pt x="44450" y="522605"/>
                </a:lnTo>
                <a:lnTo>
                  <a:pt x="44450" y="393192"/>
                </a:lnTo>
                <a:lnTo>
                  <a:pt x="31750" y="393192"/>
                </a:lnTo>
                <a:lnTo>
                  <a:pt x="31750" y="522605"/>
                </a:lnTo>
                <a:lnTo>
                  <a:pt x="0" y="522605"/>
                </a:lnTo>
                <a:lnTo>
                  <a:pt x="38100" y="598805"/>
                </a:lnTo>
                <a:lnTo>
                  <a:pt x="69850" y="535305"/>
                </a:lnTo>
                <a:lnTo>
                  <a:pt x="76200" y="522605"/>
                </a:lnTo>
                <a:close/>
              </a:path>
              <a:path w="76200" h="3348354">
                <a:moveTo>
                  <a:pt x="76200" y="129413"/>
                </a:moveTo>
                <a:lnTo>
                  <a:pt x="44450" y="129413"/>
                </a:lnTo>
                <a:lnTo>
                  <a:pt x="44450" y="0"/>
                </a:lnTo>
                <a:lnTo>
                  <a:pt x="31750" y="0"/>
                </a:lnTo>
                <a:lnTo>
                  <a:pt x="31750" y="129413"/>
                </a:lnTo>
                <a:lnTo>
                  <a:pt x="0" y="129413"/>
                </a:lnTo>
                <a:lnTo>
                  <a:pt x="38100" y="205613"/>
                </a:lnTo>
                <a:lnTo>
                  <a:pt x="69850" y="142113"/>
                </a:lnTo>
                <a:lnTo>
                  <a:pt x="76200" y="129413"/>
                </a:lnTo>
                <a:close/>
              </a:path>
            </a:pathLst>
          </a:custGeom>
          <a:solidFill>
            <a:srgbClr val="C0A66C"/>
          </a:solidFill>
          <a:ln>
            <a:solidFill>
              <a:srgbClr val="A36C3F"/>
            </a:solidFill>
          </a:ln>
        </p:spPr>
        <p:txBody>
          <a:bodyPr wrap="square" lIns="0" tIns="0" rIns="0" bIns="0" rtlCol="0"/>
          <a:lstStyle/>
          <a:p>
            <a:endParaRPr kern="0">
              <a:solidFill>
                <a:srgbClr val="A36C3F"/>
              </a:solidFill>
            </a:endParaRPr>
          </a:p>
        </p:txBody>
      </p:sp>
      <p:sp>
        <p:nvSpPr>
          <p:cNvPr id="63" name="object 74">
            <a:extLst>
              <a:ext uri="{FF2B5EF4-FFF2-40B4-BE49-F238E27FC236}">
                <a16:creationId xmlns:a16="http://schemas.microsoft.com/office/drawing/2014/main" id="{F30EA7EF-E21D-52C4-B8BD-8387A8B22D7F}"/>
              </a:ext>
            </a:extLst>
          </p:cNvPr>
          <p:cNvSpPr txBox="1"/>
          <p:nvPr/>
        </p:nvSpPr>
        <p:spPr>
          <a:xfrm>
            <a:off x="7035565" y="4566330"/>
            <a:ext cx="2352261" cy="1413785"/>
          </a:xfrm>
          <a:prstGeom prst="rect">
            <a:avLst/>
          </a:prstGeom>
        </p:spPr>
        <p:txBody>
          <a:bodyPr vert="horz" wrap="square" lIns="0" tIns="12700" rIns="0" bIns="0" rtlCol="0">
            <a:spAutoFit/>
          </a:bodyPr>
          <a:lstStyle/>
          <a:p>
            <a:pPr marL="12700" marR="988694">
              <a:lnSpc>
                <a:spcPct val="143200"/>
              </a:lnSpc>
              <a:spcBef>
                <a:spcPts val="100"/>
              </a:spcBef>
            </a:pPr>
            <a:r>
              <a:rPr lang="ar-SA" sz="1600" kern="0" spc="-10" dirty="0">
                <a:solidFill>
                  <a:srgbClr val="5F5F5F"/>
                </a:solidFill>
                <a:latin typeface="Tahoma"/>
                <a:cs typeface="Tahoma"/>
              </a:rPr>
              <a:t>الحفاظ</a:t>
            </a:r>
          </a:p>
          <a:p>
            <a:pPr marL="12700" marR="988694">
              <a:lnSpc>
                <a:spcPct val="143200"/>
              </a:lnSpc>
              <a:spcBef>
                <a:spcPts val="100"/>
              </a:spcBef>
            </a:pPr>
            <a:r>
              <a:rPr lang="ar-SA" sz="1600" kern="0" spc="-10" dirty="0">
                <a:solidFill>
                  <a:srgbClr val="5F5F5F"/>
                </a:solidFill>
                <a:latin typeface="Tahoma"/>
                <a:cs typeface="Tahoma"/>
              </a:rPr>
              <a:t>التحديث</a:t>
            </a:r>
          </a:p>
          <a:p>
            <a:pPr marL="12700" marR="988694">
              <a:lnSpc>
                <a:spcPct val="143200"/>
              </a:lnSpc>
              <a:spcBef>
                <a:spcPts val="100"/>
              </a:spcBef>
            </a:pPr>
            <a:r>
              <a:rPr lang="ar-SA" sz="1600" kern="0" spc="-10" dirty="0">
                <a:solidFill>
                  <a:srgbClr val="5F5F5F"/>
                </a:solidFill>
                <a:latin typeface="Tahoma"/>
                <a:cs typeface="Tahoma"/>
              </a:rPr>
              <a:t>الحفظ</a:t>
            </a:r>
            <a:r>
              <a:rPr lang="en-US" sz="1600" kern="0" spc="-10" dirty="0">
                <a:solidFill>
                  <a:srgbClr val="5F5F5F"/>
                </a:solidFill>
                <a:latin typeface="Tahoma"/>
                <a:cs typeface="Tahoma"/>
              </a:rPr>
              <a:t>/</a:t>
            </a:r>
            <a:r>
              <a:rPr lang="ar-SA" sz="1600" kern="0" spc="-10" dirty="0">
                <a:solidFill>
                  <a:srgbClr val="5F5F5F"/>
                </a:solidFill>
                <a:latin typeface="Tahoma"/>
                <a:cs typeface="Tahoma"/>
              </a:rPr>
              <a:t>التعليق</a:t>
            </a:r>
          </a:p>
          <a:p>
            <a:pPr marL="12700" marR="988694">
              <a:lnSpc>
                <a:spcPct val="143200"/>
              </a:lnSpc>
              <a:spcBef>
                <a:spcPts val="100"/>
              </a:spcBef>
            </a:pPr>
            <a:r>
              <a:rPr lang="ar-SA" sz="1600" kern="0" spc="-10" dirty="0">
                <a:solidFill>
                  <a:srgbClr val="5F5F5F"/>
                </a:solidFill>
                <a:latin typeface="Tahoma"/>
                <a:cs typeface="Tahoma"/>
              </a:rPr>
              <a:t>الإحلال </a:t>
            </a:r>
            <a:endParaRPr sz="1600" kern="0" dirty="0">
              <a:solidFill>
                <a:sysClr val="windowText" lastClr="000000"/>
              </a:solidFill>
              <a:latin typeface="Tahoma"/>
              <a:cs typeface="Tahoma"/>
            </a:endParaRPr>
          </a:p>
        </p:txBody>
      </p:sp>
      <p:sp>
        <p:nvSpPr>
          <p:cNvPr id="64" name="object 75">
            <a:extLst>
              <a:ext uri="{FF2B5EF4-FFF2-40B4-BE49-F238E27FC236}">
                <a16:creationId xmlns:a16="http://schemas.microsoft.com/office/drawing/2014/main" id="{27CC4EE9-81C9-8F30-D0AB-F306CA7B2152}"/>
              </a:ext>
            </a:extLst>
          </p:cNvPr>
          <p:cNvSpPr txBox="1"/>
          <p:nvPr/>
        </p:nvSpPr>
        <p:spPr>
          <a:xfrm>
            <a:off x="5351726" y="3839904"/>
            <a:ext cx="1632585" cy="2200089"/>
          </a:xfrm>
          <a:prstGeom prst="rect">
            <a:avLst/>
          </a:prstGeom>
        </p:spPr>
        <p:txBody>
          <a:bodyPr vert="horz" wrap="square" lIns="0" tIns="19050" rIns="0" bIns="0" rtlCol="0">
            <a:spAutoFit/>
          </a:bodyPr>
          <a:lstStyle/>
          <a:p>
            <a:pPr marL="12700" marR="5080" indent="14604">
              <a:lnSpc>
                <a:spcPct val="141900"/>
              </a:lnSpc>
              <a:spcBef>
                <a:spcPts val="150"/>
              </a:spcBef>
            </a:pPr>
            <a:r>
              <a:rPr lang="ar-SA" sz="1600" kern="0" spc="-10" dirty="0">
                <a:solidFill>
                  <a:srgbClr val="5F5F5F"/>
                </a:solidFill>
                <a:latin typeface="Tahoma"/>
                <a:cs typeface="Tahoma"/>
              </a:rPr>
              <a:t>جمع البيانات</a:t>
            </a:r>
          </a:p>
          <a:p>
            <a:pPr marL="12700" marR="5080" indent="14604">
              <a:lnSpc>
                <a:spcPct val="141900"/>
              </a:lnSpc>
              <a:spcBef>
                <a:spcPts val="150"/>
              </a:spcBef>
            </a:pPr>
            <a:r>
              <a:rPr lang="ar-SA" sz="1600" kern="0" spc="-10" dirty="0">
                <a:solidFill>
                  <a:srgbClr val="5F5F5F"/>
                </a:solidFill>
                <a:latin typeface="Tahoma"/>
                <a:cs typeface="Tahoma"/>
              </a:rPr>
              <a:t>التحليل</a:t>
            </a:r>
          </a:p>
          <a:p>
            <a:pPr marL="12700" marR="5080" indent="14604">
              <a:lnSpc>
                <a:spcPct val="141900"/>
              </a:lnSpc>
              <a:spcBef>
                <a:spcPts val="150"/>
              </a:spcBef>
            </a:pPr>
            <a:r>
              <a:rPr lang="ar-SA" sz="1600" kern="0" spc="-10" dirty="0">
                <a:solidFill>
                  <a:srgbClr val="5F5F5F"/>
                </a:solidFill>
                <a:latin typeface="Tahoma"/>
                <a:cs typeface="Tahoma"/>
              </a:rPr>
              <a:t>إعداد التقارير</a:t>
            </a:r>
          </a:p>
          <a:p>
            <a:pPr marL="12700" marR="5080" indent="14604">
              <a:lnSpc>
                <a:spcPct val="141900"/>
              </a:lnSpc>
              <a:spcBef>
                <a:spcPts val="150"/>
              </a:spcBef>
            </a:pPr>
            <a:r>
              <a:rPr lang="ar-SA" sz="1600" kern="0" spc="-10" dirty="0">
                <a:solidFill>
                  <a:srgbClr val="5F5F5F"/>
                </a:solidFill>
                <a:latin typeface="Tahoma"/>
                <a:cs typeface="Tahoma"/>
              </a:rPr>
              <a:t>اتخاذ القرار</a:t>
            </a:r>
          </a:p>
          <a:p>
            <a:pPr marL="12700" marR="5080" indent="14604">
              <a:lnSpc>
                <a:spcPct val="141900"/>
              </a:lnSpc>
              <a:spcBef>
                <a:spcPts val="150"/>
              </a:spcBef>
            </a:pPr>
            <a:r>
              <a:rPr lang="ar-SA" sz="1600" kern="0" spc="-10" dirty="0">
                <a:solidFill>
                  <a:srgbClr val="5F5F5F"/>
                </a:solidFill>
                <a:latin typeface="Tahoma"/>
                <a:cs typeface="Tahoma"/>
              </a:rPr>
              <a:t>التواصل</a:t>
            </a:r>
          </a:p>
          <a:p>
            <a:pPr marL="12700" marR="5080" indent="14604">
              <a:lnSpc>
                <a:spcPct val="141900"/>
              </a:lnSpc>
              <a:spcBef>
                <a:spcPts val="150"/>
              </a:spcBef>
            </a:pPr>
            <a:r>
              <a:rPr lang="ar-SA" sz="1600" kern="0" spc="-10" dirty="0">
                <a:solidFill>
                  <a:srgbClr val="5F5F5F"/>
                </a:solidFill>
                <a:latin typeface="Tahoma"/>
                <a:cs typeface="Tahoma"/>
              </a:rPr>
              <a:t>تحديث التوثيق</a:t>
            </a:r>
            <a:endParaRPr sz="1600" kern="0" dirty="0">
              <a:solidFill>
                <a:sysClr val="windowText" lastClr="000000"/>
              </a:solidFill>
              <a:latin typeface="Tahoma"/>
              <a:cs typeface="Tahoma"/>
            </a:endParaRPr>
          </a:p>
        </p:txBody>
      </p:sp>
      <p:pic>
        <p:nvPicPr>
          <p:cNvPr id="65" name="object 77">
            <a:extLst>
              <a:ext uri="{FF2B5EF4-FFF2-40B4-BE49-F238E27FC236}">
                <a16:creationId xmlns:a16="http://schemas.microsoft.com/office/drawing/2014/main" id="{90624C33-5CB0-FAD9-5056-A209644A1A42}"/>
              </a:ext>
            </a:extLst>
          </p:cNvPr>
          <p:cNvPicPr/>
          <p:nvPr/>
        </p:nvPicPr>
        <p:blipFill>
          <a:blip r:embed="rId12" cstate="print"/>
          <a:stretch>
            <a:fillRect/>
          </a:stretch>
        </p:blipFill>
        <p:spPr>
          <a:xfrm>
            <a:off x="5151070" y="3885915"/>
            <a:ext cx="272843" cy="261032"/>
          </a:xfrm>
          <a:prstGeom prst="rect">
            <a:avLst/>
          </a:prstGeom>
        </p:spPr>
      </p:pic>
      <p:sp>
        <p:nvSpPr>
          <p:cNvPr id="66" name="object 78">
            <a:extLst>
              <a:ext uri="{FF2B5EF4-FFF2-40B4-BE49-F238E27FC236}">
                <a16:creationId xmlns:a16="http://schemas.microsoft.com/office/drawing/2014/main" id="{1AF24A3D-6BB3-1E80-7D06-A9B624D979E2}"/>
              </a:ext>
            </a:extLst>
          </p:cNvPr>
          <p:cNvSpPr/>
          <p:nvPr/>
        </p:nvSpPr>
        <p:spPr>
          <a:xfrm>
            <a:off x="5167884" y="3893821"/>
            <a:ext cx="189230" cy="186055"/>
          </a:xfrm>
          <a:custGeom>
            <a:avLst/>
            <a:gdLst/>
            <a:ahLst/>
            <a:cxnLst/>
            <a:rect l="l" t="t" r="r" b="b"/>
            <a:pathLst>
              <a:path w="189229" h="186054">
                <a:moveTo>
                  <a:pt x="94487" y="0"/>
                </a:moveTo>
                <a:lnTo>
                  <a:pt x="57703" y="7310"/>
                </a:lnTo>
                <a:lnTo>
                  <a:pt x="27670" y="27241"/>
                </a:lnTo>
                <a:lnTo>
                  <a:pt x="7423" y="56792"/>
                </a:lnTo>
                <a:lnTo>
                  <a:pt x="0" y="92963"/>
                </a:lnTo>
                <a:lnTo>
                  <a:pt x="7423" y="129135"/>
                </a:lnTo>
                <a:lnTo>
                  <a:pt x="27670" y="158686"/>
                </a:lnTo>
                <a:lnTo>
                  <a:pt x="57703" y="178617"/>
                </a:lnTo>
                <a:lnTo>
                  <a:pt x="94487" y="185927"/>
                </a:lnTo>
                <a:lnTo>
                  <a:pt x="131272" y="178617"/>
                </a:lnTo>
                <a:lnTo>
                  <a:pt x="161305" y="158686"/>
                </a:lnTo>
                <a:lnTo>
                  <a:pt x="181552" y="129135"/>
                </a:lnTo>
                <a:lnTo>
                  <a:pt x="188975" y="92963"/>
                </a:lnTo>
                <a:lnTo>
                  <a:pt x="181552" y="56792"/>
                </a:lnTo>
                <a:lnTo>
                  <a:pt x="161305" y="27241"/>
                </a:lnTo>
                <a:lnTo>
                  <a:pt x="131272" y="7310"/>
                </a:lnTo>
                <a:lnTo>
                  <a:pt x="94487" y="0"/>
                </a:lnTo>
                <a:close/>
              </a:path>
            </a:pathLst>
          </a:custGeom>
          <a:solidFill>
            <a:srgbClr val="C0A66C"/>
          </a:solidFill>
        </p:spPr>
        <p:txBody>
          <a:bodyPr wrap="square" lIns="0" tIns="0" rIns="0" bIns="0" rtlCol="0"/>
          <a:lstStyle/>
          <a:p>
            <a:endParaRPr kern="0">
              <a:solidFill>
                <a:sysClr val="windowText" lastClr="000000"/>
              </a:solidFill>
            </a:endParaRPr>
          </a:p>
        </p:txBody>
      </p:sp>
      <p:pic>
        <p:nvPicPr>
          <p:cNvPr id="67" name="object 79">
            <a:extLst>
              <a:ext uri="{FF2B5EF4-FFF2-40B4-BE49-F238E27FC236}">
                <a16:creationId xmlns:a16="http://schemas.microsoft.com/office/drawing/2014/main" id="{E1D7CFA6-B756-A64D-93B6-5AD77A75FD72}"/>
              </a:ext>
            </a:extLst>
          </p:cNvPr>
          <p:cNvPicPr/>
          <p:nvPr/>
        </p:nvPicPr>
        <p:blipFill>
          <a:blip r:embed="rId13" cstate="print"/>
          <a:stretch>
            <a:fillRect/>
          </a:stretch>
        </p:blipFill>
        <p:spPr>
          <a:xfrm>
            <a:off x="5151070" y="4277702"/>
            <a:ext cx="272843" cy="262390"/>
          </a:xfrm>
          <a:prstGeom prst="rect">
            <a:avLst/>
          </a:prstGeom>
        </p:spPr>
      </p:pic>
      <p:sp>
        <p:nvSpPr>
          <p:cNvPr id="68" name="object 80">
            <a:extLst>
              <a:ext uri="{FF2B5EF4-FFF2-40B4-BE49-F238E27FC236}">
                <a16:creationId xmlns:a16="http://schemas.microsoft.com/office/drawing/2014/main" id="{83F3FF61-9067-F3AC-548A-9A1DC1524875}"/>
              </a:ext>
            </a:extLst>
          </p:cNvPr>
          <p:cNvSpPr/>
          <p:nvPr/>
        </p:nvSpPr>
        <p:spPr>
          <a:xfrm>
            <a:off x="5167884" y="4285489"/>
            <a:ext cx="189230" cy="187960"/>
          </a:xfrm>
          <a:custGeom>
            <a:avLst/>
            <a:gdLst/>
            <a:ahLst/>
            <a:cxnLst/>
            <a:rect l="l" t="t" r="r" b="b"/>
            <a:pathLst>
              <a:path w="189229" h="187960">
                <a:moveTo>
                  <a:pt x="94487" y="0"/>
                </a:moveTo>
                <a:lnTo>
                  <a:pt x="57703" y="7358"/>
                </a:lnTo>
                <a:lnTo>
                  <a:pt x="27670" y="27431"/>
                </a:lnTo>
                <a:lnTo>
                  <a:pt x="7423" y="57221"/>
                </a:lnTo>
                <a:lnTo>
                  <a:pt x="0" y="93725"/>
                </a:lnTo>
                <a:lnTo>
                  <a:pt x="7423" y="130230"/>
                </a:lnTo>
                <a:lnTo>
                  <a:pt x="27670" y="160019"/>
                </a:lnTo>
                <a:lnTo>
                  <a:pt x="57703" y="180093"/>
                </a:lnTo>
                <a:lnTo>
                  <a:pt x="94487" y="187451"/>
                </a:lnTo>
                <a:lnTo>
                  <a:pt x="131272" y="180093"/>
                </a:lnTo>
                <a:lnTo>
                  <a:pt x="161305" y="160019"/>
                </a:lnTo>
                <a:lnTo>
                  <a:pt x="181552" y="130230"/>
                </a:lnTo>
                <a:lnTo>
                  <a:pt x="188975" y="93725"/>
                </a:lnTo>
                <a:lnTo>
                  <a:pt x="181552" y="57221"/>
                </a:lnTo>
                <a:lnTo>
                  <a:pt x="161305" y="27431"/>
                </a:lnTo>
                <a:lnTo>
                  <a:pt x="131272" y="7358"/>
                </a:lnTo>
                <a:lnTo>
                  <a:pt x="94487" y="0"/>
                </a:lnTo>
                <a:close/>
              </a:path>
            </a:pathLst>
          </a:custGeom>
          <a:solidFill>
            <a:srgbClr val="C0A66C"/>
          </a:solidFill>
        </p:spPr>
        <p:txBody>
          <a:bodyPr wrap="square" lIns="0" tIns="0" rIns="0" bIns="0" rtlCol="0"/>
          <a:lstStyle/>
          <a:p>
            <a:endParaRPr kern="0">
              <a:solidFill>
                <a:sysClr val="windowText" lastClr="000000"/>
              </a:solidFill>
            </a:endParaRPr>
          </a:p>
        </p:txBody>
      </p:sp>
      <p:pic>
        <p:nvPicPr>
          <p:cNvPr id="69" name="object 81">
            <a:extLst>
              <a:ext uri="{FF2B5EF4-FFF2-40B4-BE49-F238E27FC236}">
                <a16:creationId xmlns:a16="http://schemas.microsoft.com/office/drawing/2014/main" id="{697FAED2-BB42-66BB-1A0F-C2BE7ADF482D}"/>
              </a:ext>
            </a:extLst>
          </p:cNvPr>
          <p:cNvPicPr/>
          <p:nvPr/>
        </p:nvPicPr>
        <p:blipFill>
          <a:blip r:embed="rId13" cstate="print"/>
          <a:stretch>
            <a:fillRect/>
          </a:stretch>
        </p:blipFill>
        <p:spPr>
          <a:xfrm>
            <a:off x="5151070" y="4670894"/>
            <a:ext cx="272843" cy="262390"/>
          </a:xfrm>
          <a:prstGeom prst="rect">
            <a:avLst/>
          </a:prstGeom>
        </p:spPr>
      </p:pic>
      <p:sp>
        <p:nvSpPr>
          <p:cNvPr id="70" name="object 82">
            <a:extLst>
              <a:ext uri="{FF2B5EF4-FFF2-40B4-BE49-F238E27FC236}">
                <a16:creationId xmlns:a16="http://schemas.microsoft.com/office/drawing/2014/main" id="{37844113-0B3D-4CCD-CDF3-F810251958BA}"/>
              </a:ext>
            </a:extLst>
          </p:cNvPr>
          <p:cNvSpPr/>
          <p:nvPr/>
        </p:nvSpPr>
        <p:spPr>
          <a:xfrm>
            <a:off x="5167884" y="4678681"/>
            <a:ext cx="189230" cy="187960"/>
          </a:xfrm>
          <a:custGeom>
            <a:avLst/>
            <a:gdLst/>
            <a:ahLst/>
            <a:cxnLst/>
            <a:rect l="l" t="t" r="r" b="b"/>
            <a:pathLst>
              <a:path w="189229" h="187960">
                <a:moveTo>
                  <a:pt x="94487" y="0"/>
                </a:moveTo>
                <a:lnTo>
                  <a:pt x="57703" y="7358"/>
                </a:lnTo>
                <a:lnTo>
                  <a:pt x="27670" y="27432"/>
                </a:lnTo>
                <a:lnTo>
                  <a:pt x="7423" y="57221"/>
                </a:lnTo>
                <a:lnTo>
                  <a:pt x="0" y="93726"/>
                </a:lnTo>
                <a:lnTo>
                  <a:pt x="7423" y="130230"/>
                </a:lnTo>
                <a:lnTo>
                  <a:pt x="27670" y="160020"/>
                </a:lnTo>
                <a:lnTo>
                  <a:pt x="57703" y="180093"/>
                </a:lnTo>
                <a:lnTo>
                  <a:pt x="94487" y="187452"/>
                </a:lnTo>
                <a:lnTo>
                  <a:pt x="131272" y="180093"/>
                </a:lnTo>
                <a:lnTo>
                  <a:pt x="161305" y="160020"/>
                </a:lnTo>
                <a:lnTo>
                  <a:pt x="181552" y="130230"/>
                </a:lnTo>
                <a:lnTo>
                  <a:pt x="188975" y="93726"/>
                </a:lnTo>
                <a:lnTo>
                  <a:pt x="181552" y="57221"/>
                </a:lnTo>
                <a:lnTo>
                  <a:pt x="161305" y="27432"/>
                </a:lnTo>
                <a:lnTo>
                  <a:pt x="131272" y="7358"/>
                </a:lnTo>
                <a:lnTo>
                  <a:pt x="94487" y="0"/>
                </a:lnTo>
                <a:close/>
              </a:path>
            </a:pathLst>
          </a:custGeom>
          <a:solidFill>
            <a:srgbClr val="C0A66C"/>
          </a:solidFill>
        </p:spPr>
        <p:txBody>
          <a:bodyPr wrap="square" lIns="0" tIns="0" rIns="0" bIns="0" rtlCol="0"/>
          <a:lstStyle/>
          <a:p>
            <a:endParaRPr kern="0">
              <a:solidFill>
                <a:sysClr val="windowText" lastClr="000000"/>
              </a:solidFill>
            </a:endParaRPr>
          </a:p>
        </p:txBody>
      </p:sp>
      <p:pic>
        <p:nvPicPr>
          <p:cNvPr id="71" name="object 83">
            <a:extLst>
              <a:ext uri="{FF2B5EF4-FFF2-40B4-BE49-F238E27FC236}">
                <a16:creationId xmlns:a16="http://schemas.microsoft.com/office/drawing/2014/main" id="{4A5C9E1A-FAE1-ACC5-3EC8-8BD3810C45AF}"/>
              </a:ext>
            </a:extLst>
          </p:cNvPr>
          <p:cNvPicPr/>
          <p:nvPr/>
        </p:nvPicPr>
        <p:blipFill>
          <a:blip r:embed="rId13" cstate="print"/>
          <a:stretch>
            <a:fillRect/>
          </a:stretch>
        </p:blipFill>
        <p:spPr>
          <a:xfrm>
            <a:off x="5151070" y="5064086"/>
            <a:ext cx="272843" cy="262390"/>
          </a:xfrm>
          <a:prstGeom prst="rect">
            <a:avLst/>
          </a:prstGeom>
        </p:spPr>
      </p:pic>
      <p:sp>
        <p:nvSpPr>
          <p:cNvPr id="72" name="object 84">
            <a:extLst>
              <a:ext uri="{FF2B5EF4-FFF2-40B4-BE49-F238E27FC236}">
                <a16:creationId xmlns:a16="http://schemas.microsoft.com/office/drawing/2014/main" id="{A3A8B603-2032-10E4-CB50-D3780AEBD65C}"/>
              </a:ext>
            </a:extLst>
          </p:cNvPr>
          <p:cNvSpPr/>
          <p:nvPr/>
        </p:nvSpPr>
        <p:spPr>
          <a:xfrm>
            <a:off x="5167884" y="5071873"/>
            <a:ext cx="189230" cy="187960"/>
          </a:xfrm>
          <a:custGeom>
            <a:avLst/>
            <a:gdLst/>
            <a:ahLst/>
            <a:cxnLst/>
            <a:rect l="l" t="t" r="r" b="b"/>
            <a:pathLst>
              <a:path w="189229" h="187960">
                <a:moveTo>
                  <a:pt x="94487" y="0"/>
                </a:moveTo>
                <a:lnTo>
                  <a:pt x="57703" y="7358"/>
                </a:lnTo>
                <a:lnTo>
                  <a:pt x="27670" y="27431"/>
                </a:lnTo>
                <a:lnTo>
                  <a:pt x="7423" y="57221"/>
                </a:lnTo>
                <a:lnTo>
                  <a:pt x="0" y="93725"/>
                </a:lnTo>
                <a:lnTo>
                  <a:pt x="7423" y="130230"/>
                </a:lnTo>
                <a:lnTo>
                  <a:pt x="27670" y="160019"/>
                </a:lnTo>
                <a:lnTo>
                  <a:pt x="57703" y="180093"/>
                </a:lnTo>
                <a:lnTo>
                  <a:pt x="94487" y="187451"/>
                </a:lnTo>
                <a:lnTo>
                  <a:pt x="131272" y="180093"/>
                </a:lnTo>
                <a:lnTo>
                  <a:pt x="161305" y="160019"/>
                </a:lnTo>
                <a:lnTo>
                  <a:pt x="181552" y="130230"/>
                </a:lnTo>
                <a:lnTo>
                  <a:pt x="188975" y="93725"/>
                </a:lnTo>
                <a:lnTo>
                  <a:pt x="181552" y="57221"/>
                </a:lnTo>
                <a:lnTo>
                  <a:pt x="161305" y="27431"/>
                </a:lnTo>
                <a:lnTo>
                  <a:pt x="131272" y="7358"/>
                </a:lnTo>
                <a:lnTo>
                  <a:pt x="94487" y="0"/>
                </a:lnTo>
                <a:close/>
              </a:path>
            </a:pathLst>
          </a:custGeom>
          <a:solidFill>
            <a:srgbClr val="C0A66C"/>
          </a:solidFill>
        </p:spPr>
        <p:txBody>
          <a:bodyPr wrap="square" lIns="0" tIns="0" rIns="0" bIns="0" rtlCol="0"/>
          <a:lstStyle/>
          <a:p>
            <a:endParaRPr kern="0">
              <a:solidFill>
                <a:sysClr val="windowText" lastClr="000000"/>
              </a:solidFill>
            </a:endParaRPr>
          </a:p>
        </p:txBody>
      </p:sp>
      <p:pic>
        <p:nvPicPr>
          <p:cNvPr id="73" name="object 85">
            <a:extLst>
              <a:ext uri="{FF2B5EF4-FFF2-40B4-BE49-F238E27FC236}">
                <a16:creationId xmlns:a16="http://schemas.microsoft.com/office/drawing/2014/main" id="{761F63B7-8AA8-3839-51BB-85C5DEDB40EB}"/>
              </a:ext>
            </a:extLst>
          </p:cNvPr>
          <p:cNvPicPr/>
          <p:nvPr/>
        </p:nvPicPr>
        <p:blipFill>
          <a:blip r:embed="rId12" cstate="print"/>
          <a:stretch>
            <a:fillRect/>
          </a:stretch>
        </p:blipFill>
        <p:spPr>
          <a:xfrm>
            <a:off x="5151070" y="5457159"/>
            <a:ext cx="272843" cy="261032"/>
          </a:xfrm>
          <a:prstGeom prst="rect">
            <a:avLst/>
          </a:prstGeom>
        </p:spPr>
      </p:pic>
      <p:sp>
        <p:nvSpPr>
          <p:cNvPr id="74" name="object 86">
            <a:extLst>
              <a:ext uri="{FF2B5EF4-FFF2-40B4-BE49-F238E27FC236}">
                <a16:creationId xmlns:a16="http://schemas.microsoft.com/office/drawing/2014/main" id="{FBC07521-CA07-14B1-8E30-2F2CDEE04167}"/>
              </a:ext>
            </a:extLst>
          </p:cNvPr>
          <p:cNvSpPr/>
          <p:nvPr/>
        </p:nvSpPr>
        <p:spPr>
          <a:xfrm>
            <a:off x="5167884" y="5465065"/>
            <a:ext cx="189230" cy="186055"/>
          </a:xfrm>
          <a:custGeom>
            <a:avLst/>
            <a:gdLst/>
            <a:ahLst/>
            <a:cxnLst/>
            <a:rect l="l" t="t" r="r" b="b"/>
            <a:pathLst>
              <a:path w="189229" h="186054">
                <a:moveTo>
                  <a:pt x="94487" y="0"/>
                </a:moveTo>
                <a:lnTo>
                  <a:pt x="57703" y="7310"/>
                </a:lnTo>
                <a:lnTo>
                  <a:pt x="27670" y="27241"/>
                </a:lnTo>
                <a:lnTo>
                  <a:pt x="7423" y="56792"/>
                </a:lnTo>
                <a:lnTo>
                  <a:pt x="0" y="92964"/>
                </a:lnTo>
                <a:lnTo>
                  <a:pt x="7423" y="129151"/>
                </a:lnTo>
                <a:lnTo>
                  <a:pt x="27670" y="158700"/>
                </a:lnTo>
                <a:lnTo>
                  <a:pt x="57703" y="178622"/>
                </a:lnTo>
                <a:lnTo>
                  <a:pt x="94487" y="185928"/>
                </a:lnTo>
                <a:lnTo>
                  <a:pt x="131272" y="178622"/>
                </a:lnTo>
                <a:lnTo>
                  <a:pt x="161305" y="158700"/>
                </a:lnTo>
                <a:lnTo>
                  <a:pt x="181552" y="129151"/>
                </a:lnTo>
                <a:lnTo>
                  <a:pt x="188975" y="92964"/>
                </a:lnTo>
                <a:lnTo>
                  <a:pt x="181552" y="56792"/>
                </a:lnTo>
                <a:lnTo>
                  <a:pt x="161305" y="27241"/>
                </a:lnTo>
                <a:lnTo>
                  <a:pt x="131272" y="7310"/>
                </a:lnTo>
                <a:lnTo>
                  <a:pt x="94487" y="0"/>
                </a:lnTo>
                <a:close/>
              </a:path>
            </a:pathLst>
          </a:custGeom>
          <a:solidFill>
            <a:srgbClr val="C0A66C"/>
          </a:solidFill>
        </p:spPr>
        <p:txBody>
          <a:bodyPr wrap="square" lIns="0" tIns="0" rIns="0" bIns="0" rtlCol="0"/>
          <a:lstStyle/>
          <a:p>
            <a:endParaRPr kern="0">
              <a:solidFill>
                <a:sysClr val="windowText" lastClr="000000"/>
              </a:solidFill>
            </a:endParaRPr>
          </a:p>
        </p:txBody>
      </p:sp>
      <p:pic>
        <p:nvPicPr>
          <p:cNvPr id="75" name="object 87">
            <a:extLst>
              <a:ext uri="{FF2B5EF4-FFF2-40B4-BE49-F238E27FC236}">
                <a16:creationId xmlns:a16="http://schemas.microsoft.com/office/drawing/2014/main" id="{9019931A-8FFD-BBF4-5A80-588C562BB580}"/>
              </a:ext>
            </a:extLst>
          </p:cNvPr>
          <p:cNvPicPr/>
          <p:nvPr/>
        </p:nvPicPr>
        <p:blipFill>
          <a:blip r:embed="rId13" cstate="print"/>
          <a:stretch>
            <a:fillRect/>
          </a:stretch>
        </p:blipFill>
        <p:spPr>
          <a:xfrm>
            <a:off x="5151070" y="5848920"/>
            <a:ext cx="272843" cy="262390"/>
          </a:xfrm>
          <a:prstGeom prst="rect">
            <a:avLst/>
          </a:prstGeom>
        </p:spPr>
      </p:pic>
      <p:sp>
        <p:nvSpPr>
          <p:cNvPr id="76" name="object 88">
            <a:extLst>
              <a:ext uri="{FF2B5EF4-FFF2-40B4-BE49-F238E27FC236}">
                <a16:creationId xmlns:a16="http://schemas.microsoft.com/office/drawing/2014/main" id="{8F507619-298E-A3E7-97E5-2D6698AAA263}"/>
              </a:ext>
            </a:extLst>
          </p:cNvPr>
          <p:cNvSpPr/>
          <p:nvPr/>
        </p:nvSpPr>
        <p:spPr>
          <a:xfrm>
            <a:off x="5167884" y="5856733"/>
            <a:ext cx="189230" cy="187960"/>
          </a:xfrm>
          <a:custGeom>
            <a:avLst/>
            <a:gdLst/>
            <a:ahLst/>
            <a:cxnLst/>
            <a:rect l="l" t="t" r="r" b="b"/>
            <a:pathLst>
              <a:path w="189229" h="187960">
                <a:moveTo>
                  <a:pt x="94487" y="0"/>
                </a:moveTo>
                <a:lnTo>
                  <a:pt x="57703" y="7365"/>
                </a:lnTo>
                <a:lnTo>
                  <a:pt x="27670" y="27451"/>
                </a:lnTo>
                <a:lnTo>
                  <a:pt x="7423" y="57242"/>
                </a:lnTo>
                <a:lnTo>
                  <a:pt x="0" y="93726"/>
                </a:lnTo>
                <a:lnTo>
                  <a:pt x="7423" y="130209"/>
                </a:lnTo>
                <a:lnTo>
                  <a:pt x="27670" y="160000"/>
                </a:lnTo>
                <a:lnTo>
                  <a:pt x="57703" y="180086"/>
                </a:lnTo>
                <a:lnTo>
                  <a:pt x="94487" y="187452"/>
                </a:lnTo>
                <a:lnTo>
                  <a:pt x="131272" y="180086"/>
                </a:lnTo>
                <a:lnTo>
                  <a:pt x="161305" y="160000"/>
                </a:lnTo>
                <a:lnTo>
                  <a:pt x="181552" y="130209"/>
                </a:lnTo>
                <a:lnTo>
                  <a:pt x="188975" y="93726"/>
                </a:lnTo>
                <a:lnTo>
                  <a:pt x="181552" y="57242"/>
                </a:lnTo>
                <a:lnTo>
                  <a:pt x="161305" y="27451"/>
                </a:lnTo>
                <a:lnTo>
                  <a:pt x="131272" y="7365"/>
                </a:lnTo>
                <a:lnTo>
                  <a:pt x="94487" y="0"/>
                </a:lnTo>
                <a:close/>
              </a:path>
            </a:pathLst>
          </a:custGeom>
          <a:solidFill>
            <a:srgbClr val="C0A66C"/>
          </a:solidFill>
        </p:spPr>
        <p:txBody>
          <a:bodyPr wrap="square" lIns="0" tIns="0" rIns="0" bIns="0" rtlCol="0"/>
          <a:lstStyle/>
          <a:p>
            <a:endParaRPr kern="0">
              <a:solidFill>
                <a:sysClr val="windowText" lastClr="000000"/>
              </a:solidFill>
            </a:endParaRPr>
          </a:p>
        </p:txBody>
      </p:sp>
      <p:sp>
        <p:nvSpPr>
          <p:cNvPr id="77" name="object 89">
            <a:extLst>
              <a:ext uri="{FF2B5EF4-FFF2-40B4-BE49-F238E27FC236}">
                <a16:creationId xmlns:a16="http://schemas.microsoft.com/office/drawing/2014/main" id="{8D2F02B6-134E-180E-D891-18ECB60E95B3}"/>
              </a:ext>
            </a:extLst>
          </p:cNvPr>
          <p:cNvSpPr/>
          <p:nvPr/>
        </p:nvSpPr>
        <p:spPr>
          <a:xfrm>
            <a:off x="5224272" y="4079748"/>
            <a:ext cx="76200" cy="1777364"/>
          </a:xfrm>
          <a:custGeom>
            <a:avLst/>
            <a:gdLst/>
            <a:ahLst/>
            <a:cxnLst/>
            <a:rect l="l" t="t" r="r" b="b"/>
            <a:pathLst>
              <a:path w="76200" h="1777364">
                <a:moveTo>
                  <a:pt x="76187" y="1700644"/>
                </a:moveTo>
                <a:lnTo>
                  <a:pt x="44450" y="1700644"/>
                </a:lnTo>
                <a:lnTo>
                  <a:pt x="44450" y="1571244"/>
                </a:lnTo>
                <a:lnTo>
                  <a:pt x="31750" y="1571244"/>
                </a:lnTo>
                <a:lnTo>
                  <a:pt x="31750" y="1700644"/>
                </a:lnTo>
                <a:lnTo>
                  <a:pt x="0" y="1700644"/>
                </a:lnTo>
                <a:lnTo>
                  <a:pt x="38100" y="1776844"/>
                </a:lnTo>
                <a:lnTo>
                  <a:pt x="69837" y="1713344"/>
                </a:lnTo>
                <a:lnTo>
                  <a:pt x="76187" y="1700644"/>
                </a:lnTo>
                <a:close/>
              </a:path>
              <a:path w="76200" h="1777364">
                <a:moveTo>
                  <a:pt x="76200" y="1308989"/>
                </a:moveTo>
                <a:lnTo>
                  <a:pt x="44450" y="1308989"/>
                </a:lnTo>
                <a:lnTo>
                  <a:pt x="44450" y="1179576"/>
                </a:lnTo>
                <a:lnTo>
                  <a:pt x="31750" y="1179576"/>
                </a:lnTo>
                <a:lnTo>
                  <a:pt x="31750" y="1308989"/>
                </a:lnTo>
                <a:lnTo>
                  <a:pt x="0" y="1308989"/>
                </a:lnTo>
                <a:lnTo>
                  <a:pt x="38100" y="1385189"/>
                </a:lnTo>
                <a:lnTo>
                  <a:pt x="69850" y="1321689"/>
                </a:lnTo>
                <a:lnTo>
                  <a:pt x="76200" y="1308989"/>
                </a:lnTo>
                <a:close/>
              </a:path>
              <a:path w="76200" h="1777364">
                <a:moveTo>
                  <a:pt x="76200" y="915797"/>
                </a:moveTo>
                <a:lnTo>
                  <a:pt x="44450" y="915797"/>
                </a:lnTo>
                <a:lnTo>
                  <a:pt x="44450" y="786384"/>
                </a:lnTo>
                <a:lnTo>
                  <a:pt x="31750" y="786384"/>
                </a:lnTo>
                <a:lnTo>
                  <a:pt x="31750" y="915797"/>
                </a:lnTo>
                <a:lnTo>
                  <a:pt x="0" y="915797"/>
                </a:lnTo>
                <a:lnTo>
                  <a:pt x="38100" y="991997"/>
                </a:lnTo>
                <a:lnTo>
                  <a:pt x="69850" y="928497"/>
                </a:lnTo>
                <a:lnTo>
                  <a:pt x="76200" y="915797"/>
                </a:lnTo>
                <a:close/>
              </a:path>
              <a:path w="76200" h="1777364">
                <a:moveTo>
                  <a:pt x="76200" y="522605"/>
                </a:moveTo>
                <a:lnTo>
                  <a:pt x="44450" y="522605"/>
                </a:lnTo>
                <a:lnTo>
                  <a:pt x="44450" y="393192"/>
                </a:lnTo>
                <a:lnTo>
                  <a:pt x="31750" y="393192"/>
                </a:lnTo>
                <a:lnTo>
                  <a:pt x="31750" y="522605"/>
                </a:lnTo>
                <a:lnTo>
                  <a:pt x="0" y="522605"/>
                </a:lnTo>
                <a:lnTo>
                  <a:pt x="38100" y="598805"/>
                </a:lnTo>
                <a:lnTo>
                  <a:pt x="69850" y="535305"/>
                </a:lnTo>
                <a:lnTo>
                  <a:pt x="76200" y="522605"/>
                </a:lnTo>
                <a:close/>
              </a:path>
              <a:path w="76200" h="1777364">
                <a:moveTo>
                  <a:pt x="76200" y="129413"/>
                </a:moveTo>
                <a:lnTo>
                  <a:pt x="44450" y="129413"/>
                </a:lnTo>
                <a:lnTo>
                  <a:pt x="44450" y="0"/>
                </a:lnTo>
                <a:lnTo>
                  <a:pt x="31750" y="0"/>
                </a:lnTo>
                <a:lnTo>
                  <a:pt x="31750" y="129413"/>
                </a:lnTo>
                <a:lnTo>
                  <a:pt x="0" y="129413"/>
                </a:lnTo>
                <a:lnTo>
                  <a:pt x="38100" y="205613"/>
                </a:lnTo>
                <a:lnTo>
                  <a:pt x="69850" y="142113"/>
                </a:lnTo>
                <a:lnTo>
                  <a:pt x="76200" y="129413"/>
                </a:lnTo>
                <a:close/>
              </a:path>
            </a:pathLst>
          </a:custGeom>
          <a:solidFill>
            <a:srgbClr val="C0A66C"/>
          </a:solidFill>
        </p:spPr>
        <p:txBody>
          <a:bodyPr wrap="square" lIns="0" tIns="0" rIns="0" bIns="0" rtlCol="0"/>
          <a:lstStyle/>
          <a:p>
            <a:endParaRPr kern="0">
              <a:solidFill>
                <a:sysClr val="windowText" lastClr="000000"/>
              </a:solidFill>
            </a:endParaRPr>
          </a:p>
        </p:txBody>
      </p:sp>
      <p:pic>
        <p:nvPicPr>
          <p:cNvPr id="78" name="object 90">
            <a:extLst>
              <a:ext uri="{FF2B5EF4-FFF2-40B4-BE49-F238E27FC236}">
                <a16:creationId xmlns:a16="http://schemas.microsoft.com/office/drawing/2014/main" id="{17899793-13D2-8B02-820E-4A88E9F28CC3}"/>
              </a:ext>
            </a:extLst>
          </p:cNvPr>
          <p:cNvPicPr/>
          <p:nvPr/>
        </p:nvPicPr>
        <p:blipFill>
          <a:blip r:embed="rId14" cstate="print"/>
          <a:stretch>
            <a:fillRect/>
          </a:stretch>
        </p:blipFill>
        <p:spPr>
          <a:xfrm>
            <a:off x="5153722" y="2300770"/>
            <a:ext cx="267641" cy="266307"/>
          </a:xfrm>
          <a:prstGeom prst="rect">
            <a:avLst/>
          </a:prstGeom>
        </p:spPr>
      </p:pic>
      <p:pic>
        <p:nvPicPr>
          <p:cNvPr id="79" name="object 91">
            <a:extLst>
              <a:ext uri="{FF2B5EF4-FFF2-40B4-BE49-F238E27FC236}">
                <a16:creationId xmlns:a16="http://schemas.microsoft.com/office/drawing/2014/main" id="{F9BFA03A-841C-82E4-E2EC-D7923ECE092E}"/>
              </a:ext>
            </a:extLst>
          </p:cNvPr>
          <p:cNvPicPr/>
          <p:nvPr/>
        </p:nvPicPr>
        <p:blipFill>
          <a:blip r:embed="rId15" cstate="print"/>
          <a:stretch>
            <a:fillRect/>
          </a:stretch>
        </p:blipFill>
        <p:spPr>
          <a:xfrm>
            <a:off x="5167884" y="2314957"/>
            <a:ext cx="188975" cy="187452"/>
          </a:xfrm>
          <a:prstGeom prst="rect">
            <a:avLst/>
          </a:prstGeom>
        </p:spPr>
      </p:pic>
      <p:sp>
        <p:nvSpPr>
          <p:cNvPr id="80" name="object 92">
            <a:extLst>
              <a:ext uri="{FF2B5EF4-FFF2-40B4-BE49-F238E27FC236}">
                <a16:creationId xmlns:a16="http://schemas.microsoft.com/office/drawing/2014/main" id="{BAB0B38D-4FCF-7C87-09E1-01AD0D7B4206}"/>
              </a:ext>
            </a:extLst>
          </p:cNvPr>
          <p:cNvSpPr/>
          <p:nvPr/>
        </p:nvSpPr>
        <p:spPr>
          <a:xfrm>
            <a:off x="5167884" y="2314957"/>
            <a:ext cx="189230" cy="187960"/>
          </a:xfrm>
          <a:custGeom>
            <a:avLst/>
            <a:gdLst/>
            <a:ahLst/>
            <a:cxnLst/>
            <a:rect l="l" t="t" r="r" b="b"/>
            <a:pathLst>
              <a:path w="189229" h="187960">
                <a:moveTo>
                  <a:pt x="0" y="93726"/>
                </a:moveTo>
                <a:lnTo>
                  <a:pt x="7423" y="57221"/>
                </a:lnTo>
                <a:lnTo>
                  <a:pt x="27670" y="27431"/>
                </a:lnTo>
                <a:lnTo>
                  <a:pt x="57703" y="7358"/>
                </a:lnTo>
                <a:lnTo>
                  <a:pt x="94487" y="0"/>
                </a:lnTo>
                <a:lnTo>
                  <a:pt x="131272" y="7358"/>
                </a:lnTo>
                <a:lnTo>
                  <a:pt x="161305" y="27432"/>
                </a:lnTo>
                <a:lnTo>
                  <a:pt x="181552" y="57221"/>
                </a:lnTo>
                <a:lnTo>
                  <a:pt x="188975" y="93726"/>
                </a:lnTo>
                <a:lnTo>
                  <a:pt x="181552" y="130230"/>
                </a:lnTo>
                <a:lnTo>
                  <a:pt x="161305" y="160020"/>
                </a:lnTo>
                <a:lnTo>
                  <a:pt x="131272" y="180093"/>
                </a:lnTo>
                <a:lnTo>
                  <a:pt x="94487" y="187452"/>
                </a:lnTo>
                <a:lnTo>
                  <a:pt x="57703" y="180093"/>
                </a:lnTo>
                <a:lnTo>
                  <a:pt x="27670" y="160020"/>
                </a:lnTo>
                <a:lnTo>
                  <a:pt x="7423" y="130230"/>
                </a:lnTo>
                <a:lnTo>
                  <a:pt x="0" y="93726"/>
                </a:lnTo>
                <a:close/>
              </a:path>
            </a:pathLst>
          </a:custGeom>
          <a:ln w="12699">
            <a:solidFill>
              <a:srgbClr val="BEBEBE"/>
            </a:solidFill>
          </a:ln>
        </p:spPr>
        <p:txBody>
          <a:bodyPr wrap="square" lIns="0" tIns="0" rIns="0" bIns="0" rtlCol="0"/>
          <a:lstStyle/>
          <a:p>
            <a:endParaRPr kern="0">
              <a:solidFill>
                <a:sysClr val="windowText" lastClr="000000"/>
              </a:solidFill>
            </a:endParaRPr>
          </a:p>
        </p:txBody>
      </p:sp>
      <p:pic>
        <p:nvPicPr>
          <p:cNvPr id="81" name="object 93">
            <a:extLst>
              <a:ext uri="{FF2B5EF4-FFF2-40B4-BE49-F238E27FC236}">
                <a16:creationId xmlns:a16="http://schemas.microsoft.com/office/drawing/2014/main" id="{F5E8C37A-2293-3AA1-57D1-2226FEC533C2}"/>
              </a:ext>
            </a:extLst>
          </p:cNvPr>
          <p:cNvPicPr/>
          <p:nvPr/>
        </p:nvPicPr>
        <p:blipFill>
          <a:blip r:embed="rId14" cstate="print"/>
          <a:stretch>
            <a:fillRect/>
          </a:stretch>
        </p:blipFill>
        <p:spPr>
          <a:xfrm>
            <a:off x="5153722" y="2693962"/>
            <a:ext cx="267641" cy="266307"/>
          </a:xfrm>
          <a:prstGeom prst="rect">
            <a:avLst/>
          </a:prstGeom>
        </p:spPr>
      </p:pic>
      <p:pic>
        <p:nvPicPr>
          <p:cNvPr id="82" name="object 94">
            <a:extLst>
              <a:ext uri="{FF2B5EF4-FFF2-40B4-BE49-F238E27FC236}">
                <a16:creationId xmlns:a16="http://schemas.microsoft.com/office/drawing/2014/main" id="{2F742FCE-EC72-A3A5-5AAD-45CD753F8911}"/>
              </a:ext>
            </a:extLst>
          </p:cNvPr>
          <p:cNvPicPr/>
          <p:nvPr/>
        </p:nvPicPr>
        <p:blipFill>
          <a:blip r:embed="rId16" cstate="print"/>
          <a:stretch>
            <a:fillRect/>
          </a:stretch>
        </p:blipFill>
        <p:spPr>
          <a:xfrm>
            <a:off x="5167884" y="2708149"/>
            <a:ext cx="188975" cy="187451"/>
          </a:xfrm>
          <a:prstGeom prst="rect">
            <a:avLst/>
          </a:prstGeom>
        </p:spPr>
      </p:pic>
      <p:sp>
        <p:nvSpPr>
          <p:cNvPr id="83" name="object 95">
            <a:extLst>
              <a:ext uri="{FF2B5EF4-FFF2-40B4-BE49-F238E27FC236}">
                <a16:creationId xmlns:a16="http://schemas.microsoft.com/office/drawing/2014/main" id="{30007DC5-9726-5251-D62B-D640781486E3}"/>
              </a:ext>
            </a:extLst>
          </p:cNvPr>
          <p:cNvSpPr/>
          <p:nvPr/>
        </p:nvSpPr>
        <p:spPr>
          <a:xfrm>
            <a:off x="5167884" y="2708149"/>
            <a:ext cx="189230" cy="187960"/>
          </a:xfrm>
          <a:custGeom>
            <a:avLst/>
            <a:gdLst/>
            <a:ahLst/>
            <a:cxnLst/>
            <a:rect l="l" t="t" r="r" b="b"/>
            <a:pathLst>
              <a:path w="189229" h="187960">
                <a:moveTo>
                  <a:pt x="0" y="93725"/>
                </a:moveTo>
                <a:lnTo>
                  <a:pt x="7423" y="57221"/>
                </a:lnTo>
                <a:lnTo>
                  <a:pt x="27670" y="27432"/>
                </a:lnTo>
                <a:lnTo>
                  <a:pt x="57703" y="7358"/>
                </a:lnTo>
                <a:lnTo>
                  <a:pt x="94487" y="0"/>
                </a:lnTo>
                <a:lnTo>
                  <a:pt x="131272" y="7358"/>
                </a:lnTo>
                <a:lnTo>
                  <a:pt x="161305" y="27432"/>
                </a:lnTo>
                <a:lnTo>
                  <a:pt x="181552" y="57221"/>
                </a:lnTo>
                <a:lnTo>
                  <a:pt x="188975" y="93725"/>
                </a:lnTo>
                <a:lnTo>
                  <a:pt x="181552" y="130230"/>
                </a:lnTo>
                <a:lnTo>
                  <a:pt x="161305" y="160019"/>
                </a:lnTo>
                <a:lnTo>
                  <a:pt x="131272" y="180093"/>
                </a:lnTo>
                <a:lnTo>
                  <a:pt x="94487" y="187451"/>
                </a:lnTo>
                <a:lnTo>
                  <a:pt x="57703" y="180093"/>
                </a:lnTo>
                <a:lnTo>
                  <a:pt x="27670" y="160019"/>
                </a:lnTo>
                <a:lnTo>
                  <a:pt x="7423" y="130230"/>
                </a:lnTo>
                <a:lnTo>
                  <a:pt x="0" y="93725"/>
                </a:lnTo>
                <a:close/>
              </a:path>
            </a:pathLst>
          </a:custGeom>
          <a:ln w="12700">
            <a:solidFill>
              <a:srgbClr val="BEBEBE"/>
            </a:solidFill>
          </a:ln>
        </p:spPr>
        <p:txBody>
          <a:bodyPr wrap="square" lIns="0" tIns="0" rIns="0" bIns="0" rtlCol="0"/>
          <a:lstStyle/>
          <a:p>
            <a:endParaRPr kern="0">
              <a:solidFill>
                <a:sysClr val="windowText" lastClr="000000"/>
              </a:solidFill>
            </a:endParaRPr>
          </a:p>
        </p:txBody>
      </p:sp>
      <p:pic>
        <p:nvPicPr>
          <p:cNvPr id="84" name="object 96">
            <a:extLst>
              <a:ext uri="{FF2B5EF4-FFF2-40B4-BE49-F238E27FC236}">
                <a16:creationId xmlns:a16="http://schemas.microsoft.com/office/drawing/2014/main" id="{12C1B38A-BCF6-C1C5-3B24-98222C6BF407}"/>
              </a:ext>
            </a:extLst>
          </p:cNvPr>
          <p:cNvPicPr/>
          <p:nvPr/>
        </p:nvPicPr>
        <p:blipFill>
          <a:blip r:embed="rId14" cstate="print"/>
          <a:stretch>
            <a:fillRect/>
          </a:stretch>
        </p:blipFill>
        <p:spPr>
          <a:xfrm>
            <a:off x="5153722" y="3087154"/>
            <a:ext cx="267641" cy="266307"/>
          </a:xfrm>
          <a:prstGeom prst="rect">
            <a:avLst/>
          </a:prstGeom>
        </p:spPr>
      </p:pic>
      <p:pic>
        <p:nvPicPr>
          <p:cNvPr id="85" name="object 97">
            <a:extLst>
              <a:ext uri="{FF2B5EF4-FFF2-40B4-BE49-F238E27FC236}">
                <a16:creationId xmlns:a16="http://schemas.microsoft.com/office/drawing/2014/main" id="{1922469A-8998-0FD3-F46C-258BF9D02295}"/>
              </a:ext>
            </a:extLst>
          </p:cNvPr>
          <p:cNvPicPr/>
          <p:nvPr/>
        </p:nvPicPr>
        <p:blipFill>
          <a:blip r:embed="rId17" cstate="print"/>
          <a:stretch>
            <a:fillRect/>
          </a:stretch>
        </p:blipFill>
        <p:spPr>
          <a:xfrm>
            <a:off x="5167884" y="3101341"/>
            <a:ext cx="188975" cy="187451"/>
          </a:xfrm>
          <a:prstGeom prst="rect">
            <a:avLst/>
          </a:prstGeom>
        </p:spPr>
      </p:pic>
      <p:sp>
        <p:nvSpPr>
          <p:cNvPr id="86" name="object 98">
            <a:extLst>
              <a:ext uri="{FF2B5EF4-FFF2-40B4-BE49-F238E27FC236}">
                <a16:creationId xmlns:a16="http://schemas.microsoft.com/office/drawing/2014/main" id="{4E018127-DA39-1D37-9119-9B83DBEE7ACF}"/>
              </a:ext>
            </a:extLst>
          </p:cNvPr>
          <p:cNvSpPr/>
          <p:nvPr/>
        </p:nvSpPr>
        <p:spPr>
          <a:xfrm>
            <a:off x="5167884" y="3101341"/>
            <a:ext cx="189230" cy="187960"/>
          </a:xfrm>
          <a:custGeom>
            <a:avLst/>
            <a:gdLst/>
            <a:ahLst/>
            <a:cxnLst/>
            <a:rect l="l" t="t" r="r" b="b"/>
            <a:pathLst>
              <a:path w="189229" h="187960">
                <a:moveTo>
                  <a:pt x="0" y="93725"/>
                </a:moveTo>
                <a:lnTo>
                  <a:pt x="7423" y="57221"/>
                </a:lnTo>
                <a:lnTo>
                  <a:pt x="27670" y="27432"/>
                </a:lnTo>
                <a:lnTo>
                  <a:pt x="57703" y="7358"/>
                </a:lnTo>
                <a:lnTo>
                  <a:pt x="94487" y="0"/>
                </a:lnTo>
                <a:lnTo>
                  <a:pt x="131272" y="7358"/>
                </a:lnTo>
                <a:lnTo>
                  <a:pt x="161305" y="27432"/>
                </a:lnTo>
                <a:lnTo>
                  <a:pt x="181552" y="57221"/>
                </a:lnTo>
                <a:lnTo>
                  <a:pt x="188975" y="93725"/>
                </a:lnTo>
                <a:lnTo>
                  <a:pt x="181552" y="130230"/>
                </a:lnTo>
                <a:lnTo>
                  <a:pt x="161305" y="160020"/>
                </a:lnTo>
                <a:lnTo>
                  <a:pt x="131272" y="180093"/>
                </a:lnTo>
                <a:lnTo>
                  <a:pt x="94487" y="187451"/>
                </a:lnTo>
                <a:lnTo>
                  <a:pt x="57703" y="180093"/>
                </a:lnTo>
                <a:lnTo>
                  <a:pt x="27670" y="160020"/>
                </a:lnTo>
                <a:lnTo>
                  <a:pt x="7423" y="130230"/>
                </a:lnTo>
                <a:lnTo>
                  <a:pt x="0" y="93725"/>
                </a:lnTo>
                <a:close/>
              </a:path>
            </a:pathLst>
          </a:custGeom>
          <a:ln w="12700">
            <a:solidFill>
              <a:srgbClr val="BEBEBE"/>
            </a:solidFill>
          </a:ln>
        </p:spPr>
        <p:txBody>
          <a:bodyPr wrap="square" lIns="0" tIns="0" rIns="0" bIns="0" rtlCol="0"/>
          <a:lstStyle/>
          <a:p>
            <a:endParaRPr kern="0">
              <a:solidFill>
                <a:sysClr val="windowText" lastClr="000000"/>
              </a:solidFill>
            </a:endParaRPr>
          </a:p>
        </p:txBody>
      </p:sp>
      <p:pic>
        <p:nvPicPr>
          <p:cNvPr id="87" name="object 99">
            <a:extLst>
              <a:ext uri="{FF2B5EF4-FFF2-40B4-BE49-F238E27FC236}">
                <a16:creationId xmlns:a16="http://schemas.microsoft.com/office/drawing/2014/main" id="{A8CDE9D0-33A9-B37A-A383-BF3ADB0FE317}"/>
              </a:ext>
            </a:extLst>
          </p:cNvPr>
          <p:cNvPicPr/>
          <p:nvPr/>
        </p:nvPicPr>
        <p:blipFill>
          <a:blip r:embed="rId18" cstate="print"/>
          <a:stretch>
            <a:fillRect/>
          </a:stretch>
        </p:blipFill>
        <p:spPr>
          <a:xfrm>
            <a:off x="5153722" y="3480772"/>
            <a:ext cx="267641" cy="272888"/>
          </a:xfrm>
          <a:prstGeom prst="rect">
            <a:avLst/>
          </a:prstGeom>
        </p:spPr>
      </p:pic>
      <p:pic>
        <p:nvPicPr>
          <p:cNvPr id="88" name="object 100">
            <a:extLst>
              <a:ext uri="{FF2B5EF4-FFF2-40B4-BE49-F238E27FC236}">
                <a16:creationId xmlns:a16="http://schemas.microsoft.com/office/drawing/2014/main" id="{1ED79BEC-DBFA-EC22-98AB-E9F1A957B4AD}"/>
              </a:ext>
            </a:extLst>
          </p:cNvPr>
          <p:cNvPicPr/>
          <p:nvPr/>
        </p:nvPicPr>
        <p:blipFill>
          <a:blip r:embed="rId19" cstate="print"/>
          <a:stretch>
            <a:fillRect/>
          </a:stretch>
        </p:blipFill>
        <p:spPr>
          <a:xfrm>
            <a:off x="5167884" y="3494533"/>
            <a:ext cx="188975" cy="185927"/>
          </a:xfrm>
          <a:prstGeom prst="rect">
            <a:avLst/>
          </a:prstGeom>
        </p:spPr>
      </p:pic>
      <p:sp>
        <p:nvSpPr>
          <p:cNvPr id="89" name="object 101">
            <a:extLst>
              <a:ext uri="{FF2B5EF4-FFF2-40B4-BE49-F238E27FC236}">
                <a16:creationId xmlns:a16="http://schemas.microsoft.com/office/drawing/2014/main" id="{156588A1-439A-0B09-776D-EAD3C204DAE7}"/>
              </a:ext>
            </a:extLst>
          </p:cNvPr>
          <p:cNvSpPr/>
          <p:nvPr/>
        </p:nvSpPr>
        <p:spPr>
          <a:xfrm>
            <a:off x="5167884" y="2502409"/>
            <a:ext cx="189230" cy="1383665"/>
          </a:xfrm>
          <a:custGeom>
            <a:avLst/>
            <a:gdLst/>
            <a:ahLst/>
            <a:cxnLst/>
            <a:rect l="l" t="t" r="r" b="b"/>
            <a:pathLst>
              <a:path w="189229" h="1383664">
                <a:moveTo>
                  <a:pt x="0" y="1085088"/>
                </a:moveTo>
                <a:lnTo>
                  <a:pt x="7423" y="1048916"/>
                </a:lnTo>
                <a:lnTo>
                  <a:pt x="27670" y="1019365"/>
                </a:lnTo>
                <a:lnTo>
                  <a:pt x="57703" y="999434"/>
                </a:lnTo>
                <a:lnTo>
                  <a:pt x="94487" y="992124"/>
                </a:lnTo>
                <a:lnTo>
                  <a:pt x="131272" y="999434"/>
                </a:lnTo>
                <a:lnTo>
                  <a:pt x="161305" y="1019365"/>
                </a:lnTo>
                <a:lnTo>
                  <a:pt x="181552" y="1048916"/>
                </a:lnTo>
                <a:lnTo>
                  <a:pt x="188975" y="1085088"/>
                </a:lnTo>
                <a:lnTo>
                  <a:pt x="181552" y="1121259"/>
                </a:lnTo>
                <a:lnTo>
                  <a:pt x="161305" y="1150810"/>
                </a:lnTo>
                <a:lnTo>
                  <a:pt x="131272" y="1170741"/>
                </a:lnTo>
                <a:lnTo>
                  <a:pt x="94487" y="1178052"/>
                </a:lnTo>
                <a:lnTo>
                  <a:pt x="57703" y="1170741"/>
                </a:lnTo>
                <a:lnTo>
                  <a:pt x="27670" y="1150810"/>
                </a:lnTo>
                <a:lnTo>
                  <a:pt x="7423" y="1121259"/>
                </a:lnTo>
                <a:lnTo>
                  <a:pt x="0" y="1085088"/>
                </a:lnTo>
                <a:close/>
              </a:path>
              <a:path w="189229" h="1383664">
                <a:moveTo>
                  <a:pt x="94487" y="0"/>
                </a:moveTo>
                <a:lnTo>
                  <a:pt x="94487" y="205612"/>
                </a:lnTo>
              </a:path>
              <a:path w="189229" h="1383664">
                <a:moveTo>
                  <a:pt x="94487" y="393191"/>
                </a:moveTo>
                <a:lnTo>
                  <a:pt x="94487" y="598804"/>
                </a:lnTo>
              </a:path>
              <a:path w="189229" h="1383664">
                <a:moveTo>
                  <a:pt x="94487" y="786383"/>
                </a:moveTo>
                <a:lnTo>
                  <a:pt x="94487" y="991996"/>
                </a:lnTo>
              </a:path>
              <a:path w="189229" h="1383664">
                <a:moveTo>
                  <a:pt x="94487" y="1178052"/>
                </a:moveTo>
                <a:lnTo>
                  <a:pt x="94487" y="1383664"/>
                </a:lnTo>
              </a:path>
            </a:pathLst>
          </a:custGeom>
          <a:ln w="12700">
            <a:solidFill>
              <a:srgbClr val="BEBEBE"/>
            </a:solidFill>
          </a:ln>
        </p:spPr>
        <p:txBody>
          <a:bodyPr wrap="square" lIns="0" tIns="0" rIns="0" bIns="0" rtlCol="0"/>
          <a:lstStyle/>
          <a:p>
            <a:endParaRPr kern="0">
              <a:solidFill>
                <a:sysClr val="windowText" lastClr="000000"/>
              </a:solidFill>
            </a:endParaRPr>
          </a:p>
        </p:txBody>
      </p:sp>
      <p:sp>
        <p:nvSpPr>
          <p:cNvPr id="90" name="object 102">
            <a:extLst>
              <a:ext uri="{FF2B5EF4-FFF2-40B4-BE49-F238E27FC236}">
                <a16:creationId xmlns:a16="http://schemas.microsoft.com/office/drawing/2014/main" id="{EDB841C8-995E-A7C4-7FC9-8006D370EF93}"/>
              </a:ext>
            </a:extLst>
          </p:cNvPr>
          <p:cNvSpPr/>
          <p:nvPr/>
        </p:nvSpPr>
        <p:spPr>
          <a:xfrm>
            <a:off x="5225796" y="4102608"/>
            <a:ext cx="76200" cy="598805"/>
          </a:xfrm>
          <a:custGeom>
            <a:avLst/>
            <a:gdLst/>
            <a:ahLst/>
            <a:cxnLst/>
            <a:rect l="l" t="t" r="r" b="b"/>
            <a:pathLst>
              <a:path w="76200" h="598804">
                <a:moveTo>
                  <a:pt x="76200" y="522605"/>
                </a:moveTo>
                <a:lnTo>
                  <a:pt x="44450" y="522605"/>
                </a:lnTo>
                <a:lnTo>
                  <a:pt x="44450" y="393192"/>
                </a:lnTo>
                <a:lnTo>
                  <a:pt x="31750" y="393192"/>
                </a:lnTo>
                <a:lnTo>
                  <a:pt x="31750" y="522605"/>
                </a:lnTo>
                <a:lnTo>
                  <a:pt x="0" y="522605"/>
                </a:lnTo>
                <a:lnTo>
                  <a:pt x="38100" y="598805"/>
                </a:lnTo>
                <a:lnTo>
                  <a:pt x="69850" y="535305"/>
                </a:lnTo>
                <a:lnTo>
                  <a:pt x="76200" y="522605"/>
                </a:lnTo>
                <a:close/>
              </a:path>
              <a:path w="76200" h="598804">
                <a:moveTo>
                  <a:pt x="76200" y="129413"/>
                </a:moveTo>
                <a:lnTo>
                  <a:pt x="44450" y="129413"/>
                </a:lnTo>
                <a:lnTo>
                  <a:pt x="44450" y="0"/>
                </a:lnTo>
                <a:lnTo>
                  <a:pt x="31750" y="0"/>
                </a:lnTo>
                <a:lnTo>
                  <a:pt x="31750" y="129413"/>
                </a:lnTo>
                <a:lnTo>
                  <a:pt x="0" y="129413"/>
                </a:lnTo>
                <a:lnTo>
                  <a:pt x="38100" y="205613"/>
                </a:lnTo>
                <a:lnTo>
                  <a:pt x="69850" y="142113"/>
                </a:lnTo>
                <a:lnTo>
                  <a:pt x="76200" y="129413"/>
                </a:lnTo>
                <a:close/>
              </a:path>
            </a:pathLst>
          </a:custGeom>
          <a:solidFill>
            <a:srgbClr val="C0A66C"/>
          </a:solidFill>
        </p:spPr>
        <p:txBody>
          <a:bodyPr wrap="square" lIns="0" tIns="0" rIns="0" bIns="0" rtlCol="0"/>
          <a:lstStyle/>
          <a:p>
            <a:endParaRPr kern="0">
              <a:solidFill>
                <a:sysClr val="windowText" lastClr="000000"/>
              </a:solidFill>
            </a:endParaRPr>
          </a:p>
        </p:txBody>
      </p:sp>
      <p:sp>
        <p:nvSpPr>
          <p:cNvPr id="91" name="object 103">
            <a:extLst>
              <a:ext uri="{FF2B5EF4-FFF2-40B4-BE49-F238E27FC236}">
                <a16:creationId xmlns:a16="http://schemas.microsoft.com/office/drawing/2014/main" id="{7E6FA894-CF68-5725-F3C7-8442E44C935B}"/>
              </a:ext>
            </a:extLst>
          </p:cNvPr>
          <p:cNvSpPr txBox="1"/>
          <p:nvPr/>
        </p:nvSpPr>
        <p:spPr>
          <a:xfrm>
            <a:off x="2261109" y="1477826"/>
            <a:ext cx="2221865" cy="4526047"/>
          </a:xfrm>
          <a:prstGeom prst="rect">
            <a:avLst/>
          </a:prstGeom>
        </p:spPr>
        <p:txBody>
          <a:bodyPr vert="horz" wrap="square" lIns="0" tIns="43815" rIns="0" bIns="0" rtlCol="0">
            <a:spAutoFit/>
          </a:bodyPr>
          <a:lstStyle/>
          <a:p>
            <a:pPr marL="12700">
              <a:spcBef>
                <a:spcPts val="345"/>
              </a:spcBef>
            </a:pPr>
            <a:r>
              <a:rPr lang="ar-SA" sz="1600" b="1" kern="0" dirty="0">
                <a:solidFill>
                  <a:srgbClr val="FFFFFF"/>
                </a:solidFill>
                <a:latin typeface="Century Gothic"/>
                <a:cs typeface="Century Gothic"/>
              </a:rPr>
              <a:t>المرحلة 1</a:t>
            </a:r>
          </a:p>
          <a:p>
            <a:pPr marL="12700">
              <a:spcBef>
                <a:spcPts val="345"/>
              </a:spcBef>
            </a:pPr>
            <a:r>
              <a:rPr lang="ar-SA" sz="1600" b="1" kern="0" dirty="0">
                <a:solidFill>
                  <a:srgbClr val="FFFFFF"/>
                </a:solidFill>
                <a:latin typeface="Century Gothic"/>
                <a:cs typeface="Century Gothic"/>
              </a:rPr>
              <a:t>التأسيس</a:t>
            </a:r>
          </a:p>
          <a:p>
            <a:pPr marL="250825" marR="5080">
              <a:lnSpc>
                <a:spcPct val="150000"/>
              </a:lnSpc>
              <a:spcBef>
                <a:spcPts val="560"/>
              </a:spcBef>
            </a:pPr>
            <a:r>
              <a:rPr lang="ar-SA" sz="1600" kern="0" dirty="0">
                <a:solidFill>
                  <a:srgbClr val="5F5F5F"/>
                </a:solidFill>
                <a:latin typeface="Tahoma"/>
                <a:cs typeface="Tahoma"/>
              </a:rPr>
              <a:t>تحديد الاحتياجات</a:t>
            </a:r>
            <a:r>
              <a:rPr lang="ar-SA" sz="1600" kern="0" spc="-10" dirty="0">
                <a:solidFill>
                  <a:srgbClr val="5F5F5F"/>
                </a:solidFill>
                <a:latin typeface="Tahoma"/>
                <a:cs typeface="Tahoma"/>
              </a:rPr>
              <a:t> الاختيار</a:t>
            </a:r>
          </a:p>
          <a:p>
            <a:pPr marL="250825" marR="5080">
              <a:lnSpc>
                <a:spcPct val="150000"/>
              </a:lnSpc>
              <a:spcBef>
                <a:spcPts val="560"/>
              </a:spcBef>
            </a:pPr>
            <a:r>
              <a:rPr lang="ar-SA" sz="1600" kern="0" spc="-10" dirty="0">
                <a:solidFill>
                  <a:srgbClr val="5F5F5F"/>
                </a:solidFill>
                <a:latin typeface="Tahoma"/>
                <a:cs typeface="Tahoma"/>
              </a:rPr>
              <a:t>التوثيق</a:t>
            </a:r>
          </a:p>
          <a:p>
            <a:pPr marL="250825" marR="5080">
              <a:lnSpc>
                <a:spcPct val="150000"/>
              </a:lnSpc>
              <a:spcBef>
                <a:spcPts val="560"/>
              </a:spcBef>
            </a:pPr>
            <a:r>
              <a:rPr lang="ar-SA" sz="1600" kern="0" spc="-10" dirty="0">
                <a:solidFill>
                  <a:srgbClr val="5F5F5F"/>
                </a:solidFill>
                <a:latin typeface="Tahoma"/>
                <a:cs typeface="Tahoma"/>
              </a:rPr>
              <a:t>التصور</a:t>
            </a:r>
          </a:p>
          <a:p>
            <a:pPr marL="250825" marR="5080">
              <a:lnSpc>
                <a:spcPct val="150000"/>
              </a:lnSpc>
              <a:spcBef>
                <a:spcPts val="560"/>
              </a:spcBef>
            </a:pPr>
            <a:r>
              <a:rPr lang="ar-SA" sz="1600" kern="0" spc="-10" dirty="0">
                <a:solidFill>
                  <a:srgbClr val="5F5F5F"/>
                </a:solidFill>
                <a:latin typeface="Tahoma"/>
                <a:cs typeface="Tahoma"/>
              </a:rPr>
              <a:t>التفعيل</a:t>
            </a:r>
            <a:endParaRPr sz="1600" kern="0" dirty="0">
              <a:solidFill>
                <a:sysClr val="windowText" lastClr="000000"/>
              </a:solidFill>
              <a:latin typeface="Tahoma"/>
              <a:cs typeface="Tahoma"/>
            </a:endParaRPr>
          </a:p>
          <a:p>
            <a:pPr marL="250825" marR="370205">
              <a:lnSpc>
                <a:spcPct val="150000"/>
              </a:lnSpc>
            </a:pPr>
            <a:r>
              <a:rPr lang="ar-SA" sz="1600" kern="0" spc="-10" dirty="0">
                <a:solidFill>
                  <a:srgbClr val="5F5F5F"/>
                </a:solidFill>
                <a:latin typeface="Tahoma"/>
                <a:cs typeface="Tahoma"/>
              </a:rPr>
              <a:t>التحليل</a:t>
            </a:r>
            <a:r>
              <a:rPr sz="1600" kern="0" spc="-10" dirty="0">
                <a:solidFill>
                  <a:srgbClr val="5F5F5F"/>
                </a:solidFill>
                <a:latin typeface="Tahoma"/>
                <a:cs typeface="Tahoma"/>
              </a:rPr>
              <a:t> </a:t>
            </a:r>
            <a:endParaRPr lang="ar-SA" sz="1600" kern="0" spc="-10" dirty="0">
              <a:solidFill>
                <a:srgbClr val="5F5F5F"/>
              </a:solidFill>
              <a:latin typeface="Tahoma"/>
              <a:cs typeface="Tahoma"/>
            </a:endParaRPr>
          </a:p>
          <a:p>
            <a:pPr marL="250825" marR="370205">
              <a:lnSpc>
                <a:spcPct val="150000"/>
              </a:lnSpc>
            </a:pPr>
            <a:r>
              <a:rPr lang="ar-SA" sz="1600" kern="0" spc="-10" dirty="0">
                <a:solidFill>
                  <a:srgbClr val="5F5F5F"/>
                </a:solidFill>
                <a:latin typeface="Tahoma"/>
                <a:cs typeface="Tahoma"/>
              </a:rPr>
              <a:t>إعداد التقارير</a:t>
            </a:r>
          </a:p>
          <a:p>
            <a:pPr marL="250825" marR="370205">
              <a:lnSpc>
                <a:spcPct val="150000"/>
              </a:lnSpc>
            </a:pPr>
            <a:r>
              <a:rPr lang="ar-SA" sz="1600" kern="0" dirty="0">
                <a:solidFill>
                  <a:srgbClr val="5F5F5F"/>
                </a:solidFill>
                <a:latin typeface="Tahoma"/>
                <a:cs typeface="Tahoma"/>
              </a:rPr>
              <a:t>اتخاذ القرار</a:t>
            </a:r>
          </a:p>
          <a:p>
            <a:pPr marL="250825" marR="370205">
              <a:lnSpc>
                <a:spcPct val="150000"/>
              </a:lnSpc>
            </a:pPr>
            <a:r>
              <a:rPr lang="ar-SA" sz="1600" kern="0" spc="-10" dirty="0">
                <a:solidFill>
                  <a:srgbClr val="5F5F5F"/>
                </a:solidFill>
                <a:latin typeface="Tahoma"/>
                <a:cs typeface="Tahoma"/>
              </a:rPr>
              <a:t>التواصل</a:t>
            </a:r>
            <a:endParaRPr lang="ar-SA" sz="1600" kern="0" dirty="0">
              <a:solidFill>
                <a:sysClr val="windowText" lastClr="000000"/>
              </a:solidFill>
              <a:latin typeface="Tahoma"/>
              <a:cs typeface="Tahoma"/>
            </a:endParaRPr>
          </a:p>
          <a:p>
            <a:pPr marL="250825" marR="370205">
              <a:lnSpc>
                <a:spcPct val="150000"/>
              </a:lnSpc>
            </a:pPr>
            <a:r>
              <a:rPr lang="ar-SA" sz="1600" kern="0" spc="-10" dirty="0">
                <a:solidFill>
                  <a:srgbClr val="5F5F5F"/>
                </a:solidFill>
                <a:latin typeface="Tahoma"/>
                <a:cs typeface="Tahoma"/>
              </a:rPr>
              <a:t>تحديث التوثيق</a:t>
            </a:r>
            <a:endParaRPr sz="1600" kern="0" dirty="0">
              <a:solidFill>
                <a:sysClr val="windowText" lastClr="000000"/>
              </a:solidFill>
              <a:latin typeface="Tahoma"/>
              <a:cs typeface="Tahoma"/>
            </a:endParaRPr>
          </a:p>
        </p:txBody>
      </p:sp>
      <p:sp>
        <p:nvSpPr>
          <p:cNvPr id="92" name="object 104">
            <a:extLst>
              <a:ext uri="{FF2B5EF4-FFF2-40B4-BE49-F238E27FC236}">
                <a16:creationId xmlns:a16="http://schemas.microsoft.com/office/drawing/2014/main" id="{49A86B9C-BFAC-25EA-823A-79255F91CA0F}"/>
              </a:ext>
            </a:extLst>
          </p:cNvPr>
          <p:cNvSpPr txBox="1"/>
          <p:nvPr/>
        </p:nvSpPr>
        <p:spPr>
          <a:xfrm>
            <a:off x="6168018" y="1479227"/>
            <a:ext cx="791845" cy="575157"/>
          </a:xfrm>
          <a:prstGeom prst="rect">
            <a:avLst/>
          </a:prstGeom>
        </p:spPr>
        <p:txBody>
          <a:bodyPr vert="horz" wrap="square" lIns="0" tIns="43815" rIns="0" bIns="0" rtlCol="0">
            <a:spAutoFit/>
          </a:bodyPr>
          <a:lstStyle/>
          <a:p>
            <a:pPr marL="12700">
              <a:spcBef>
                <a:spcPts val="345"/>
              </a:spcBef>
            </a:pPr>
            <a:r>
              <a:rPr lang="ar-SA" sz="1600" b="1" kern="0" dirty="0">
                <a:solidFill>
                  <a:srgbClr val="FFFFFF"/>
                </a:solidFill>
                <a:latin typeface="Century Gothic"/>
                <a:cs typeface="Century Gothic"/>
              </a:rPr>
              <a:t>المرحلة 2</a:t>
            </a:r>
          </a:p>
          <a:p>
            <a:pPr marL="12700">
              <a:spcBef>
                <a:spcPts val="345"/>
              </a:spcBef>
            </a:pPr>
            <a:r>
              <a:rPr lang="ar-SA" sz="1600" b="1" kern="0" dirty="0">
                <a:solidFill>
                  <a:srgbClr val="FFFFFF"/>
                </a:solidFill>
                <a:latin typeface="Century Gothic"/>
                <a:cs typeface="Century Gothic"/>
              </a:rPr>
              <a:t>الاستخدام</a:t>
            </a:r>
          </a:p>
        </p:txBody>
      </p:sp>
      <p:sp>
        <p:nvSpPr>
          <p:cNvPr id="93" name="object 105">
            <a:extLst>
              <a:ext uri="{FF2B5EF4-FFF2-40B4-BE49-F238E27FC236}">
                <a16:creationId xmlns:a16="http://schemas.microsoft.com/office/drawing/2014/main" id="{208AA553-4783-8FC6-A047-50BFF93DCEF3}"/>
              </a:ext>
            </a:extLst>
          </p:cNvPr>
          <p:cNvSpPr txBox="1"/>
          <p:nvPr/>
        </p:nvSpPr>
        <p:spPr>
          <a:xfrm>
            <a:off x="7979384" y="1475109"/>
            <a:ext cx="1434465" cy="575157"/>
          </a:xfrm>
          <a:prstGeom prst="rect">
            <a:avLst/>
          </a:prstGeom>
        </p:spPr>
        <p:txBody>
          <a:bodyPr vert="horz" wrap="square" lIns="0" tIns="43815" rIns="0" bIns="0" rtlCol="0">
            <a:spAutoFit/>
          </a:bodyPr>
          <a:lstStyle/>
          <a:p>
            <a:pPr marL="12700">
              <a:spcBef>
                <a:spcPts val="345"/>
              </a:spcBef>
            </a:pPr>
            <a:r>
              <a:rPr lang="ar-SA" sz="1600" b="1" kern="0" dirty="0">
                <a:solidFill>
                  <a:srgbClr val="FFFFFF"/>
                </a:solidFill>
                <a:latin typeface="Century Gothic"/>
                <a:cs typeface="Century Gothic"/>
              </a:rPr>
              <a:t>المرحلة 3</a:t>
            </a:r>
          </a:p>
          <a:p>
            <a:pPr marL="12700">
              <a:spcBef>
                <a:spcPts val="345"/>
              </a:spcBef>
            </a:pPr>
            <a:r>
              <a:rPr lang="ar-SA" sz="1600" b="1" kern="0" dirty="0">
                <a:solidFill>
                  <a:srgbClr val="FFFFFF"/>
                </a:solidFill>
                <a:latin typeface="Century Gothic"/>
                <a:cs typeface="Century Gothic"/>
              </a:rPr>
              <a:t>التطور</a:t>
            </a:r>
          </a:p>
        </p:txBody>
      </p:sp>
    </p:spTree>
    <p:extLst>
      <p:ext uri="{BB962C8B-B14F-4D97-AF65-F5344CB8AC3E}">
        <p14:creationId xmlns:p14="http://schemas.microsoft.com/office/powerpoint/2010/main" val="790225507"/>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E25FF8-7E8F-232F-6729-BD8466745E1C}"/>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11A21AE-FDEE-BA3C-D310-122353C687E3}"/>
              </a:ext>
            </a:extLst>
          </p:cNvPr>
          <p:cNvGraphicFramePr>
            <a:graphicFrameLocks noChangeAspect="1"/>
          </p:cNvGraphicFramePr>
          <p:nvPr>
            <p:custDataLst>
              <p:tags r:id="rId1"/>
            </p:custDataLst>
          </p:nvPr>
        </p:nvGraphicFramePr>
        <p:xfrm>
          <a:off x="3969" y="2580"/>
          <a:ext cx="794" cy="794"/>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think-cell data - do not delete" hidden="1">
                        <a:extLst>
                          <a:ext uri="{FF2B5EF4-FFF2-40B4-BE49-F238E27FC236}">
                            <a16:creationId xmlns:a16="http://schemas.microsoft.com/office/drawing/2014/main" id="{221CC065-88FA-AB37-3FB9-54B8B28B5976}"/>
                          </a:ext>
                        </a:extLst>
                      </p:cNvPr>
                      <p:cNvPicPr/>
                      <p:nvPr/>
                    </p:nvPicPr>
                    <p:blipFill>
                      <a:blip r:embed="rId5"/>
                      <a:stretch>
                        <a:fillRect/>
                      </a:stretch>
                    </p:blipFill>
                    <p:spPr>
                      <a:xfrm>
                        <a:off x="3969" y="2580"/>
                        <a:ext cx="794" cy="794"/>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0127A37-A1F2-E86A-A7D6-3364EF333ED5}"/>
              </a:ext>
            </a:extLst>
          </p:cNvPr>
          <p:cNvSpPr>
            <a:spLocks noGrp="1"/>
          </p:cNvSpPr>
          <p:nvPr>
            <p:ph type="title"/>
          </p:nvPr>
        </p:nvSpPr>
        <p:spPr>
          <a:xfrm>
            <a:off x="-834020" y="5118803"/>
            <a:ext cx="6211915" cy="743506"/>
          </a:xfrm>
        </p:spPr>
        <p:txBody>
          <a:bodyPr vert="horz" anchor="ctr">
            <a:noAutofit/>
          </a:bodyPr>
          <a:lstStyle/>
          <a:p>
            <a:pPr rtl="1"/>
            <a:r>
              <a:rPr lang="ar-SA" sz="3200" dirty="0">
                <a:solidFill>
                  <a:srgbClr val="A36C3F"/>
                </a:solidFill>
                <a:latin typeface="Bahnschrift Light SemiCondensed" panose="020B0502040204020203" pitchFamily="34" charset="0"/>
              </a:rPr>
              <a:t>تفعيل إدارة الأداء</a:t>
            </a:r>
            <a:endParaRPr lang="en-US" sz="3000" dirty="0"/>
          </a:p>
        </p:txBody>
      </p:sp>
    </p:spTree>
    <p:extLst>
      <p:ext uri="{BB962C8B-B14F-4D97-AF65-F5344CB8AC3E}">
        <p14:creationId xmlns:p14="http://schemas.microsoft.com/office/powerpoint/2010/main" val="1600195887"/>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2A4BC0-B45A-49B4-7121-48B4AA07DA2E}"/>
            </a:ext>
          </a:extLst>
        </p:cNvPr>
        <p:cNvGrpSpPr/>
        <p:nvPr/>
      </p:nvGrpSpPr>
      <p:grpSpPr>
        <a:xfrm>
          <a:off x="0" y="0"/>
          <a:ext cx="0" cy="0"/>
          <a:chOff x="0" y="0"/>
          <a:chExt cx="0" cy="0"/>
        </a:xfrm>
      </p:grpSpPr>
      <p:sp>
        <p:nvSpPr>
          <p:cNvPr id="3" name="object 2">
            <a:extLst>
              <a:ext uri="{FF2B5EF4-FFF2-40B4-BE49-F238E27FC236}">
                <a16:creationId xmlns:a16="http://schemas.microsoft.com/office/drawing/2014/main" id="{3FEB3E79-CC2B-D4E4-58B4-408849BCCE2D}"/>
              </a:ext>
            </a:extLst>
          </p:cNvPr>
          <p:cNvSpPr txBox="1">
            <a:spLocks/>
          </p:cNvSpPr>
          <p:nvPr/>
        </p:nvSpPr>
        <p:spPr>
          <a:xfrm>
            <a:off x="970722" y="205170"/>
            <a:ext cx="10515600" cy="765299"/>
          </a:xfrm>
          <a:prstGeom prst="rect">
            <a:avLst/>
          </a:prstGeom>
        </p:spPr>
        <p:txBody>
          <a:bodyPr vert="horz" wrap="square" lIns="0" tIns="209258" rIns="0" bIns="0" rtlCol="0" anchor="ctr">
            <a:sp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31115">
              <a:spcBef>
                <a:spcPts val="100"/>
              </a:spcBef>
            </a:pPr>
            <a:r>
              <a:rPr lang="ar-SA" sz="3600" dirty="0">
                <a:solidFill>
                  <a:srgbClr val="A36C3F"/>
                </a:solidFill>
                <a:latin typeface="Avenir Next Arabic Demi" panose="020B0703020202020204" pitchFamily="34" charset="-78"/>
                <a:cs typeface="Avenir Next Arabic Demi" panose="020B0703020202020204" pitchFamily="34" charset="-78"/>
              </a:rPr>
              <a:t>تكامل النظام</a:t>
            </a:r>
          </a:p>
        </p:txBody>
      </p:sp>
      <p:pic>
        <p:nvPicPr>
          <p:cNvPr id="4" name="object 3">
            <a:extLst>
              <a:ext uri="{FF2B5EF4-FFF2-40B4-BE49-F238E27FC236}">
                <a16:creationId xmlns:a16="http://schemas.microsoft.com/office/drawing/2014/main" id="{DE36164C-F818-6FD9-316A-FB8013C0ADCC}"/>
              </a:ext>
            </a:extLst>
          </p:cNvPr>
          <p:cNvPicPr/>
          <p:nvPr/>
        </p:nvPicPr>
        <p:blipFill>
          <a:blip r:embed="rId3" cstate="print"/>
          <a:stretch>
            <a:fillRect/>
          </a:stretch>
        </p:blipFill>
        <p:spPr>
          <a:xfrm>
            <a:off x="5380909" y="1539239"/>
            <a:ext cx="2326385" cy="4654296"/>
          </a:xfrm>
          <a:prstGeom prst="rect">
            <a:avLst/>
          </a:prstGeom>
        </p:spPr>
      </p:pic>
      <p:sp>
        <p:nvSpPr>
          <p:cNvPr id="43" name="object 4">
            <a:extLst>
              <a:ext uri="{FF2B5EF4-FFF2-40B4-BE49-F238E27FC236}">
                <a16:creationId xmlns:a16="http://schemas.microsoft.com/office/drawing/2014/main" id="{7488E001-6A4E-2912-AEC6-5281C0231593}"/>
              </a:ext>
            </a:extLst>
          </p:cNvPr>
          <p:cNvSpPr txBox="1"/>
          <p:nvPr/>
        </p:nvSpPr>
        <p:spPr>
          <a:xfrm>
            <a:off x="2612543" y="1755395"/>
            <a:ext cx="2190115" cy="289823"/>
          </a:xfrm>
          <a:prstGeom prst="rect">
            <a:avLst/>
          </a:prstGeom>
        </p:spPr>
        <p:txBody>
          <a:bodyPr vert="horz" wrap="square" lIns="0" tIns="12700" rIns="0" bIns="0" rtlCol="0">
            <a:spAutoFit/>
          </a:bodyPr>
          <a:lstStyle/>
          <a:p>
            <a:pPr marL="12700">
              <a:spcBef>
                <a:spcPts val="100"/>
              </a:spcBef>
            </a:pPr>
            <a:r>
              <a:rPr lang="ar-SA" spc="75" dirty="0">
                <a:solidFill>
                  <a:srgbClr val="A36C3F"/>
                </a:solidFill>
                <a:latin typeface="Century Gothic"/>
                <a:cs typeface="Century Gothic"/>
              </a:rPr>
              <a:t>الاستراتيجية التنظيمية</a:t>
            </a:r>
          </a:p>
        </p:txBody>
      </p:sp>
      <p:sp>
        <p:nvSpPr>
          <p:cNvPr id="44" name="object 5">
            <a:extLst>
              <a:ext uri="{FF2B5EF4-FFF2-40B4-BE49-F238E27FC236}">
                <a16:creationId xmlns:a16="http://schemas.microsoft.com/office/drawing/2014/main" id="{1A082589-F41C-C193-8EFF-4C1EB0B7FFC2}"/>
              </a:ext>
            </a:extLst>
          </p:cNvPr>
          <p:cNvSpPr txBox="1"/>
          <p:nvPr/>
        </p:nvSpPr>
        <p:spPr>
          <a:xfrm>
            <a:off x="2756052" y="4287466"/>
            <a:ext cx="1903095" cy="289823"/>
          </a:xfrm>
          <a:prstGeom prst="rect">
            <a:avLst/>
          </a:prstGeom>
        </p:spPr>
        <p:txBody>
          <a:bodyPr vert="horz" wrap="square" lIns="0" tIns="12700" rIns="0" bIns="0" rtlCol="0">
            <a:spAutoFit/>
          </a:bodyPr>
          <a:lstStyle/>
          <a:p>
            <a:pPr marL="12700" marR="5080">
              <a:spcBef>
                <a:spcPts val="100"/>
              </a:spcBef>
            </a:pPr>
            <a:r>
              <a:rPr lang="ar-SA" dirty="0">
                <a:solidFill>
                  <a:srgbClr val="A36C3F"/>
                </a:solidFill>
                <a:latin typeface="Century Gothic"/>
                <a:cs typeface="Century Gothic"/>
              </a:rPr>
              <a:t>نظام إدارة الأداء المتكامل</a:t>
            </a:r>
          </a:p>
        </p:txBody>
      </p:sp>
      <p:sp>
        <p:nvSpPr>
          <p:cNvPr id="45" name="object 6">
            <a:extLst>
              <a:ext uri="{FF2B5EF4-FFF2-40B4-BE49-F238E27FC236}">
                <a16:creationId xmlns:a16="http://schemas.microsoft.com/office/drawing/2014/main" id="{2E7A708D-A758-784E-B55C-1CC9AEDB066B}"/>
              </a:ext>
            </a:extLst>
          </p:cNvPr>
          <p:cNvSpPr txBox="1"/>
          <p:nvPr/>
        </p:nvSpPr>
        <p:spPr>
          <a:xfrm>
            <a:off x="6648913" y="4739115"/>
            <a:ext cx="1403350" cy="579646"/>
          </a:xfrm>
          <a:prstGeom prst="rect">
            <a:avLst/>
          </a:prstGeom>
        </p:spPr>
        <p:txBody>
          <a:bodyPr vert="horz" wrap="square" lIns="0" tIns="12700" rIns="0" bIns="0" rtlCol="0">
            <a:spAutoFit/>
          </a:bodyPr>
          <a:lstStyle/>
          <a:p>
            <a:pPr marL="12700">
              <a:spcBef>
                <a:spcPts val="100"/>
              </a:spcBef>
            </a:pPr>
            <a:r>
              <a:rPr lang="ar-SA" spc="90" dirty="0">
                <a:solidFill>
                  <a:srgbClr val="A36C3F"/>
                </a:solidFill>
                <a:latin typeface="Century Gothic"/>
                <a:cs typeface="Century Gothic"/>
              </a:rPr>
              <a:t>النتائج</a:t>
            </a:r>
          </a:p>
          <a:p>
            <a:pPr marL="12700">
              <a:spcBef>
                <a:spcPts val="100"/>
              </a:spcBef>
            </a:pPr>
            <a:endParaRPr dirty="0">
              <a:solidFill>
                <a:srgbClr val="A36C3F"/>
              </a:solidFill>
              <a:latin typeface="Century Gothic"/>
              <a:cs typeface="Century Gothic"/>
            </a:endParaRPr>
          </a:p>
        </p:txBody>
      </p:sp>
      <p:pic>
        <p:nvPicPr>
          <p:cNvPr id="46" name="object 8">
            <a:extLst>
              <a:ext uri="{FF2B5EF4-FFF2-40B4-BE49-F238E27FC236}">
                <a16:creationId xmlns:a16="http://schemas.microsoft.com/office/drawing/2014/main" id="{6431633E-2BF4-8857-25BD-64DFC311BC9B}"/>
              </a:ext>
            </a:extLst>
          </p:cNvPr>
          <p:cNvPicPr/>
          <p:nvPr/>
        </p:nvPicPr>
        <p:blipFill>
          <a:blip r:embed="rId4" cstate="print">
            <a:duotone>
              <a:prstClr val="black"/>
              <a:srgbClr val="C4862A">
                <a:tint val="45000"/>
                <a:satMod val="400000"/>
              </a:srgbClr>
            </a:duotone>
            <a:extLst>
              <a:ext uri="{BEBA8EAE-BF5A-486C-A8C5-ECC9F3942E4B}">
                <a14:imgProps xmlns:a14="http://schemas.microsoft.com/office/drawing/2010/main">
                  <a14:imgLayer r:embed="rId5">
                    <a14:imgEffect>
                      <a14:brightnessContrast bright="40000"/>
                    </a14:imgEffect>
                  </a14:imgLayer>
                </a14:imgProps>
              </a:ext>
            </a:extLst>
          </a:blip>
          <a:stretch>
            <a:fillRect/>
          </a:stretch>
        </p:blipFill>
        <p:spPr>
          <a:xfrm>
            <a:off x="5486401" y="1842517"/>
            <a:ext cx="829055" cy="829055"/>
          </a:xfrm>
          <a:prstGeom prst="rect">
            <a:avLst/>
          </a:prstGeom>
        </p:spPr>
      </p:pic>
      <p:sp>
        <p:nvSpPr>
          <p:cNvPr id="47" name="object 10">
            <a:extLst>
              <a:ext uri="{FF2B5EF4-FFF2-40B4-BE49-F238E27FC236}">
                <a16:creationId xmlns:a16="http://schemas.microsoft.com/office/drawing/2014/main" id="{B4585668-3DD2-4BB4-CEDC-3CF7E5F5C470}"/>
              </a:ext>
            </a:extLst>
          </p:cNvPr>
          <p:cNvSpPr/>
          <p:nvPr/>
        </p:nvSpPr>
        <p:spPr>
          <a:xfrm>
            <a:off x="3610356" y="3674365"/>
            <a:ext cx="2828290" cy="539750"/>
          </a:xfrm>
          <a:custGeom>
            <a:avLst/>
            <a:gdLst/>
            <a:ahLst/>
            <a:cxnLst/>
            <a:rect l="l" t="t" r="r" b="b"/>
            <a:pathLst>
              <a:path w="2828290" h="539750">
                <a:moveTo>
                  <a:pt x="76200" y="348742"/>
                </a:moveTo>
                <a:lnTo>
                  <a:pt x="0" y="348742"/>
                </a:lnTo>
                <a:lnTo>
                  <a:pt x="95250" y="539242"/>
                </a:lnTo>
                <a:lnTo>
                  <a:pt x="180975" y="367792"/>
                </a:lnTo>
                <a:lnTo>
                  <a:pt x="76200" y="367792"/>
                </a:lnTo>
                <a:lnTo>
                  <a:pt x="76200" y="348742"/>
                </a:lnTo>
                <a:close/>
              </a:path>
              <a:path w="2828290" h="539750">
                <a:moveTo>
                  <a:pt x="2828290" y="0"/>
                </a:moveTo>
                <a:lnTo>
                  <a:pt x="76200" y="0"/>
                </a:lnTo>
                <a:lnTo>
                  <a:pt x="76200" y="367792"/>
                </a:lnTo>
                <a:lnTo>
                  <a:pt x="114300" y="367792"/>
                </a:lnTo>
                <a:lnTo>
                  <a:pt x="114300" y="38100"/>
                </a:lnTo>
                <a:lnTo>
                  <a:pt x="95250" y="38100"/>
                </a:lnTo>
                <a:lnTo>
                  <a:pt x="114300" y="19050"/>
                </a:lnTo>
                <a:lnTo>
                  <a:pt x="2828290" y="19050"/>
                </a:lnTo>
                <a:lnTo>
                  <a:pt x="2828290" y="0"/>
                </a:lnTo>
                <a:close/>
              </a:path>
              <a:path w="2828290" h="539750">
                <a:moveTo>
                  <a:pt x="190500" y="348742"/>
                </a:moveTo>
                <a:lnTo>
                  <a:pt x="114300" y="348742"/>
                </a:lnTo>
                <a:lnTo>
                  <a:pt x="114300" y="367792"/>
                </a:lnTo>
                <a:lnTo>
                  <a:pt x="180975" y="367792"/>
                </a:lnTo>
                <a:lnTo>
                  <a:pt x="190500" y="348742"/>
                </a:lnTo>
                <a:close/>
              </a:path>
              <a:path w="2828290" h="539750">
                <a:moveTo>
                  <a:pt x="114300" y="19050"/>
                </a:moveTo>
                <a:lnTo>
                  <a:pt x="95250" y="38100"/>
                </a:lnTo>
                <a:lnTo>
                  <a:pt x="114300" y="38100"/>
                </a:lnTo>
                <a:lnTo>
                  <a:pt x="114300" y="19050"/>
                </a:lnTo>
                <a:close/>
              </a:path>
              <a:path w="2828290" h="539750">
                <a:moveTo>
                  <a:pt x="2828290" y="19050"/>
                </a:moveTo>
                <a:lnTo>
                  <a:pt x="114300" y="19050"/>
                </a:lnTo>
                <a:lnTo>
                  <a:pt x="114300" y="38100"/>
                </a:lnTo>
                <a:lnTo>
                  <a:pt x="2828290" y="38100"/>
                </a:lnTo>
                <a:lnTo>
                  <a:pt x="2828290" y="19050"/>
                </a:lnTo>
                <a:close/>
              </a:path>
            </a:pathLst>
          </a:custGeom>
          <a:solidFill>
            <a:srgbClr val="C1A171"/>
          </a:solidFill>
        </p:spPr>
        <p:txBody>
          <a:bodyPr wrap="square" lIns="0" tIns="0" rIns="0" bIns="0" rtlCol="0"/>
          <a:lstStyle/>
          <a:p>
            <a:endParaRPr/>
          </a:p>
        </p:txBody>
      </p:sp>
      <p:sp>
        <p:nvSpPr>
          <p:cNvPr id="48" name="object 11">
            <a:extLst>
              <a:ext uri="{FF2B5EF4-FFF2-40B4-BE49-F238E27FC236}">
                <a16:creationId xmlns:a16="http://schemas.microsoft.com/office/drawing/2014/main" id="{C4F556F0-654B-C601-9027-0DDD96159C44}"/>
              </a:ext>
            </a:extLst>
          </p:cNvPr>
          <p:cNvSpPr txBox="1">
            <a:spLocks/>
          </p:cNvSpPr>
          <p:nvPr/>
        </p:nvSpPr>
        <p:spPr>
          <a:xfrm>
            <a:off x="6334505" y="6349047"/>
            <a:ext cx="2769107" cy="457642"/>
          </a:xfrm>
          <a:prstGeom prst="rect">
            <a:avLst/>
          </a:prstGeom>
        </p:spPr>
        <p:txBody>
          <a:bodyPr vert="horz" wrap="square" lIns="0" tIns="0" rIns="0" bIns="0" rtlCol="0">
            <a:spAutoFit/>
          </a:bodyPr>
          <a:lstStyle>
            <a:defPPr>
              <a:defRPr lang="en-US" kern="0"/>
            </a:defPPr>
            <a:lvl1pPr marL="0" algn="r" defTabSz="914400" rtl="1" eaLnBrk="1" latinLnBrk="0" hangingPunct="1">
              <a:defRPr sz="1050" b="0" i="0" kern="1200">
                <a:solidFill>
                  <a:srgbClr val="9B9B9B"/>
                </a:solidFill>
                <a:latin typeface="Times New Roman"/>
                <a:ea typeface="+mn-ea"/>
                <a:cs typeface="Times New Roman"/>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pPr marL="2459355">
              <a:lnSpc>
                <a:spcPts val="1250"/>
              </a:lnSpc>
              <a:spcBef>
                <a:spcPts val="90"/>
              </a:spcBef>
            </a:pPr>
            <a:fld id="{81D60167-4931-47E6-BA6A-407CBD079E47}" type="slidenum">
              <a:rPr lang="en-US" spc="-25" smtClean="0"/>
              <a:pPr marL="2459355">
                <a:lnSpc>
                  <a:spcPts val="1250"/>
                </a:lnSpc>
                <a:spcBef>
                  <a:spcPts val="90"/>
                </a:spcBef>
              </a:pPr>
              <a:t>15</a:t>
            </a:fld>
            <a:endParaRPr lang="en-US" spc="-25" dirty="0">
              <a:latin typeface="Tahoma"/>
              <a:cs typeface="Tahoma"/>
            </a:endParaRPr>
          </a:p>
        </p:txBody>
      </p:sp>
      <p:pic>
        <p:nvPicPr>
          <p:cNvPr id="50" name="object 8">
            <a:extLst>
              <a:ext uri="{FF2B5EF4-FFF2-40B4-BE49-F238E27FC236}">
                <a16:creationId xmlns:a16="http://schemas.microsoft.com/office/drawing/2014/main" id="{9CB5A44F-CD50-9D57-FF84-ECE88757D38B}"/>
              </a:ext>
            </a:extLst>
          </p:cNvPr>
          <p:cNvPicPr/>
          <p:nvPr/>
        </p:nvPicPr>
        <p:blipFill>
          <a:blip r:embed="rId4" cstate="print">
            <a:duotone>
              <a:prstClr val="black"/>
              <a:srgbClr val="C4862A">
                <a:tint val="45000"/>
                <a:satMod val="400000"/>
              </a:srgbClr>
            </a:duotone>
            <a:extLst>
              <a:ext uri="{BEBA8EAE-BF5A-486C-A8C5-ECC9F3942E4B}">
                <a14:imgProps xmlns:a14="http://schemas.microsoft.com/office/drawing/2010/main">
                  <a14:imgLayer r:embed="rId5">
                    <a14:imgEffect>
                      <a14:brightnessContrast bright="40000"/>
                    </a14:imgEffect>
                  </a14:imgLayer>
                </a14:imgProps>
              </a:ext>
            </a:extLst>
          </a:blip>
          <a:stretch>
            <a:fillRect/>
          </a:stretch>
        </p:blipFill>
        <p:spPr>
          <a:xfrm>
            <a:off x="7162852" y="3799587"/>
            <a:ext cx="829055" cy="829055"/>
          </a:xfrm>
          <a:prstGeom prst="rect">
            <a:avLst/>
          </a:prstGeom>
        </p:spPr>
      </p:pic>
    </p:spTree>
    <p:extLst>
      <p:ext uri="{BB962C8B-B14F-4D97-AF65-F5344CB8AC3E}">
        <p14:creationId xmlns:p14="http://schemas.microsoft.com/office/powerpoint/2010/main" val="2807976615"/>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F6FA90-155C-F56C-0488-B49E2E0B5D08}"/>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9F0CE55E-E7D1-58BF-C92F-2BC968860454}"/>
              </a:ext>
            </a:extLst>
          </p:cNvPr>
          <p:cNvSpPr txBox="1">
            <a:spLocks/>
          </p:cNvSpPr>
          <p:nvPr/>
        </p:nvSpPr>
        <p:spPr>
          <a:xfrm>
            <a:off x="924340" y="204589"/>
            <a:ext cx="10515600" cy="1010533"/>
          </a:xfrm>
          <a:prstGeom prst="rect">
            <a:avLst/>
          </a:prstGeom>
        </p:spPr>
        <p:txBody>
          <a:bodyPr vert="horz" wrap="square" lIns="0" tIns="55880" rIns="0" bIns="0" rtlCol="0" anchor="ctr">
            <a:sp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12700">
              <a:spcBef>
                <a:spcPts val="440"/>
              </a:spcBef>
            </a:pPr>
            <a:r>
              <a:rPr lang="ar-SA" dirty="0">
                <a:solidFill>
                  <a:srgbClr val="A36C3F"/>
                </a:solidFill>
                <a:latin typeface="Avenir Next Arabic Demi" panose="020B0703020202020204" pitchFamily="34" charset="-78"/>
                <a:cs typeface="Avenir Next Arabic Demi" panose="020B0703020202020204" pitchFamily="34" charset="-78"/>
              </a:rPr>
              <a:t>تمرين</a:t>
            </a:r>
            <a:br>
              <a:rPr lang="ar-SA" spc="195" dirty="0">
                <a:solidFill>
                  <a:srgbClr val="A36C3F"/>
                </a:solidFill>
                <a:latin typeface="Avenir Next Arabic Demi" panose="020B0703020202020204" pitchFamily="34" charset="-78"/>
                <a:cs typeface="Avenir Next Arabic Demi" panose="020B0703020202020204" pitchFamily="34" charset="-78"/>
              </a:rPr>
            </a:br>
            <a:r>
              <a:rPr lang="ar-SA" sz="1800" spc="70" dirty="0">
                <a:solidFill>
                  <a:srgbClr val="A36C3F"/>
                </a:solidFill>
                <a:latin typeface="Avenir Next Arabic Demi" panose="020B0703020202020204" pitchFamily="34" charset="-78"/>
                <a:cs typeface="Avenir Next Arabic Demi" panose="020B0703020202020204" pitchFamily="34" charset="-78"/>
              </a:rPr>
              <a:t>تحديد مفاهيم إدارة الأداء</a:t>
            </a:r>
            <a:endParaRPr lang="ar-SA" sz="1800" dirty="0">
              <a:solidFill>
                <a:srgbClr val="A36C3F"/>
              </a:solidFill>
              <a:latin typeface="Avenir Next Arabic Demi" panose="020B0703020202020204" pitchFamily="34" charset="-78"/>
              <a:cs typeface="Avenir Next Arabic Demi" panose="020B0703020202020204" pitchFamily="34" charset="-78"/>
            </a:endParaRPr>
          </a:p>
        </p:txBody>
      </p:sp>
      <p:graphicFrame>
        <p:nvGraphicFramePr>
          <p:cNvPr id="5" name="object 3">
            <a:extLst>
              <a:ext uri="{FF2B5EF4-FFF2-40B4-BE49-F238E27FC236}">
                <a16:creationId xmlns:a16="http://schemas.microsoft.com/office/drawing/2014/main" id="{56960EE4-3307-65A5-9EB6-6D8530AE7721}"/>
              </a:ext>
            </a:extLst>
          </p:cNvPr>
          <p:cNvGraphicFramePr>
            <a:graphicFrameLocks noGrp="1"/>
          </p:cNvGraphicFramePr>
          <p:nvPr>
            <p:extLst>
              <p:ext uri="{D42A27DB-BD31-4B8C-83A1-F6EECF244321}">
                <p14:modId xmlns:p14="http://schemas.microsoft.com/office/powerpoint/2010/main" val="2417512501"/>
              </p:ext>
            </p:extLst>
          </p:nvPr>
        </p:nvGraphicFramePr>
        <p:xfrm>
          <a:off x="1736035" y="1403250"/>
          <a:ext cx="8621004" cy="4843165"/>
        </p:xfrm>
        <a:graphic>
          <a:graphicData uri="http://schemas.openxmlformats.org/drawingml/2006/table">
            <a:tbl>
              <a:tblPr firstRow="1" bandRow="1">
                <a:tableStyleId>{2D5ABB26-0587-4C30-8999-92F81FD0307C}</a:tableStyleId>
              </a:tblPr>
              <a:tblGrid>
                <a:gridCol w="889139">
                  <a:extLst>
                    <a:ext uri="{9D8B030D-6E8A-4147-A177-3AD203B41FA5}">
                      <a16:colId xmlns:a16="http://schemas.microsoft.com/office/drawing/2014/main" val="20000"/>
                    </a:ext>
                  </a:extLst>
                </a:gridCol>
                <a:gridCol w="5229539">
                  <a:extLst>
                    <a:ext uri="{9D8B030D-6E8A-4147-A177-3AD203B41FA5}">
                      <a16:colId xmlns:a16="http://schemas.microsoft.com/office/drawing/2014/main" val="20001"/>
                    </a:ext>
                  </a:extLst>
                </a:gridCol>
                <a:gridCol w="130443">
                  <a:extLst>
                    <a:ext uri="{9D8B030D-6E8A-4147-A177-3AD203B41FA5}">
                      <a16:colId xmlns:a16="http://schemas.microsoft.com/office/drawing/2014/main" val="20002"/>
                    </a:ext>
                  </a:extLst>
                </a:gridCol>
                <a:gridCol w="524062">
                  <a:extLst>
                    <a:ext uri="{9D8B030D-6E8A-4147-A177-3AD203B41FA5}">
                      <a16:colId xmlns:a16="http://schemas.microsoft.com/office/drawing/2014/main" val="20003"/>
                    </a:ext>
                  </a:extLst>
                </a:gridCol>
                <a:gridCol w="1847821">
                  <a:extLst>
                    <a:ext uri="{9D8B030D-6E8A-4147-A177-3AD203B41FA5}">
                      <a16:colId xmlns:a16="http://schemas.microsoft.com/office/drawing/2014/main" val="20004"/>
                    </a:ext>
                  </a:extLst>
                </a:gridCol>
              </a:tblGrid>
              <a:tr h="627528">
                <a:tc>
                  <a:txBody>
                    <a:bodyPr/>
                    <a:lstStyle/>
                    <a:p>
                      <a:pPr marL="316230" marR="120014" indent="-70485" algn="ctr" rtl="0">
                        <a:lnSpc>
                          <a:spcPct val="100000"/>
                        </a:lnSpc>
                      </a:pPr>
                      <a:endParaRPr lang="en-US" sz="1400" b="0" spc="-10" dirty="0">
                        <a:solidFill>
                          <a:srgbClr val="FFFFFF"/>
                        </a:solidFill>
                        <a:latin typeface="Arial" panose="020B0604020202020204" pitchFamily="34" charset="0"/>
                        <a:cs typeface="+mn-cs"/>
                      </a:endParaRPr>
                    </a:p>
                    <a:p>
                      <a:pPr marL="316230" marR="120014" indent="-70485" algn="ctr" rtl="0">
                        <a:lnSpc>
                          <a:spcPct val="100000"/>
                        </a:lnSpc>
                      </a:pPr>
                      <a:r>
                        <a:rPr lang="ar-SA" sz="1400" b="1" spc="-10" dirty="0">
                          <a:solidFill>
                            <a:srgbClr val="FFFFFF"/>
                          </a:solidFill>
                          <a:latin typeface="Arial" panose="020B0604020202020204" pitchFamily="34" charset="0"/>
                          <a:cs typeface="+mn-cs"/>
                        </a:rPr>
                        <a:t>طابق هنا</a:t>
                      </a:r>
                    </a:p>
                    <a:p>
                      <a:pPr marL="316230" marR="120014" indent="-70485" algn="ctr" rtl="0">
                        <a:lnSpc>
                          <a:spcPct val="100000"/>
                        </a:lnSpc>
                      </a:pPr>
                      <a:endParaRPr sz="1400" b="0" dirty="0">
                        <a:latin typeface="Arial" panose="020B0604020202020204" pitchFamily="34" charset="0"/>
                        <a:cs typeface="Arial" panose="020B0604020202020204" pitchFamily="34" charset="0"/>
                      </a:endParaRPr>
                    </a:p>
                  </a:txBody>
                  <a:tcPr marL="0" marR="0" marT="0" marB="0">
                    <a:lnB w="9525">
                      <a:solidFill>
                        <a:srgbClr val="9F9F9F"/>
                      </a:solidFill>
                      <a:prstDash val="solid"/>
                    </a:lnB>
                    <a:solidFill>
                      <a:srgbClr val="A36C3F"/>
                    </a:solidFill>
                  </a:tcPr>
                </a:tc>
                <a:tc>
                  <a:txBody>
                    <a:bodyPr/>
                    <a:lstStyle/>
                    <a:p>
                      <a:pPr marL="127635" algn="ctr" rtl="0">
                        <a:lnSpc>
                          <a:spcPct val="100000"/>
                        </a:lnSpc>
                        <a:spcBef>
                          <a:spcPts val="894"/>
                        </a:spcBef>
                      </a:pPr>
                      <a:r>
                        <a:rPr lang="ar-SA" sz="2000" b="1" spc="-10" dirty="0">
                          <a:solidFill>
                            <a:srgbClr val="FFFFFF"/>
                          </a:solidFill>
                          <a:latin typeface="Arial" panose="020B0604020202020204" pitchFamily="34" charset="0"/>
                          <a:cs typeface="+mn-cs"/>
                        </a:rPr>
                        <a:t>أمثلة</a:t>
                      </a:r>
                    </a:p>
                  </a:txBody>
                  <a:tcPr marL="0" marR="0" marT="113664" marB="0">
                    <a:lnR>
                      <a:noFill/>
                    </a:lnR>
                    <a:lnB w="9525">
                      <a:solidFill>
                        <a:srgbClr val="9F9F9F"/>
                      </a:solidFill>
                      <a:prstDash val="solid"/>
                    </a:lnB>
                    <a:solidFill>
                      <a:srgbClr val="A36C3F"/>
                    </a:solidFill>
                  </a:tcPr>
                </a:tc>
                <a:tc rowSpan="14">
                  <a:txBody>
                    <a:bodyPr/>
                    <a:lstStyle/>
                    <a:p>
                      <a:pPr algn="ctr" rtl="0">
                        <a:lnSpc>
                          <a:spcPct val="100000"/>
                        </a:lnSpc>
                      </a:pPr>
                      <a:endParaRPr sz="1400">
                        <a:latin typeface="Arial" panose="020B0604020202020204" pitchFamily="34" charset="0"/>
                        <a:cs typeface="Arial" panose="020B0604020202020204" pitchFamily="34" charset="0"/>
                      </a:endParaRPr>
                    </a:p>
                  </a:txBody>
                  <a:tcPr marL="0" marR="0" marT="0" marB="0">
                    <a:lnL>
                      <a:noFill/>
                    </a:lnL>
                  </a:tcPr>
                </a:tc>
                <a:tc>
                  <a:txBody>
                    <a:bodyPr/>
                    <a:lstStyle/>
                    <a:p>
                      <a:pPr marL="182245" algn="ctr" rtl="0">
                        <a:lnSpc>
                          <a:spcPct val="100000"/>
                        </a:lnSpc>
                        <a:spcBef>
                          <a:spcPts val="894"/>
                        </a:spcBef>
                      </a:pPr>
                      <a:r>
                        <a:rPr lang="ar-SA" sz="1400" b="1" spc="-25" dirty="0">
                          <a:solidFill>
                            <a:srgbClr val="FFFFFF"/>
                          </a:solidFill>
                          <a:latin typeface="Arial" panose="020B0604020202020204" pitchFamily="34" charset="0"/>
                          <a:cs typeface="Arial" panose="020B0604020202020204" pitchFamily="34" charset="0"/>
                        </a:rPr>
                        <a:t>رقم</a:t>
                      </a:r>
                      <a:r>
                        <a:rPr sz="1400" b="1" spc="-25" dirty="0">
                          <a:solidFill>
                            <a:srgbClr val="FFFFFF"/>
                          </a:solidFill>
                          <a:latin typeface="Arial" panose="020B0604020202020204" pitchFamily="34" charset="0"/>
                          <a:cs typeface="Arial" panose="020B0604020202020204" pitchFamily="34" charset="0"/>
                        </a:rPr>
                        <a:t>.</a:t>
                      </a:r>
                      <a:endParaRPr sz="1400" b="1" dirty="0">
                        <a:latin typeface="Arial" panose="020B0604020202020204" pitchFamily="34" charset="0"/>
                        <a:cs typeface="Arial" panose="020B0604020202020204" pitchFamily="34" charset="0"/>
                      </a:endParaRPr>
                    </a:p>
                  </a:txBody>
                  <a:tcPr marL="0" marR="0" marT="113664" marB="0">
                    <a:lnB w="9525">
                      <a:solidFill>
                        <a:srgbClr val="9F9F9F"/>
                      </a:solidFill>
                      <a:prstDash val="solid"/>
                    </a:lnB>
                    <a:solidFill>
                      <a:srgbClr val="A36C3F"/>
                    </a:solidFill>
                  </a:tcPr>
                </a:tc>
                <a:tc>
                  <a:txBody>
                    <a:bodyPr/>
                    <a:lstStyle/>
                    <a:p>
                      <a:pPr marL="151130" algn="ctr" rtl="0">
                        <a:lnSpc>
                          <a:spcPct val="100000"/>
                        </a:lnSpc>
                        <a:spcBef>
                          <a:spcPts val="894"/>
                        </a:spcBef>
                      </a:pPr>
                      <a:r>
                        <a:rPr lang="ar-SA" sz="1400" b="1" spc="-10" dirty="0">
                          <a:solidFill>
                            <a:srgbClr val="FFFFFF"/>
                          </a:solidFill>
                          <a:latin typeface="Arial" panose="020B0604020202020204" pitchFamily="34" charset="0"/>
                          <a:cs typeface="Arial" panose="020B0604020202020204" pitchFamily="34" charset="0"/>
                        </a:rPr>
                        <a:t>المفاهيم</a:t>
                      </a:r>
                      <a:endParaRPr sz="1400" b="1" dirty="0">
                        <a:latin typeface="Arial" panose="020B0604020202020204" pitchFamily="34" charset="0"/>
                        <a:cs typeface="Arial" panose="020B0604020202020204" pitchFamily="34" charset="0"/>
                      </a:endParaRPr>
                    </a:p>
                  </a:txBody>
                  <a:tcPr marL="0" marR="0" marT="113664" marB="0">
                    <a:lnB w="9525">
                      <a:solidFill>
                        <a:srgbClr val="9F9F9F"/>
                      </a:solidFill>
                      <a:prstDash val="solid"/>
                    </a:lnB>
                    <a:solidFill>
                      <a:srgbClr val="A36C3F"/>
                    </a:solidFill>
                  </a:tcPr>
                </a:tc>
                <a:extLst>
                  <a:ext uri="{0D108BD9-81ED-4DB2-BD59-A6C34878D82A}">
                    <a16:rowId xmlns:a16="http://schemas.microsoft.com/office/drawing/2014/main" val="10000"/>
                  </a:ext>
                </a:extLst>
              </a:tr>
              <a:tr h="249019">
                <a:tc gridSpan="2">
                  <a:txBody>
                    <a:bodyPr/>
                    <a:lstStyle/>
                    <a:p>
                      <a:pPr marL="964565" algn="ctr" rtl="0">
                        <a:lnSpc>
                          <a:spcPct val="100000"/>
                        </a:lnSpc>
                        <a:spcBef>
                          <a:spcPts val="180"/>
                        </a:spcBef>
                      </a:pPr>
                      <a:r>
                        <a:rPr lang="en-US" sz="1400" spc="-25" dirty="0">
                          <a:solidFill>
                            <a:srgbClr val="5F5F5F"/>
                          </a:solidFill>
                          <a:latin typeface="Arial" panose="020B0604020202020204" pitchFamily="34" charset="0"/>
                          <a:cs typeface="Arial" panose="020B0604020202020204" pitchFamily="34" charset="0"/>
                        </a:rPr>
                        <a:t>80</a:t>
                      </a:r>
                      <a:r>
                        <a:rPr sz="1400" spc="-25" dirty="0">
                          <a:solidFill>
                            <a:srgbClr val="5F5F5F"/>
                          </a:solidFill>
                          <a:latin typeface="Arial" panose="020B0604020202020204" pitchFamily="34" charset="0"/>
                          <a:cs typeface="Arial" panose="020B0604020202020204" pitchFamily="34" charset="0"/>
                        </a:rPr>
                        <a:t>%</a:t>
                      </a:r>
                      <a:endParaRPr sz="1400" dirty="0">
                        <a:latin typeface="Arial" panose="020B0604020202020204" pitchFamily="34" charset="0"/>
                        <a:cs typeface="Arial" panose="020B0604020202020204" pitchFamily="34" charset="0"/>
                      </a:endParaRPr>
                    </a:p>
                  </a:txBody>
                  <a:tcPr marL="0" marR="0" marT="22860" marB="0">
                    <a:lnL w="9525">
                      <a:solidFill>
                        <a:srgbClr val="9F9F9F"/>
                      </a:solidFill>
                      <a:prstDash val="solid"/>
                    </a:lnL>
                    <a:lnR w="9525">
                      <a:solidFill>
                        <a:srgbClr val="9F9F9F"/>
                      </a:solidFill>
                      <a:prstDash val="solid"/>
                    </a:lnR>
                    <a:lnT w="9525">
                      <a:solidFill>
                        <a:srgbClr val="9F9F9F"/>
                      </a:solidFill>
                      <a:prstDash val="solid"/>
                    </a:lnT>
                    <a:lnB w="9525">
                      <a:solidFill>
                        <a:srgbClr val="9F9F9F"/>
                      </a:solidFill>
                      <a:prstDash val="solid"/>
                    </a:lnB>
                  </a:tcPr>
                </a:tc>
                <a:tc hMerge="1">
                  <a:txBody>
                    <a:bodyPr/>
                    <a:lstStyle/>
                    <a:p>
                      <a:endParaRPr/>
                    </a:p>
                  </a:txBody>
                  <a:tcPr marL="0" marR="0" marT="0" marB="0"/>
                </a:tc>
                <a:tc vMerge="1">
                  <a:txBody>
                    <a:bodyPr/>
                    <a:lstStyle/>
                    <a:p>
                      <a:endParaRPr/>
                    </a:p>
                  </a:txBody>
                  <a:tcPr marL="0" marR="0" marT="0" marB="0"/>
                </a:tc>
                <a:tc>
                  <a:txBody>
                    <a:bodyPr/>
                    <a:lstStyle/>
                    <a:p>
                      <a:pPr marL="211454" algn="ctr" rtl="0">
                        <a:lnSpc>
                          <a:spcPct val="100000"/>
                        </a:lnSpc>
                        <a:spcBef>
                          <a:spcPts val="180"/>
                        </a:spcBef>
                      </a:pPr>
                      <a:r>
                        <a:rPr sz="1400" spc="-50" dirty="0">
                          <a:solidFill>
                            <a:srgbClr val="5F5F5F"/>
                          </a:solidFill>
                          <a:latin typeface="Arial" panose="020B0604020202020204" pitchFamily="34" charset="0"/>
                          <a:cs typeface="Arial" panose="020B0604020202020204" pitchFamily="34" charset="0"/>
                        </a:rPr>
                        <a:t>1</a:t>
                      </a:r>
                      <a:endParaRPr sz="1400">
                        <a:latin typeface="Arial" panose="020B0604020202020204" pitchFamily="34" charset="0"/>
                        <a:cs typeface="Arial" panose="020B0604020202020204" pitchFamily="34" charset="0"/>
                      </a:endParaRPr>
                    </a:p>
                  </a:txBody>
                  <a:tcPr marL="0" marR="0" marT="22860" marB="0">
                    <a:lnL w="9525">
                      <a:solidFill>
                        <a:srgbClr val="9F9F9F"/>
                      </a:solidFill>
                      <a:prstDash val="solid"/>
                    </a:lnL>
                    <a:lnT w="9525">
                      <a:solidFill>
                        <a:srgbClr val="9F9F9F"/>
                      </a:solidFill>
                      <a:prstDash val="solid"/>
                    </a:lnT>
                    <a:lnB w="9525">
                      <a:solidFill>
                        <a:srgbClr val="9F9F9F"/>
                      </a:solidFill>
                      <a:prstDash val="solid"/>
                    </a:lnB>
                  </a:tcPr>
                </a:tc>
                <a:tc>
                  <a:txBody>
                    <a:bodyPr/>
                    <a:lstStyle/>
                    <a:p>
                      <a:pPr marL="43180" algn="ctr" rtl="0">
                        <a:lnSpc>
                          <a:spcPct val="100000"/>
                        </a:lnSpc>
                        <a:spcBef>
                          <a:spcPts val="180"/>
                        </a:spcBef>
                      </a:pPr>
                      <a:r>
                        <a:rPr lang="ar-SA" sz="1400" dirty="0">
                          <a:solidFill>
                            <a:srgbClr val="5F5F5F"/>
                          </a:solidFill>
                          <a:latin typeface="Arial" panose="020B0604020202020204" pitchFamily="34" charset="0"/>
                          <a:cs typeface="Arial" panose="020B0604020202020204" pitchFamily="34" charset="0"/>
                        </a:rPr>
                        <a:t>بيان المهمة</a:t>
                      </a:r>
                    </a:p>
                  </a:txBody>
                  <a:tcPr marL="0" marR="0" marT="22860" marB="0">
                    <a:lnR w="9525">
                      <a:solidFill>
                        <a:srgbClr val="9F9F9F"/>
                      </a:solidFill>
                      <a:prstDash val="solid"/>
                    </a:lnR>
                    <a:lnT w="9525">
                      <a:solidFill>
                        <a:srgbClr val="9F9F9F"/>
                      </a:solidFill>
                      <a:prstDash val="solid"/>
                    </a:lnT>
                    <a:lnB w="9525">
                      <a:solidFill>
                        <a:srgbClr val="9F9F9F"/>
                      </a:solidFill>
                      <a:prstDash val="solid"/>
                    </a:lnB>
                  </a:tcPr>
                </a:tc>
                <a:extLst>
                  <a:ext uri="{0D108BD9-81ED-4DB2-BD59-A6C34878D82A}">
                    <a16:rowId xmlns:a16="http://schemas.microsoft.com/office/drawing/2014/main" val="10001"/>
                  </a:ext>
                </a:extLst>
              </a:tr>
              <a:tr h="249019">
                <a:tc gridSpan="2">
                  <a:txBody>
                    <a:bodyPr/>
                    <a:lstStyle/>
                    <a:p>
                      <a:pPr marL="964565" algn="ctr" rtl="0">
                        <a:lnSpc>
                          <a:spcPct val="100000"/>
                        </a:lnSpc>
                        <a:spcBef>
                          <a:spcPts val="180"/>
                        </a:spcBef>
                      </a:pPr>
                      <a:r>
                        <a:rPr sz="1400" spc="-210" dirty="0">
                          <a:solidFill>
                            <a:srgbClr val="5F5F5F"/>
                          </a:solidFill>
                          <a:latin typeface="Arial" panose="020B0604020202020204" pitchFamily="34" charset="0"/>
                          <a:cs typeface="Arial" panose="020B0604020202020204" pitchFamily="34" charset="0"/>
                        </a:rPr>
                        <a:t>#</a:t>
                      </a:r>
                      <a:r>
                        <a:rPr sz="1400" spc="-160" dirty="0">
                          <a:solidFill>
                            <a:srgbClr val="5F5F5F"/>
                          </a:solidFill>
                          <a:latin typeface="Arial" panose="020B0604020202020204" pitchFamily="34" charset="0"/>
                          <a:cs typeface="Arial" panose="020B0604020202020204" pitchFamily="34" charset="0"/>
                        </a:rPr>
                        <a:t> </a:t>
                      </a:r>
                      <a:r>
                        <a:rPr lang="ar-SA" sz="1400" spc="-10" dirty="0">
                          <a:solidFill>
                            <a:srgbClr val="5F5F5F"/>
                          </a:solidFill>
                          <a:latin typeface="Arial" panose="020B0604020202020204" pitchFamily="34" charset="0"/>
                          <a:cs typeface="Arial" panose="020B0604020202020204" pitchFamily="34" charset="0"/>
                        </a:rPr>
                        <a:t>الموظفون</a:t>
                      </a:r>
                      <a:endParaRPr sz="1400" dirty="0">
                        <a:latin typeface="Arial" panose="020B0604020202020204" pitchFamily="34" charset="0"/>
                        <a:cs typeface="Arial" panose="020B0604020202020204" pitchFamily="34" charset="0"/>
                      </a:endParaRPr>
                    </a:p>
                  </a:txBody>
                  <a:tcPr marL="0" marR="0" marT="22860" marB="0">
                    <a:lnL w="9525">
                      <a:solidFill>
                        <a:srgbClr val="9F9F9F"/>
                      </a:solidFill>
                      <a:prstDash val="solid"/>
                    </a:lnL>
                    <a:lnR w="9525">
                      <a:solidFill>
                        <a:srgbClr val="9F9F9F"/>
                      </a:solidFill>
                      <a:prstDash val="solid"/>
                    </a:lnR>
                    <a:lnT w="9525">
                      <a:solidFill>
                        <a:srgbClr val="9F9F9F"/>
                      </a:solidFill>
                      <a:prstDash val="solid"/>
                    </a:lnT>
                    <a:lnB w="9525">
                      <a:solidFill>
                        <a:srgbClr val="9F9F9F"/>
                      </a:solidFill>
                      <a:prstDash val="solid"/>
                    </a:lnB>
                  </a:tcPr>
                </a:tc>
                <a:tc hMerge="1">
                  <a:txBody>
                    <a:bodyPr/>
                    <a:lstStyle/>
                    <a:p>
                      <a:endParaRPr/>
                    </a:p>
                  </a:txBody>
                  <a:tcPr marL="0" marR="0" marT="0" marB="0"/>
                </a:tc>
                <a:tc vMerge="1">
                  <a:txBody>
                    <a:bodyPr/>
                    <a:lstStyle/>
                    <a:p>
                      <a:endParaRPr/>
                    </a:p>
                  </a:txBody>
                  <a:tcPr marL="0" marR="0" marT="0" marB="0"/>
                </a:tc>
                <a:tc>
                  <a:txBody>
                    <a:bodyPr/>
                    <a:lstStyle/>
                    <a:p>
                      <a:pPr marL="211454" algn="ctr" rtl="0">
                        <a:lnSpc>
                          <a:spcPct val="100000"/>
                        </a:lnSpc>
                        <a:spcBef>
                          <a:spcPts val="180"/>
                        </a:spcBef>
                      </a:pPr>
                      <a:r>
                        <a:rPr sz="1400" spc="-50" dirty="0">
                          <a:solidFill>
                            <a:srgbClr val="5F5F5F"/>
                          </a:solidFill>
                          <a:latin typeface="Arial" panose="020B0604020202020204" pitchFamily="34" charset="0"/>
                          <a:cs typeface="Arial" panose="020B0604020202020204" pitchFamily="34" charset="0"/>
                        </a:rPr>
                        <a:t>2</a:t>
                      </a:r>
                      <a:endParaRPr sz="1400">
                        <a:latin typeface="Arial" panose="020B0604020202020204" pitchFamily="34" charset="0"/>
                        <a:cs typeface="Arial" panose="020B0604020202020204" pitchFamily="34" charset="0"/>
                      </a:endParaRPr>
                    </a:p>
                  </a:txBody>
                  <a:tcPr marL="0" marR="0" marT="22860" marB="0">
                    <a:lnL w="9525">
                      <a:solidFill>
                        <a:srgbClr val="9F9F9F"/>
                      </a:solidFill>
                      <a:prstDash val="solid"/>
                    </a:lnL>
                    <a:lnT w="9525">
                      <a:solidFill>
                        <a:srgbClr val="9F9F9F"/>
                      </a:solidFill>
                      <a:prstDash val="solid"/>
                    </a:lnT>
                    <a:lnB w="9525">
                      <a:solidFill>
                        <a:srgbClr val="9F9F9F"/>
                      </a:solidFill>
                      <a:prstDash val="solid"/>
                    </a:lnB>
                  </a:tcPr>
                </a:tc>
                <a:tc>
                  <a:txBody>
                    <a:bodyPr/>
                    <a:lstStyle/>
                    <a:p>
                      <a:pPr marL="43180" algn="ctr" rtl="0">
                        <a:lnSpc>
                          <a:spcPct val="100000"/>
                        </a:lnSpc>
                        <a:spcBef>
                          <a:spcPts val="180"/>
                        </a:spcBef>
                      </a:pPr>
                      <a:r>
                        <a:rPr lang="ar-SA" sz="1400" dirty="0">
                          <a:solidFill>
                            <a:srgbClr val="5F5F5F"/>
                          </a:solidFill>
                          <a:latin typeface="Arial" panose="020B0604020202020204" pitchFamily="34" charset="0"/>
                          <a:cs typeface="Arial" panose="020B0604020202020204" pitchFamily="34" charset="0"/>
                        </a:rPr>
                        <a:t>بيان الرؤية</a:t>
                      </a:r>
                    </a:p>
                  </a:txBody>
                  <a:tcPr marL="0" marR="0" marT="22860" marB="0">
                    <a:lnR w="9525">
                      <a:solidFill>
                        <a:srgbClr val="9F9F9F"/>
                      </a:solidFill>
                      <a:prstDash val="solid"/>
                    </a:lnR>
                    <a:lnT w="9525">
                      <a:solidFill>
                        <a:srgbClr val="9F9F9F"/>
                      </a:solidFill>
                      <a:prstDash val="solid"/>
                    </a:lnT>
                    <a:lnB w="9525">
                      <a:solidFill>
                        <a:srgbClr val="9F9F9F"/>
                      </a:solidFill>
                      <a:prstDash val="solid"/>
                    </a:lnB>
                  </a:tcPr>
                </a:tc>
                <a:extLst>
                  <a:ext uri="{0D108BD9-81ED-4DB2-BD59-A6C34878D82A}">
                    <a16:rowId xmlns:a16="http://schemas.microsoft.com/office/drawing/2014/main" val="10002"/>
                  </a:ext>
                </a:extLst>
              </a:tr>
              <a:tr h="249019">
                <a:tc gridSpan="2">
                  <a:txBody>
                    <a:bodyPr/>
                    <a:lstStyle/>
                    <a:p>
                      <a:pPr marL="964565" algn="ctr" rtl="0">
                        <a:lnSpc>
                          <a:spcPct val="100000"/>
                        </a:lnSpc>
                        <a:spcBef>
                          <a:spcPts val="180"/>
                        </a:spcBef>
                      </a:pPr>
                      <a:r>
                        <a:rPr lang="ar-SA" sz="1400" spc="0" dirty="0">
                          <a:solidFill>
                            <a:srgbClr val="5F5F5F"/>
                          </a:solidFill>
                          <a:latin typeface="Arial" panose="020B0604020202020204" pitchFamily="34" charset="0"/>
                          <a:cs typeface="Arial" panose="020B0604020202020204" pitchFamily="34" charset="0"/>
                        </a:rPr>
                        <a:t>نسبة رضا العملاء %</a:t>
                      </a:r>
                    </a:p>
                  </a:txBody>
                  <a:tcPr marL="0" marR="0" marT="22860" marB="0">
                    <a:lnL w="9525">
                      <a:solidFill>
                        <a:srgbClr val="9F9F9F"/>
                      </a:solidFill>
                      <a:prstDash val="solid"/>
                    </a:lnL>
                    <a:lnR w="9525">
                      <a:solidFill>
                        <a:srgbClr val="9F9F9F"/>
                      </a:solidFill>
                      <a:prstDash val="solid"/>
                    </a:lnR>
                    <a:lnT w="9525">
                      <a:solidFill>
                        <a:srgbClr val="9F9F9F"/>
                      </a:solidFill>
                      <a:prstDash val="solid"/>
                    </a:lnT>
                    <a:lnB w="9525">
                      <a:solidFill>
                        <a:srgbClr val="9F9F9F"/>
                      </a:solidFill>
                      <a:prstDash val="solid"/>
                    </a:lnB>
                  </a:tcPr>
                </a:tc>
                <a:tc hMerge="1">
                  <a:txBody>
                    <a:bodyPr/>
                    <a:lstStyle/>
                    <a:p>
                      <a:endParaRPr/>
                    </a:p>
                  </a:txBody>
                  <a:tcPr marL="0" marR="0" marT="0" marB="0"/>
                </a:tc>
                <a:tc vMerge="1">
                  <a:txBody>
                    <a:bodyPr/>
                    <a:lstStyle/>
                    <a:p>
                      <a:endParaRPr/>
                    </a:p>
                  </a:txBody>
                  <a:tcPr marL="0" marR="0" marT="0" marB="0"/>
                </a:tc>
                <a:tc>
                  <a:txBody>
                    <a:bodyPr/>
                    <a:lstStyle/>
                    <a:p>
                      <a:pPr marL="211454" algn="ctr" rtl="0">
                        <a:lnSpc>
                          <a:spcPct val="100000"/>
                        </a:lnSpc>
                        <a:spcBef>
                          <a:spcPts val="180"/>
                        </a:spcBef>
                      </a:pPr>
                      <a:r>
                        <a:rPr sz="1400" spc="-50" dirty="0">
                          <a:solidFill>
                            <a:srgbClr val="5F5F5F"/>
                          </a:solidFill>
                          <a:latin typeface="Arial" panose="020B0604020202020204" pitchFamily="34" charset="0"/>
                          <a:cs typeface="Arial" panose="020B0604020202020204" pitchFamily="34" charset="0"/>
                        </a:rPr>
                        <a:t>3</a:t>
                      </a:r>
                      <a:endParaRPr sz="1400">
                        <a:latin typeface="Arial" panose="020B0604020202020204" pitchFamily="34" charset="0"/>
                        <a:cs typeface="Arial" panose="020B0604020202020204" pitchFamily="34" charset="0"/>
                      </a:endParaRPr>
                    </a:p>
                  </a:txBody>
                  <a:tcPr marL="0" marR="0" marT="22860" marB="0">
                    <a:lnL w="9525">
                      <a:solidFill>
                        <a:srgbClr val="9F9F9F"/>
                      </a:solidFill>
                      <a:prstDash val="solid"/>
                    </a:lnL>
                    <a:lnT w="9525">
                      <a:solidFill>
                        <a:srgbClr val="9F9F9F"/>
                      </a:solidFill>
                      <a:prstDash val="solid"/>
                    </a:lnT>
                    <a:lnB w="9525">
                      <a:solidFill>
                        <a:srgbClr val="9F9F9F"/>
                      </a:solidFill>
                      <a:prstDash val="solid"/>
                    </a:lnB>
                  </a:tcPr>
                </a:tc>
                <a:tc>
                  <a:txBody>
                    <a:bodyPr/>
                    <a:lstStyle/>
                    <a:p>
                      <a:pPr marL="43180" algn="ctr" rtl="0">
                        <a:lnSpc>
                          <a:spcPct val="100000"/>
                        </a:lnSpc>
                        <a:spcBef>
                          <a:spcPts val="180"/>
                        </a:spcBef>
                      </a:pPr>
                      <a:r>
                        <a:rPr lang="ar-SA" sz="1400" dirty="0">
                          <a:solidFill>
                            <a:srgbClr val="5F5F5F"/>
                          </a:solidFill>
                          <a:latin typeface="Arial" panose="020B0604020202020204" pitchFamily="34" charset="0"/>
                          <a:cs typeface="Arial" panose="020B0604020202020204" pitchFamily="34" charset="0"/>
                        </a:rPr>
                        <a:t>القيمة المؤسسية</a:t>
                      </a:r>
                    </a:p>
                  </a:txBody>
                  <a:tcPr marL="0" marR="0" marT="22860" marB="0">
                    <a:lnR w="9525">
                      <a:solidFill>
                        <a:srgbClr val="9F9F9F"/>
                      </a:solidFill>
                      <a:prstDash val="solid"/>
                    </a:lnR>
                    <a:lnT w="9525">
                      <a:solidFill>
                        <a:srgbClr val="9F9F9F"/>
                      </a:solidFill>
                      <a:prstDash val="solid"/>
                    </a:lnT>
                    <a:lnB w="9525">
                      <a:solidFill>
                        <a:srgbClr val="9F9F9F"/>
                      </a:solidFill>
                      <a:prstDash val="solid"/>
                    </a:lnB>
                  </a:tcPr>
                </a:tc>
                <a:extLst>
                  <a:ext uri="{0D108BD9-81ED-4DB2-BD59-A6C34878D82A}">
                    <a16:rowId xmlns:a16="http://schemas.microsoft.com/office/drawing/2014/main" val="10003"/>
                  </a:ext>
                </a:extLst>
              </a:tr>
              <a:tr h="249019">
                <a:tc gridSpan="2">
                  <a:txBody>
                    <a:bodyPr/>
                    <a:lstStyle/>
                    <a:p>
                      <a:pPr marL="964565" algn="ctr" rtl="0">
                        <a:lnSpc>
                          <a:spcPct val="100000"/>
                        </a:lnSpc>
                        <a:spcBef>
                          <a:spcPts val="180"/>
                        </a:spcBef>
                      </a:pPr>
                      <a:r>
                        <a:rPr lang="ar-SA" sz="1400" spc="-10" dirty="0">
                          <a:solidFill>
                            <a:srgbClr val="5F5F5F"/>
                          </a:solidFill>
                          <a:latin typeface="Arial" panose="020B0604020202020204" pitchFamily="34" charset="0"/>
                          <a:cs typeface="Arial" panose="020B0604020202020204" pitchFamily="34" charset="0"/>
                        </a:rPr>
                        <a:t>أكاديمية مهارات الموظفين</a:t>
                      </a:r>
                    </a:p>
                  </a:txBody>
                  <a:tcPr marL="0" marR="0" marT="22860" marB="0">
                    <a:lnL w="9525">
                      <a:solidFill>
                        <a:srgbClr val="9F9F9F"/>
                      </a:solidFill>
                      <a:prstDash val="solid"/>
                    </a:lnL>
                    <a:lnR w="9525">
                      <a:solidFill>
                        <a:srgbClr val="9F9F9F"/>
                      </a:solidFill>
                      <a:prstDash val="solid"/>
                    </a:lnR>
                    <a:lnT w="9525">
                      <a:solidFill>
                        <a:srgbClr val="9F9F9F"/>
                      </a:solidFill>
                      <a:prstDash val="solid"/>
                    </a:lnT>
                    <a:lnB w="9525">
                      <a:solidFill>
                        <a:srgbClr val="9F9F9F"/>
                      </a:solidFill>
                      <a:prstDash val="solid"/>
                    </a:lnB>
                  </a:tcPr>
                </a:tc>
                <a:tc hMerge="1">
                  <a:txBody>
                    <a:bodyPr/>
                    <a:lstStyle/>
                    <a:p>
                      <a:endParaRPr/>
                    </a:p>
                  </a:txBody>
                  <a:tcPr marL="0" marR="0" marT="0" marB="0"/>
                </a:tc>
                <a:tc vMerge="1">
                  <a:txBody>
                    <a:bodyPr/>
                    <a:lstStyle/>
                    <a:p>
                      <a:endParaRPr/>
                    </a:p>
                  </a:txBody>
                  <a:tcPr marL="0" marR="0" marT="0" marB="0"/>
                </a:tc>
                <a:tc>
                  <a:txBody>
                    <a:bodyPr/>
                    <a:lstStyle/>
                    <a:p>
                      <a:pPr marL="211454" algn="ctr" rtl="0">
                        <a:lnSpc>
                          <a:spcPct val="100000"/>
                        </a:lnSpc>
                        <a:spcBef>
                          <a:spcPts val="180"/>
                        </a:spcBef>
                      </a:pPr>
                      <a:r>
                        <a:rPr sz="1400" spc="-50" dirty="0">
                          <a:solidFill>
                            <a:srgbClr val="5F5F5F"/>
                          </a:solidFill>
                          <a:latin typeface="Arial" panose="020B0604020202020204" pitchFamily="34" charset="0"/>
                          <a:cs typeface="Arial" panose="020B0604020202020204" pitchFamily="34" charset="0"/>
                        </a:rPr>
                        <a:t>4</a:t>
                      </a:r>
                      <a:endParaRPr sz="1400">
                        <a:latin typeface="Arial" panose="020B0604020202020204" pitchFamily="34" charset="0"/>
                        <a:cs typeface="Arial" panose="020B0604020202020204" pitchFamily="34" charset="0"/>
                      </a:endParaRPr>
                    </a:p>
                  </a:txBody>
                  <a:tcPr marL="0" marR="0" marT="22860" marB="0">
                    <a:lnL w="9525">
                      <a:solidFill>
                        <a:srgbClr val="9F9F9F"/>
                      </a:solidFill>
                      <a:prstDash val="solid"/>
                    </a:lnL>
                    <a:lnT w="9525">
                      <a:solidFill>
                        <a:srgbClr val="9F9F9F"/>
                      </a:solidFill>
                      <a:prstDash val="solid"/>
                    </a:lnT>
                    <a:lnB w="9525">
                      <a:solidFill>
                        <a:srgbClr val="9F9F9F"/>
                      </a:solidFill>
                      <a:prstDash val="solid"/>
                    </a:lnB>
                  </a:tcPr>
                </a:tc>
                <a:tc>
                  <a:txBody>
                    <a:bodyPr/>
                    <a:lstStyle/>
                    <a:p>
                      <a:pPr marL="43180" algn="ctr" rtl="0">
                        <a:lnSpc>
                          <a:spcPct val="100000"/>
                        </a:lnSpc>
                        <a:spcBef>
                          <a:spcPts val="180"/>
                        </a:spcBef>
                      </a:pPr>
                      <a:r>
                        <a:rPr lang="ar-SA" sz="1400" spc="-10" dirty="0">
                          <a:solidFill>
                            <a:srgbClr val="5F5F5F"/>
                          </a:solidFill>
                          <a:latin typeface="Arial" panose="020B0604020202020204" pitchFamily="34" charset="0"/>
                          <a:cs typeface="Arial" panose="020B0604020202020204" pitchFamily="34" charset="0"/>
                        </a:rPr>
                        <a:t>محرك القيمة</a:t>
                      </a:r>
                    </a:p>
                  </a:txBody>
                  <a:tcPr marL="0" marR="0" marT="22860" marB="0">
                    <a:lnR w="9525">
                      <a:solidFill>
                        <a:srgbClr val="9F9F9F"/>
                      </a:solidFill>
                      <a:prstDash val="solid"/>
                    </a:lnR>
                    <a:lnT w="9525">
                      <a:solidFill>
                        <a:srgbClr val="9F9F9F"/>
                      </a:solidFill>
                      <a:prstDash val="solid"/>
                    </a:lnT>
                    <a:lnB w="9525">
                      <a:solidFill>
                        <a:srgbClr val="9F9F9F"/>
                      </a:solidFill>
                      <a:prstDash val="solid"/>
                    </a:lnB>
                  </a:tcPr>
                </a:tc>
                <a:extLst>
                  <a:ext uri="{0D108BD9-81ED-4DB2-BD59-A6C34878D82A}">
                    <a16:rowId xmlns:a16="http://schemas.microsoft.com/office/drawing/2014/main" val="10004"/>
                  </a:ext>
                </a:extLst>
              </a:tr>
              <a:tr h="249019">
                <a:tc gridSpan="2">
                  <a:txBody>
                    <a:bodyPr/>
                    <a:lstStyle/>
                    <a:p>
                      <a:pPr marR="326390" algn="ctr" rtl="0">
                        <a:lnSpc>
                          <a:spcPct val="100000"/>
                        </a:lnSpc>
                        <a:spcBef>
                          <a:spcPts val="185"/>
                        </a:spcBef>
                      </a:pPr>
                      <a:r>
                        <a:rPr lang="ar-SA" sz="1400" dirty="0">
                          <a:solidFill>
                            <a:srgbClr val="5F5F5F"/>
                          </a:solidFill>
                          <a:latin typeface="Arial" panose="020B0604020202020204" pitchFamily="34" charset="0"/>
                          <a:cs typeface="Arial" panose="020B0604020202020204" pitchFamily="34" charset="0"/>
                        </a:rPr>
                        <a:t>إكمال 50% من الدورات التدريبية بحلول 30 يونيو</a:t>
                      </a:r>
                    </a:p>
                  </a:txBody>
                  <a:tcPr marL="0" marR="0" marT="23495" marB="0">
                    <a:lnL w="9525">
                      <a:solidFill>
                        <a:srgbClr val="9F9F9F"/>
                      </a:solidFill>
                      <a:prstDash val="solid"/>
                    </a:lnL>
                    <a:lnR w="9525">
                      <a:solidFill>
                        <a:srgbClr val="9F9F9F"/>
                      </a:solidFill>
                      <a:prstDash val="solid"/>
                    </a:lnR>
                    <a:lnT w="9525">
                      <a:solidFill>
                        <a:srgbClr val="9F9F9F"/>
                      </a:solidFill>
                      <a:prstDash val="solid"/>
                    </a:lnT>
                    <a:lnB w="9525">
                      <a:solidFill>
                        <a:srgbClr val="9F9F9F"/>
                      </a:solidFill>
                      <a:prstDash val="solid"/>
                    </a:lnB>
                  </a:tcPr>
                </a:tc>
                <a:tc hMerge="1">
                  <a:txBody>
                    <a:bodyPr/>
                    <a:lstStyle/>
                    <a:p>
                      <a:endParaRPr/>
                    </a:p>
                  </a:txBody>
                  <a:tcPr marL="0" marR="0" marT="0" marB="0"/>
                </a:tc>
                <a:tc vMerge="1">
                  <a:txBody>
                    <a:bodyPr/>
                    <a:lstStyle/>
                    <a:p>
                      <a:endParaRPr/>
                    </a:p>
                  </a:txBody>
                  <a:tcPr marL="0" marR="0" marT="0" marB="0"/>
                </a:tc>
                <a:tc>
                  <a:txBody>
                    <a:bodyPr/>
                    <a:lstStyle/>
                    <a:p>
                      <a:pPr marL="211454" algn="ctr" rtl="0">
                        <a:lnSpc>
                          <a:spcPct val="100000"/>
                        </a:lnSpc>
                        <a:spcBef>
                          <a:spcPts val="185"/>
                        </a:spcBef>
                      </a:pPr>
                      <a:r>
                        <a:rPr sz="1400" spc="-50" dirty="0">
                          <a:solidFill>
                            <a:srgbClr val="5F5F5F"/>
                          </a:solidFill>
                          <a:latin typeface="Arial" panose="020B0604020202020204" pitchFamily="34" charset="0"/>
                          <a:cs typeface="Arial" panose="020B0604020202020204" pitchFamily="34" charset="0"/>
                        </a:rPr>
                        <a:t>5</a:t>
                      </a:r>
                      <a:endParaRPr sz="1400">
                        <a:latin typeface="Arial" panose="020B0604020202020204" pitchFamily="34" charset="0"/>
                        <a:cs typeface="Arial" panose="020B0604020202020204" pitchFamily="34" charset="0"/>
                      </a:endParaRPr>
                    </a:p>
                  </a:txBody>
                  <a:tcPr marL="0" marR="0" marT="23495" marB="0">
                    <a:lnL w="9525">
                      <a:solidFill>
                        <a:srgbClr val="9F9F9F"/>
                      </a:solidFill>
                      <a:prstDash val="solid"/>
                    </a:lnL>
                    <a:lnT w="9525">
                      <a:solidFill>
                        <a:srgbClr val="9F9F9F"/>
                      </a:solidFill>
                      <a:prstDash val="solid"/>
                    </a:lnT>
                    <a:lnB w="9525">
                      <a:solidFill>
                        <a:srgbClr val="9F9F9F"/>
                      </a:solidFill>
                      <a:prstDash val="solid"/>
                    </a:lnB>
                  </a:tcPr>
                </a:tc>
                <a:tc>
                  <a:txBody>
                    <a:bodyPr/>
                    <a:lstStyle/>
                    <a:p>
                      <a:pPr marL="43180" algn="ctr" rtl="0">
                        <a:lnSpc>
                          <a:spcPct val="100000"/>
                        </a:lnSpc>
                        <a:spcBef>
                          <a:spcPts val="185"/>
                        </a:spcBef>
                      </a:pPr>
                      <a:r>
                        <a:rPr lang="ar-SA" sz="1400" spc="-20" dirty="0">
                          <a:solidFill>
                            <a:srgbClr val="5F5F5F"/>
                          </a:solidFill>
                          <a:latin typeface="Arial" panose="020B0604020202020204" pitchFamily="34" charset="0"/>
                          <a:cs typeface="Arial" panose="020B0604020202020204" pitchFamily="34" charset="0"/>
                        </a:rPr>
                        <a:t>الهدف</a:t>
                      </a:r>
                    </a:p>
                  </a:txBody>
                  <a:tcPr marL="0" marR="0" marT="23495" marB="0">
                    <a:lnR w="9525">
                      <a:solidFill>
                        <a:srgbClr val="9F9F9F"/>
                      </a:solidFill>
                      <a:prstDash val="solid"/>
                    </a:lnR>
                    <a:lnT w="9525">
                      <a:solidFill>
                        <a:srgbClr val="9F9F9F"/>
                      </a:solidFill>
                      <a:prstDash val="solid"/>
                    </a:lnT>
                    <a:lnB w="9525">
                      <a:solidFill>
                        <a:srgbClr val="9F9F9F"/>
                      </a:solidFill>
                      <a:prstDash val="solid"/>
                    </a:lnB>
                  </a:tcPr>
                </a:tc>
                <a:extLst>
                  <a:ext uri="{0D108BD9-81ED-4DB2-BD59-A6C34878D82A}">
                    <a16:rowId xmlns:a16="http://schemas.microsoft.com/office/drawing/2014/main" val="10005"/>
                  </a:ext>
                </a:extLst>
              </a:tr>
              <a:tr h="487455">
                <a:tc gridSpan="2">
                  <a:txBody>
                    <a:bodyPr/>
                    <a:lstStyle/>
                    <a:p>
                      <a:pPr marL="964565" marR="530860" algn="ctr" rtl="0">
                        <a:lnSpc>
                          <a:spcPct val="100000"/>
                        </a:lnSpc>
                        <a:spcBef>
                          <a:spcPts val="300"/>
                        </a:spcBef>
                      </a:pPr>
                      <a:r>
                        <a:rPr lang="ar-SA" sz="1400" spc="-25" dirty="0">
                          <a:solidFill>
                            <a:srgbClr val="5F5F5F"/>
                          </a:solidFill>
                          <a:latin typeface="Arial" panose="020B0604020202020204" pitchFamily="34" charset="0"/>
                          <a:cs typeface="Arial" panose="020B0604020202020204" pitchFamily="34" charset="0"/>
                        </a:rPr>
                        <a:t>تحديد الكفاءات الرئيسية التي يجب تطويرها لموظفي خدمة العملاء</a:t>
                      </a:r>
                    </a:p>
                  </a:txBody>
                  <a:tcPr marL="0" marR="0" marT="38100" marB="0">
                    <a:lnL w="9525">
                      <a:solidFill>
                        <a:srgbClr val="9F9F9F"/>
                      </a:solidFill>
                      <a:prstDash val="solid"/>
                    </a:lnL>
                    <a:lnR w="9525">
                      <a:solidFill>
                        <a:srgbClr val="9F9F9F"/>
                      </a:solidFill>
                      <a:prstDash val="solid"/>
                    </a:lnR>
                    <a:lnT w="9525">
                      <a:solidFill>
                        <a:srgbClr val="9F9F9F"/>
                      </a:solidFill>
                      <a:prstDash val="solid"/>
                    </a:lnT>
                    <a:lnB w="9525">
                      <a:solidFill>
                        <a:srgbClr val="9F9F9F"/>
                      </a:solidFill>
                      <a:prstDash val="solid"/>
                    </a:lnB>
                  </a:tcPr>
                </a:tc>
                <a:tc hMerge="1">
                  <a:txBody>
                    <a:bodyPr/>
                    <a:lstStyle/>
                    <a:p>
                      <a:endParaRPr/>
                    </a:p>
                  </a:txBody>
                  <a:tcPr marL="0" marR="0" marT="0" marB="0"/>
                </a:tc>
                <a:tc vMerge="1">
                  <a:txBody>
                    <a:bodyPr/>
                    <a:lstStyle/>
                    <a:p>
                      <a:endParaRPr/>
                    </a:p>
                  </a:txBody>
                  <a:tcPr marL="0" marR="0" marT="0" marB="0"/>
                </a:tc>
                <a:tc>
                  <a:txBody>
                    <a:bodyPr/>
                    <a:lstStyle/>
                    <a:p>
                      <a:pPr marL="211454" algn="ctr" rtl="0">
                        <a:lnSpc>
                          <a:spcPct val="100000"/>
                        </a:lnSpc>
                        <a:spcBef>
                          <a:spcPts val="1140"/>
                        </a:spcBef>
                      </a:pPr>
                      <a:r>
                        <a:rPr sz="1400" spc="-50" dirty="0">
                          <a:solidFill>
                            <a:srgbClr val="5F5F5F"/>
                          </a:solidFill>
                          <a:latin typeface="Arial" panose="020B0604020202020204" pitchFamily="34" charset="0"/>
                          <a:cs typeface="Arial" panose="020B0604020202020204" pitchFamily="34" charset="0"/>
                        </a:rPr>
                        <a:t>6</a:t>
                      </a:r>
                      <a:endParaRPr sz="1400">
                        <a:latin typeface="Arial" panose="020B0604020202020204" pitchFamily="34" charset="0"/>
                        <a:cs typeface="Arial" panose="020B0604020202020204" pitchFamily="34" charset="0"/>
                      </a:endParaRPr>
                    </a:p>
                  </a:txBody>
                  <a:tcPr marL="0" marR="0" marT="144780" marB="0">
                    <a:lnL w="9525">
                      <a:solidFill>
                        <a:srgbClr val="9F9F9F"/>
                      </a:solidFill>
                      <a:prstDash val="solid"/>
                    </a:lnL>
                    <a:lnT w="9525">
                      <a:solidFill>
                        <a:srgbClr val="9F9F9F"/>
                      </a:solidFill>
                      <a:prstDash val="solid"/>
                    </a:lnT>
                    <a:lnB w="9525">
                      <a:solidFill>
                        <a:srgbClr val="9F9F9F"/>
                      </a:solidFill>
                      <a:prstDash val="solid"/>
                    </a:lnB>
                  </a:tcPr>
                </a:tc>
                <a:tc>
                  <a:txBody>
                    <a:bodyPr/>
                    <a:lstStyle/>
                    <a:p>
                      <a:pPr marL="43180" algn="ctr" rtl="0">
                        <a:lnSpc>
                          <a:spcPct val="100000"/>
                        </a:lnSpc>
                        <a:spcBef>
                          <a:spcPts val="1140"/>
                        </a:spcBef>
                      </a:pPr>
                      <a:r>
                        <a:rPr lang="ar-SA" sz="1400" spc="-10" dirty="0">
                          <a:solidFill>
                            <a:srgbClr val="5F5F5F"/>
                          </a:solidFill>
                          <a:latin typeface="Arial" panose="020B0604020202020204" pitchFamily="34" charset="0"/>
                          <a:cs typeface="Arial" panose="020B0604020202020204" pitchFamily="34" charset="0"/>
                        </a:rPr>
                        <a:t>الهدف التفصيلي</a:t>
                      </a:r>
                      <a:endParaRPr sz="1400" dirty="0">
                        <a:latin typeface="Arial" panose="020B0604020202020204" pitchFamily="34" charset="0"/>
                        <a:cs typeface="Arial" panose="020B0604020202020204" pitchFamily="34" charset="0"/>
                      </a:endParaRPr>
                    </a:p>
                  </a:txBody>
                  <a:tcPr marL="0" marR="0" marT="144780" marB="0">
                    <a:lnR w="9525">
                      <a:solidFill>
                        <a:srgbClr val="9F9F9F"/>
                      </a:solidFill>
                      <a:prstDash val="solid"/>
                    </a:lnR>
                    <a:lnT w="9525">
                      <a:solidFill>
                        <a:srgbClr val="9F9F9F"/>
                      </a:solidFill>
                      <a:prstDash val="solid"/>
                    </a:lnT>
                    <a:lnB w="9525">
                      <a:solidFill>
                        <a:srgbClr val="9F9F9F"/>
                      </a:solidFill>
                      <a:prstDash val="solid"/>
                    </a:lnB>
                  </a:tcPr>
                </a:tc>
                <a:extLst>
                  <a:ext uri="{0D108BD9-81ED-4DB2-BD59-A6C34878D82A}">
                    <a16:rowId xmlns:a16="http://schemas.microsoft.com/office/drawing/2014/main" val="10006"/>
                  </a:ext>
                </a:extLst>
              </a:tr>
              <a:tr h="249019">
                <a:tc gridSpan="2">
                  <a:txBody>
                    <a:bodyPr/>
                    <a:lstStyle/>
                    <a:p>
                      <a:pPr marL="964565" algn="ctr" rtl="0">
                        <a:lnSpc>
                          <a:spcPct val="100000"/>
                        </a:lnSpc>
                        <a:spcBef>
                          <a:spcPts val="180"/>
                        </a:spcBef>
                      </a:pPr>
                      <a:r>
                        <a:rPr lang="ar-SA" sz="1400" spc="-10" dirty="0">
                          <a:solidFill>
                            <a:srgbClr val="5F5F5F"/>
                          </a:solidFill>
                          <a:latin typeface="Arial" panose="020B0604020202020204" pitchFamily="34" charset="0"/>
                          <a:cs typeface="Arial" panose="020B0604020202020204" pitchFamily="34" charset="0"/>
                        </a:rPr>
                        <a:t>النزاهة</a:t>
                      </a:r>
                    </a:p>
                  </a:txBody>
                  <a:tcPr marL="0" marR="0" marT="22860" marB="0">
                    <a:lnL w="9525">
                      <a:solidFill>
                        <a:srgbClr val="9F9F9F"/>
                      </a:solidFill>
                      <a:prstDash val="solid"/>
                    </a:lnL>
                    <a:lnR w="9525">
                      <a:solidFill>
                        <a:srgbClr val="9F9F9F"/>
                      </a:solidFill>
                      <a:prstDash val="solid"/>
                    </a:lnR>
                    <a:lnT w="9525">
                      <a:solidFill>
                        <a:srgbClr val="9F9F9F"/>
                      </a:solidFill>
                      <a:prstDash val="solid"/>
                    </a:lnT>
                    <a:lnB w="9525">
                      <a:solidFill>
                        <a:srgbClr val="9F9F9F"/>
                      </a:solidFill>
                      <a:prstDash val="solid"/>
                    </a:lnB>
                  </a:tcPr>
                </a:tc>
                <a:tc hMerge="1">
                  <a:txBody>
                    <a:bodyPr/>
                    <a:lstStyle/>
                    <a:p>
                      <a:endParaRPr/>
                    </a:p>
                  </a:txBody>
                  <a:tcPr marL="0" marR="0" marT="0" marB="0"/>
                </a:tc>
                <a:tc vMerge="1">
                  <a:txBody>
                    <a:bodyPr/>
                    <a:lstStyle/>
                    <a:p>
                      <a:endParaRPr/>
                    </a:p>
                  </a:txBody>
                  <a:tcPr marL="0" marR="0" marT="0" marB="0"/>
                </a:tc>
                <a:tc>
                  <a:txBody>
                    <a:bodyPr/>
                    <a:lstStyle/>
                    <a:p>
                      <a:pPr marL="211454" algn="ctr" rtl="0">
                        <a:lnSpc>
                          <a:spcPct val="100000"/>
                        </a:lnSpc>
                        <a:spcBef>
                          <a:spcPts val="180"/>
                        </a:spcBef>
                      </a:pPr>
                      <a:r>
                        <a:rPr sz="1400" spc="-50" dirty="0">
                          <a:solidFill>
                            <a:srgbClr val="5F5F5F"/>
                          </a:solidFill>
                          <a:latin typeface="Arial" panose="020B0604020202020204" pitchFamily="34" charset="0"/>
                          <a:cs typeface="Arial" panose="020B0604020202020204" pitchFamily="34" charset="0"/>
                        </a:rPr>
                        <a:t>7</a:t>
                      </a:r>
                      <a:endParaRPr sz="1400">
                        <a:latin typeface="Arial" panose="020B0604020202020204" pitchFamily="34" charset="0"/>
                        <a:cs typeface="Arial" panose="020B0604020202020204" pitchFamily="34" charset="0"/>
                      </a:endParaRPr>
                    </a:p>
                  </a:txBody>
                  <a:tcPr marL="0" marR="0" marT="22860" marB="0">
                    <a:lnL w="9525">
                      <a:solidFill>
                        <a:srgbClr val="9F9F9F"/>
                      </a:solidFill>
                      <a:prstDash val="solid"/>
                    </a:lnL>
                    <a:lnT w="9525">
                      <a:solidFill>
                        <a:srgbClr val="9F9F9F"/>
                      </a:solidFill>
                      <a:prstDash val="solid"/>
                    </a:lnT>
                    <a:lnB w="9525">
                      <a:solidFill>
                        <a:srgbClr val="9F9F9F"/>
                      </a:solidFill>
                      <a:prstDash val="solid"/>
                    </a:lnB>
                  </a:tcPr>
                </a:tc>
                <a:tc>
                  <a:txBody>
                    <a:bodyPr/>
                    <a:lstStyle/>
                    <a:p>
                      <a:pPr marL="43180" algn="ctr" rtl="0">
                        <a:lnSpc>
                          <a:spcPct val="100000"/>
                        </a:lnSpc>
                        <a:spcBef>
                          <a:spcPts val="180"/>
                        </a:spcBef>
                      </a:pPr>
                      <a:r>
                        <a:rPr lang="ar-SA" sz="1400" spc="-25" dirty="0">
                          <a:solidFill>
                            <a:srgbClr val="5F5F5F"/>
                          </a:solidFill>
                          <a:latin typeface="Arial" panose="020B0604020202020204" pitchFamily="34" charset="0"/>
                          <a:cs typeface="Arial" panose="020B0604020202020204" pitchFamily="34" charset="0"/>
                        </a:rPr>
                        <a:t>مؤشر الأداء الرئيسي</a:t>
                      </a:r>
                      <a:endParaRPr sz="1400" dirty="0">
                        <a:latin typeface="Arial" panose="020B0604020202020204" pitchFamily="34" charset="0"/>
                        <a:cs typeface="Arial" panose="020B0604020202020204" pitchFamily="34" charset="0"/>
                      </a:endParaRPr>
                    </a:p>
                  </a:txBody>
                  <a:tcPr marL="0" marR="0" marT="22860" marB="0">
                    <a:lnR w="9525">
                      <a:solidFill>
                        <a:srgbClr val="9F9F9F"/>
                      </a:solidFill>
                      <a:prstDash val="solid"/>
                    </a:lnR>
                    <a:lnT w="9525">
                      <a:solidFill>
                        <a:srgbClr val="9F9F9F"/>
                      </a:solidFill>
                      <a:prstDash val="solid"/>
                    </a:lnT>
                    <a:lnB w="9525">
                      <a:solidFill>
                        <a:srgbClr val="9F9F9F"/>
                      </a:solidFill>
                      <a:prstDash val="solid"/>
                    </a:lnB>
                  </a:tcPr>
                </a:tc>
                <a:extLst>
                  <a:ext uri="{0D108BD9-81ED-4DB2-BD59-A6C34878D82A}">
                    <a16:rowId xmlns:a16="http://schemas.microsoft.com/office/drawing/2014/main" val="10007"/>
                  </a:ext>
                </a:extLst>
              </a:tr>
              <a:tr h="249019">
                <a:tc gridSpan="2">
                  <a:txBody>
                    <a:bodyPr/>
                    <a:lstStyle/>
                    <a:p>
                      <a:pPr marL="964565" algn="ctr" rtl="0">
                        <a:lnSpc>
                          <a:spcPct val="100000"/>
                        </a:lnSpc>
                        <a:spcBef>
                          <a:spcPts val="185"/>
                        </a:spcBef>
                      </a:pPr>
                      <a:r>
                        <a:rPr lang="ar-SA" sz="1400" spc="-30" dirty="0">
                          <a:solidFill>
                            <a:srgbClr val="5F5F5F"/>
                          </a:solidFill>
                          <a:latin typeface="Arial" panose="020B0604020202020204" pitchFamily="34" charset="0"/>
                          <a:cs typeface="Arial" panose="020B0604020202020204" pitchFamily="34" charset="0"/>
                        </a:rPr>
                        <a:t>تحسين تجربة العميل</a:t>
                      </a:r>
                    </a:p>
                  </a:txBody>
                  <a:tcPr marL="0" marR="0" marT="23495" marB="0">
                    <a:lnL w="9525">
                      <a:solidFill>
                        <a:srgbClr val="9F9F9F"/>
                      </a:solidFill>
                      <a:prstDash val="solid"/>
                    </a:lnL>
                    <a:lnR w="9525">
                      <a:solidFill>
                        <a:srgbClr val="9F9F9F"/>
                      </a:solidFill>
                      <a:prstDash val="solid"/>
                    </a:lnR>
                    <a:lnT w="9525">
                      <a:solidFill>
                        <a:srgbClr val="9F9F9F"/>
                      </a:solidFill>
                      <a:prstDash val="solid"/>
                    </a:lnT>
                    <a:lnB w="9525">
                      <a:solidFill>
                        <a:srgbClr val="9F9F9F"/>
                      </a:solidFill>
                      <a:prstDash val="solid"/>
                    </a:lnB>
                  </a:tcPr>
                </a:tc>
                <a:tc hMerge="1">
                  <a:txBody>
                    <a:bodyPr/>
                    <a:lstStyle/>
                    <a:p>
                      <a:endParaRPr/>
                    </a:p>
                  </a:txBody>
                  <a:tcPr marL="0" marR="0" marT="0" marB="0"/>
                </a:tc>
                <a:tc vMerge="1">
                  <a:txBody>
                    <a:bodyPr/>
                    <a:lstStyle/>
                    <a:p>
                      <a:endParaRPr/>
                    </a:p>
                  </a:txBody>
                  <a:tcPr marL="0" marR="0"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marL="211454" algn="ctr" rtl="0">
                        <a:lnSpc>
                          <a:spcPct val="100000"/>
                        </a:lnSpc>
                        <a:spcBef>
                          <a:spcPts val="185"/>
                        </a:spcBef>
                      </a:pPr>
                      <a:r>
                        <a:rPr sz="1400" spc="-50" dirty="0">
                          <a:solidFill>
                            <a:srgbClr val="5F5F5F"/>
                          </a:solidFill>
                          <a:latin typeface="Arial" panose="020B0604020202020204" pitchFamily="34" charset="0"/>
                          <a:cs typeface="Arial" panose="020B0604020202020204" pitchFamily="34" charset="0"/>
                        </a:rPr>
                        <a:t>8</a:t>
                      </a:r>
                      <a:endParaRPr sz="1400" dirty="0">
                        <a:latin typeface="Arial" panose="020B0604020202020204" pitchFamily="34" charset="0"/>
                        <a:cs typeface="Arial" panose="020B0604020202020204" pitchFamily="34" charset="0"/>
                      </a:endParaRPr>
                    </a:p>
                  </a:txBody>
                  <a:tcPr marL="0" marR="0" marT="23495" marB="0">
                    <a:lnL w="9525">
                      <a:solidFill>
                        <a:srgbClr val="9F9F9F"/>
                      </a:solidFill>
                      <a:prstDash val="solid"/>
                    </a:lnL>
                    <a:lnT w="9525">
                      <a:solidFill>
                        <a:srgbClr val="9F9F9F"/>
                      </a:solidFill>
                      <a:prstDash val="solid"/>
                    </a:lnT>
                    <a:lnB w="9525">
                      <a:solidFill>
                        <a:srgbClr val="9F9F9F"/>
                      </a:solidFill>
                      <a:prstDash val="solid"/>
                    </a:lnB>
                  </a:tcPr>
                </a:tc>
                <a:tc>
                  <a:txBody>
                    <a:bodyPr/>
                    <a:lstStyle/>
                    <a:p>
                      <a:pPr marL="43180" algn="ctr" rtl="0">
                        <a:lnSpc>
                          <a:spcPct val="100000"/>
                        </a:lnSpc>
                        <a:spcBef>
                          <a:spcPts val="185"/>
                        </a:spcBef>
                      </a:pPr>
                      <a:r>
                        <a:rPr lang="ar-SA" sz="1400" spc="-10" dirty="0">
                          <a:solidFill>
                            <a:srgbClr val="5F5F5F"/>
                          </a:solidFill>
                          <a:latin typeface="Arial" panose="020B0604020202020204" pitchFamily="34" charset="0"/>
                          <a:cs typeface="Arial" panose="020B0604020202020204" pitchFamily="34" charset="0"/>
                        </a:rPr>
                        <a:t>الهدف المستهدف</a:t>
                      </a:r>
                      <a:endParaRPr sz="1400" dirty="0">
                        <a:latin typeface="Arial" panose="020B0604020202020204" pitchFamily="34" charset="0"/>
                        <a:cs typeface="Arial" panose="020B0604020202020204" pitchFamily="34" charset="0"/>
                      </a:endParaRPr>
                    </a:p>
                  </a:txBody>
                  <a:tcPr marL="0" marR="0" marT="23495" marB="0">
                    <a:lnR w="9525">
                      <a:solidFill>
                        <a:srgbClr val="9F9F9F"/>
                      </a:solidFill>
                      <a:prstDash val="solid"/>
                    </a:lnR>
                    <a:lnT w="9525">
                      <a:solidFill>
                        <a:srgbClr val="9F9F9F"/>
                      </a:solidFill>
                      <a:prstDash val="solid"/>
                    </a:lnT>
                    <a:lnB w="9525">
                      <a:solidFill>
                        <a:srgbClr val="9F9F9F"/>
                      </a:solidFill>
                      <a:prstDash val="solid"/>
                    </a:lnB>
                  </a:tcPr>
                </a:tc>
                <a:extLst>
                  <a:ext uri="{0D108BD9-81ED-4DB2-BD59-A6C34878D82A}">
                    <a16:rowId xmlns:a16="http://schemas.microsoft.com/office/drawing/2014/main" val="10008"/>
                  </a:ext>
                </a:extLst>
              </a:tr>
              <a:tr h="323102">
                <a:tc gridSpan="2">
                  <a:txBody>
                    <a:bodyPr/>
                    <a:lstStyle/>
                    <a:p>
                      <a:pPr marL="964565" algn="ctr" rtl="0">
                        <a:lnSpc>
                          <a:spcPct val="100000"/>
                        </a:lnSpc>
                        <a:spcBef>
                          <a:spcPts val="484"/>
                        </a:spcBef>
                      </a:pPr>
                      <a:r>
                        <a:rPr lang="ar-SA" sz="1400" dirty="0">
                          <a:solidFill>
                            <a:srgbClr val="5F5F5F"/>
                          </a:solidFill>
                          <a:latin typeface="Arial" panose="020B0604020202020204" pitchFamily="34" charset="0"/>
                          <a:cs typeface="Arial" panose="020B0604020202020204" pitchFamily="34" charset="0"/>
                        </a:rPr>
                        <a:t>نمو الأعمال</a:t>
                      </a:r>
                    </a:p>
                  </a:txBody>
                  <a:tcPr marL="0" marR="0" marT="61594" marB="0">
                    <a:lnL w="9525">
                      <a:solidFill>
                        <a:srgbClr val="9F9F9F"/>
                      </a:solidFill>
                      <a:prstDash val="solid"/>
                    </a:lnL>
                    <a:lnR w="9525">
                      <a:solidFill>
                        <a:srgbClr val="9F9F9F"/>
                      </a:solidFill>
                      <a:prstDash val="solid"/>
                    </a:lnR>
                    <a:lnT w="9525">
                      <a:solidFill>
                        <a:srgbClr val="9F9F9F"/>
                      </a:solidFill>
                      <a:prstDash val="solid"/>
                    </a:lnT>
                    <a:lnB w="9525">
                      <a:solidFill>
                        <a:srgbClr val="9F9F9F"/>
                      </a:solidFill>
                      <a:prstDash val="solid"/>
                    </a:lnB>
                  </a:tcPr>
                </a:tc>
                <a:tc hMerge="1">
                  <a:txBody>
                    <a:bodyPr/>
                    <a:lstStyle/>
                    <a:p>
                      <a:endParaRPr/>
                    </a:p>
                  </a:txBody>
                  <a:tcPr marL="0" marR="0" marT="0" marB="0"/>
                </a:tc>
                <a:tc vMerge="1">
                  <a:txBody>
                    <a:bodyPr/>
                    <a:lstStyle/>
                    <a:p>
                      <a:endParaRPr/>
                    </a:p>
                  </a:txBody>
                  <a:tcPr marL="0" marR="0" marT="0" marB="0"/>
                </a:tc>
                <a:tc>
                  <a:txBody>
                    <a:bodyPr/>
                    <a:lstStyle/>
                    <a:p>
                      <a:pPr marL="211454" algn="ctr" rtl="0">
                        <a:lnSpc>
                          <a:spcPct val="100000"/>
                        </a:lnSpc>
                        <a:spcBef>
                          <a:spcPts val="484"/>
                        </a:spcBef>
                      </a:pPr>
                      <a:r>
                        <a:rPr sz="1400" spc="-50" dirty="0">
                          <a:solidFill>
                            <a:srgbClr val="5F5F5F"/>
                          </a:solidFill>
                          <a:latin typeface="Arial" panose="020B0604020202020204" pitchFamily="34" charset="0"/>
                          <a:cs typeface="Arial" panose="020B0604020202020204" pitchFamily="34" charset="0"/>
                        </a:rPr>
                        <a:t>9</a:t>
                      </a:r>
                      <a:endParaRPr sz="1400">
                        <a:latin typeface="Arial" panose="020B0604020202020204" pitchFamily="34" charset="0"/>
                        <a:cs typeface="Arial" panose="020B0604020202020204" pitchFamily="34" charset="0"/>
                      </a:endParaRPr>
                    </a:p>
                  </a:txBody>
                  <a:tcPr marL="0" marR="0" marT="61594" marB="0">
                    <a:lnL w="9525">
                      <a:solidFill>
                        <a:srgbClr val="9F9F9F"/>
                      </a:solidFill>
                      <a:prstDash val="solid"/>
                    </a:lnL>
                    <a:lnT w="9525">
                      <a:solidFill>
                        <a:srgbClr val="9F9F9F"/>
                      </a:solidFill>
                      <a:prstDash val="solid"/>
                    </a:lnT>
                    <a:lnB w="9525">
                      <a:solidFill>
                        <a:srgbClr val="9F9F9F"/>
                      </a:solidFill>
                      <a:prstDash val="solid"/>
                    </a:lnB>
                  </a:tcPr>
                </a:tc>
                <a:tc>
                  <a:txBody>
                    <a:bodyPr/>
                    <a:lstStyle/>
                    <a:p>
                      <a:pPr marL="43180" algn="ctr" rtl="0">
                        <a:lnSpc>
                          <a:spcPct val="100000"/>
                        </a:lnSpc>
                        <a:spcBef>
                          <a:spcPts val="484"/>
                        </a:spcBef>
                      </a:pPr>
                      <a:r>
                        <a:rPr lang="ar-SA" sz="1400" spc="-10" dirty="0">
                          <a:solidFill>
                            <a:srgbClr val="5F5F5F"/>
                          </a:solidFill>
                          <a:latin typeface="Arial" panose="020B0604020202020204" pitchFamily="34" charset="0"/>
                          <a:cs typeface="Arial" panose="020B0604020202020204" pitchFamily="34" charset="0"/>
                        </a:rPr>
                        <a:t>مقياس</a:t>
                      </a:r>
                    </a:p>
                  </a:txBody>
                  <a:tcPr marL="0" marR="0" marT="61594" marB="0">
                    <a:lnR w="9525">
                      <a:solidFill>
                        <a:srgbClr val="9F9F9F"/>
                      </a:solidFill>
                      <a:prstDash val="solid"/>
                    </a:lnR>
                    <a:lnT w="9525">
                      <a:solidFill>
                        <a:srgbClr val="9F9F9F"/>
                      </a:solidFill>
                      <a:prstDash val="solid"/>
                    </a:lnT>
                    <a:lnB w="9525">
                      <a:solidFill>
                        <a:srgbClr val="9F9F9F"/>
                      </a:solidFill>
                      <a:prstDash val="solid"/>
                    </a:lnB>
                  </a:tcPr>
                </a:tc>
                <a:extLst>
                  <a:ext uri="{0D108BD9-81ED-4DB2-BD59-A6C34878D82A}">
                    <a16:rowId xmlns:a16="http://schemas.microsoft.com/office/drawing/2014/main" val="10009"/>
                  </a:ext>
                </a:extLst>
              </a:tr>
              <a:tr h="217892">
                <a:tc gridSpan="2">
                  <a:txBody>
                    <a:bodyPr/>
                    <a:lstStyle/>
                    <a:p>
                      <a:pPr marL="964565" algn="ctr" rtl="0">
                        <a:lnSpc>
                          <a:spcPct val="100000"/>
                        </a:lnSpc>
                        <a:spcBef>
                          <a:spcPts val="60"/>
                        </a:spcBef>
                      </a:pPr>
                      <a:r>
                        <a:rPr lang="ar-SA" sz="1400" spc="-10" dirty="0">
                          <a:solidFill>
                            <a:srgbClr val="5F5F5F"/>
                          </a:solidFill>
                          <a:latin typeface="Arial" panose="020B0604020202020204" pitchFamily="34" charset="0"/>
                          <a:cs typeface="Arial" panose="020B0604020202020204" pitchFamily="34" charset="0"/>
                        </a:rPr>
                        <a:t>الجودة</a:t>
                      </a:r>
                      <a:endParaRPr sz="1400" dirty="0">
                        <a:latin typeface="Arial" panose="020B0604020202020204" pitchFamily="34" charset="0"/>
                        <a:cs typeface="Arial" panose="020B0604020202020204" pitchFamily="34" charset="0"/>
                      </a:endParaRPr>
                    </a:p>
                  </a:txBody>
                  <a:tcPr marL="0" marR="0" marT="7620" marB="0">
                    <a:lnL w="9525">
                      <a:solidFill>
                        <a:srgbClr val="9F9F9F"/>
                      </a:solidFill>
                      <a:prstDash val="solid"/>
                    </a:lnL>
                    <a:lnR w="9525">
                      <a:solidFill>
                        <a:srgbClr val="9F9F9F"/>
                      </a:solidFill>
                      <a:prstDash val="solid"/>
                    </a:lnR>
                    <a:lnT w="9525">
                      <a:solidFill>
                        <a:srgbClr val="9F9F9F"/>
                      </a:solidFill>
                      <a:prstDash val="solid"/>
                    </a:lnT>
                    <a:lnB w="9525">
                      <a:solidFill>
                        <a:srgbClr val="9F9F9F"/>
                      </a:solidFill>
                      <a:prstDash val="solid"/>
                    </a:lnB>
                  </a:tcPr>
                </a:tc>
                <a:tc hMerge="1">
                  <a:txBody>
                    <a:bodyPr/>
                    <a:lstStyle/>
                    <a:p>
                      <a:endParaRPr/>
                    </a:p>
                  </a:txBody>
                  <a:tcPr marL="0" marR="0" marT="0" marB="0"/>
                </a:tc>
                <a:tc vMerge="1">
                  <a:txBody>
                    <a:bodyPr/>
                    <a:lstStyle/>
                    <a:p>
                      <a:endParaRPr/>
                    </a:p>
                  </a:txBody>
                  <a:tcPr marL="0" marR="0" marT="0" marB="0"/>
                </a:tc>
                <a:tc>
                  <a:txBody>
                    <a:bodyPr/>
                    <a:lstStyle/>
                    <a:p>
                      <a:pPr marL="158115" algn="ctr" rtl="0">
                        <a:lnSpc>
                          <a:spcPct val="100000"/>
                        </a:lnSpc>
                        <a:spcBef>
                          <a:spcPts val="60"/>
                        </a:spcBef>
                      </a:pPr>
                      <a:r>
                        <a:rPr sz="1400" spc="30" dirty="0">
                          <a:solidFill>
                            <a:srgbClr val="5F5F5F"/>
                          </a:solidFill>
                          <a:latin typeface="Arial" panose="020B0604020202020204" pitchFamily="34" charset="0"/>
                          <a:cs typeface="Arial" panose="020B0604020202020204" pitchFamily="34" charset="0"/>
                        </a:rPr>
                        <a:t>10</a:t>
                      </a:r>
                      <a:endParaRPr sz="1400">
                        <a:latin typeface="Arial" panose="020B0604020202020204" pitchFamily="34" charset="0"/>
                        <a:cs typeface="Arial" panose="020B0604020202020204" pitchFamily="34" charset="0"/>
                      </a:endParaRPr>
                    </a:p>
                  </a:txBody>
                  <a:tcPr marL="0" marR="0" marT="7620" marB="0">
                    <a:lnL w="9525">
                      <a:solidFill>
                        <a:srgbClr val="9F9F9F"/>
                      </a:solidFill>
                      <a:prstDash val="solid"/>
                    </a:lnL>
                    <a:lnT w="9525">
                      <a:solidFill>
                        <a:srgbClr val="9F9F9F"/>
                      </a:solidFill>
                      <a:prstDash val="solid"/>
                    </a:lnT>
                    <a:lnB w="9525">
                      <a:solidFill>
                        <a:srgbClr val="9F9F9F"/>
                      </a:solidFill>
                      <a:prstDash val="solid"/>
                    </a:lnB>
                  </a:tcPr>
                </a:tc>
                <a:tc>
                  <a:txBody>
                    <a:bodyPr/>
                    <a:lstStyle/>
                    <a:p>
                      <a:pPr marL="43180" algn="ctr" rtl="0">
                        <a:lnSpc>
                          <a:spcPct val="100000"/>
                        </a:lnSpc>
                        <a:spcBef>
                          <a:spcPts val="60"/>
                        </a:spcBef>
                      </a:pPr>
                      <a:r>
                        <a:rPr lang="ar-SA" sz="1400" spc="-10" dirty="0">
                          <a:solidFill>
                            <a:srgbClr val="5F5F5F"/>
                          </a:solidFill>
                          <a:latin typeface="Arial" panose="020B0604020202020204" pitchFamily="34" charset="0"/>
                          <a:cs typeface="Arial" panose="020B0604020202020204" pitchFamily="34" charset="0"/>
                        </a:rPr>
                        <a:t>برنامج</a:t>
                      </a:r>
                    </a:p>
                  </a:txBody>
                  <a:tcPr marL="0" marR="0" marT="7620" marB="0">
                    <a:lnR w="9525">
                      <a:solidFill>
                        <a:srgbClr val="9F9F9F"/>
                      </a:solidFill>
                      <a:prstDash val="solid"/>
                    </a:lnR>
                    <a:lnT w="9525">
                      <a:solidFill>
                        <a:srgbClr val="9F9F9F"/>
                      </a:solidFill>
                      <a:prstDash val="solid"/>
                    </a:lnT>
                    <a:lnB w="9525">
                      <a:solidFill>
                        <a:srgbClr val="9F9F9F"/>
                      </a:solidFill>
                      <a:prstDash val="solid"/>
                    </a:lnB>
                  </a:tcPr>
                </a:tc>
                <a:extLst>
                  <a:ext uri="{0D108BD9-81ED-4DB2-BD59-A6C34878D82A}">
                    <a16:rowId xmlns:a16="http://schemas.microsoft.com/office/drawing/2014/main" val="10010"/>
                  </a:ext>
                </a:extLst>
              </a:tr>
              <a:tr h="487455">
                <a:tc gridSpan="2">
                  <a:txBody>
                    <a:bodyPr/>
                    <a:lstStyle/>
                    <a:p>
                      <a:pPr marL="964565" marR="298450" algn="ctr" rtl="0">
                        <a:lnSpc>
                          <a:spcPct val="100000"/>
                        </a:lnSpc>
                        <a:spcBef>
                          <a:spcPts val="300"/>
                        </a:spcBef>
                      </a:pPr>
                      <a:r>
                        <a:rPr lang="ar-SA" sz="1400" dirty="0">
                          <a:solidFill>
                            <a:srgbClr val="5F5F5F"/>
                          </a:solidFill>
                          <a:latin typeface="Arial" panose="020B0604020202020204" pitchFamily="34" charset="0"/>
                          <a:cs typeface="Arial" panose="020B0604020202020204" pitchFamily="34" charset="0"/>
                        </a:rPr>
                        <a:t>أن نكون الشركة الرائدة عالميًا ونُحدث تحولًا في تجربة السفر!</a:t>
                      </a:r>
                    </a:p>
                  </a:txBody>
                  <a:tcPr marL="0" marR="0" marT="38100" marB="0">
                    <a:lnL w="9525">
                      <a:solidFill>
                        <a:srgbClr val="9F9F9F"/>
                      </a:solidFill>
                      <a:prstDash val="solid"/>
                    </a:lnL>
                    <a:lnR w="9525">
                      <a:solidFill>
                        <a:srgbClr val="9F9F9F"/>
                      </a:solidFill>
                      <a:prstDash val="solid"/>
                    </a:lnR>
                    <a:lnT w="9525">
                      <a:solidFill>
                        <a:srgbClr val="9F9F9F"/>
                      </a:solidFill>
                      <a:prstDash val="solid"/>
                    </a:lnT>
                    <a:lnB w="9525">
                      <a:solidFill>
                        <a:srgbClr val="9F9F9F"/>
                      </a:solidFill>
                      <a:prstDash val="solid"/>
                    </a:lnB>
                  </a:tcPr>
                </a:tc>
                <a:tc hMerge="1">
                  <a:txBody>
                    <a:bodyPr/>
                    <a:lstStyle/>
                    <a:p>
                      <a:endParaRPr/>
                    </a:p>
                  </a:txBody>
                  <a:tcPr marL="0" marR="0" marT="0" marB="0"/>
                </a:tc>
                <a:tc vMerge="1">
                  <a:txBody>
                    <a:bodyPr/>
                    <a:lstStyle/>
                    <a:p>
                      <a:endParaRPr/>
                    </a:p>
                  </a:txBody>
                  <a:tcPr marL="0" marR="0" marT="0" marB="0"/>
                </a:tc>
                <a:tc>
                  <a:txBody>
                    <a:bodyPr/>
                    <a:lstStyle/>
                    <a:p>
                      <a:pPr marL="158115" algn="ctr" rtl="0">
                        <a:lnSpc>
                          <a:spcPct val="100000"/>
                        </a:lnSpc>
                        <a:spcBef>
                          <a:spcPts val="1140"/>
                        </a:spcBef>
                      </a:pPr>
                      <a:r>
                        <a:rPr sz="1400" spc="30" dirty="0">
                          <a:solidFill>
                            <a:srgbClr val="5F5F5F"/>
                          </a:solidFill>
                          <a:latin typeface="Arial" panose="020B0604020202020204" pitchFamily="34" charset="0"/>
                          <a:cs typeface="Arial" panose="020B0604020202020204" pitchFamily="34" charset="0"/>
                        </a:rPr>
                        <a:t>11</a:t>
                      </a:r>
                      <a:endParaRPr sz="1400">
                        <a:latin typeface="Arial" panose="020B0604020202020204" pitchFamily="34" charset="0"/>
                        <a:cs typeface="Arial" panose="020B0604020202020204" pitchFamily="34" charset="0"/>
                      </a:endParaRPr>
                    </a:p>
                  </a:txBody>
                  <a:tcPr marL="0" marR="0" marT="144780" marB="0">
                    <a:lnL w="9525">
                      <a:solidFill>
                        <a:srgbClr val="9F9F9F"/>
                      </a:solidFill>
                      <a:prstDash val="solid"/>
                    </a:lnL>
                    <a:lnT w="9525">
                      <a:solidFill>
                        <a:srgbClr val="9F9F9F"/>
                      </a:solidFill>
                      <a:prstDash val="solid"/>
                    </a:lnT>
                    <a:lnB w="9525">
                      <a:solidFill>
                        <a:srgbClr val="9F9F9F"/>
                      </a:solidFill>
                      <a:prstDash val="solid"/>
                    </a:lnB>
                  </a:tcPr>
                </a:tc>
                <a:tc>
                  <a:txBody>
                    <a:bodyPr/>
                    <a:lstStyle/>
                    <a:p>
                      <a:pPr marL="43180" algn="ctr" rtl="0">
                        <a:lnSpc>
                          <a:spcPct val="100000"/>
                        </a:lnSpc>
                        <a:spcBef>
                          <a:spcPts val="1140"/>
                        </a:spcBef>
                      </a:pPr>
                      <a:r>
                        <a:rPr lang="ar-SA" sz="1400" spc="-10" dirty="0">
                          <a:solidFill>
                            <a:srgbClr val="5F5F5F"/>
                          </a:solidFill>
                          <a:latin typeface="Arial" panose="020B0604020202020204" pitchFamily="34" charset="0"/>
                          <a:cs typeface="Arial" panose="020B0604020202020204" pitchFamily="34" charset="0"/>
                        </a:rPr>
                        <a:t>مبادرة</a:t>
                      </a:r>
                    </a:p>
                  </a:txBody>
                  <a:tcPr marL="0" marR="0" marT="144780" marB="0">
                    <a:lnR w="9525">
                      <a:solidFill>
                        <a:srgbClr val="9F9F9F"/>
                      </a:solidFill>
                      <a:prstDash val="solid"/>
                    </a:lnR>
                    <a:lnT w="9525">
                      <a:solidFill>
                        <a:srgbClr val="9F9F9F"/>
                      </a:solidFill>
                      <a:prstDash val="solid"/>
                    </a:lnT>
                    <a:lnB w="9525">
                      <a:solidFill>
                        <a:srgbClr val="9F9F9F"/>
                      </a:solidFill>
                      <a:prstDash val="solid"/>
                    </a:lnB>
                  </a:tcPr>
                </a:tc>
                <a:extLst>
                  <a:ext uri="{0D108BD9-81ED-4DB2-BD59-A6C34878D82A}">
                    <a16:rowId xmlns:a16="http://schemas.microsoft.com/office/drawing/2014/main" val="10011"/>
                  </a:ext>
                </a:extLst>
              </a:tr>
              <a:tr h="249019">
                <a:tc gridSpan="2">
                  <a:txBody>
                    <a:bodyPr/>
                    <a:lstStyle/>
                    <a:p>
                      <a:pPr marL="964565" algn="ctr" rtl="0">
                        <a:lnSpc>
                          <a:spcPct val="100000"/>
                        </a:lnSpc>
                        <a:spcBef>
                          <a:spcPts val="185"/>
                        </a:spcBef>
                      </a:pPr>
                      <a:r>
                        <a:rPr lang="ar-SA" sz="1400" dirty="0">
                          <a:solidFill>
                            <a:srgbClr val="5F5F5F"/>
                          </a:solidFill>
                          <a:latin typeface="Arial" panose="020B0604020202020204" pitchFamily="34" charset="0"/>
                          <a:cs typeface="Arial" panose="020B0604020202020204" pitchFamily="34" charset="0"/>
                        </a:rPr>
                        <a:t>تدريب خدمة العملاء</a:t>
                      </a:r>
                    </a:p>
                  </a:txBody>
                  <a:tcPr marL="0" marR="0" marT="23495" marB="0">
                    <a:lnL w="9525">
                      <a:solidFill>
                        <a:srgbClr val="9F9F9F"/>
                      </a:solidFill>
                      <a:prstDash val="solid"/>
                    </a:lnL>
                    <a:lnR w="9525">
                      <a:solidFill>
                        <a:srgbClr val="9F9F9F"/>
                      </a:solidFill>
                      <a:prstDash val="solid"/>
                    </a:lnR>
                    <a:lnT w="9525">
                      <a:solidFill>
                        <a:srgbClr val="9F9F9F"/>
                      </a:solidFill>
                      <a:prstDash val="solid"/>
                    </a:lnT>
                    <a:lnB w="9525">
                      <a:solidFill>
                        <a:srgbClr val="9F9F9F"/>
                      </a:solidFill>
                      <a:prstDash val="solid"/>
                    </a:lnB>
                  </a:tcPr>
                </a:tc>
                <a:tc hMerge="1">
                  <a:txBody>
                    <a:bodyPr/>
                    <a:lstStyle/>
                    <a:p>
                      <a:endParaRPr/>
                    </a:p>
                  </a:txBody>
                  <a:tcPr marL="0" marR="0" marT="0" marB="0"/>
                </a:tc>
                <a:tc vMerge="1">
                  <a:txBody>
                    <a:bodyPr/>
                    <a:lstStyle/>
                    <a:p>
                      <a:endParaRPr/>
                    </a:p>
                  </a:txBody>
                  <a:tcPr marL="0" marR="0" marT="0" marB="0"/>
                </a:tc>
                <a:tc>
                  <a:txBody>
                    <a:bodyPr/>
                    <a:lstStyle/>
                    <a:p>
                      <a:pPr marL="158115" algn="ctr" rtl="0">
                        <a:lnSpc>
                          <a:spcPct val="100000"/>
                        </a:lnSpc>
                        <a:spcBef>
                          <a:spcPts val="185"/>
                        </a:spcBef>
                      </a:pPr>
                      <a:r>
                        <a:rPr sz="1400" spc="30" dirty="0">
                          <a:solidFill>
                            <a:srgbClr val="5F5F5F"/>
                          </a:solidFill>
                          <a:latin typeface="Arial" panose="020B0604020202020204" pitchFamily="34" charset="0"/>
                          <a:cs typeface="Arial" panose="020B0604020202020204" pitchFamily="34" charset="0"/>
                        </a:rPr>
                        <a:t>12</a:t>
                      </a:r>
                      <a:endParaRPr sz="1400">
                        <a:latin typeface="Arial" panose="020B0604020202020204" pitchFamily="34" charset="0"/>
                        <a:cs typeface="Arial" panose="020B0604020202020204" pitchFamily="34" charset="0"/>
                      </a:endParaRPr>
                    </a:p>
                  </a:txBody>
                  <a:tcPr marL="0" marR="0" marT="23495" marB="0">
                    <a:lnL w="9525">
                      <a:solidFill>
                        <a:srgbClr val="9F9F9F"/>
                      </a:solidFill>
                      <a:prstDash val="solid"/>
                    </a:lnL>
                    <a:lnT w="9525">
                      <a:solidFill>
                        <a:srgbClr val="9F9F9F"/>
                      </a:solidFill>
                      <a:prstDash val="solid"/>
                    </a:lnT>
                    <a:lnB w="9525">
                      <a:solidFill>
                        <a:srgbClr val="9F9F9F"/>
                      </a:solidFill>
                      <a:prstDash val="solid"/>
                    </a:lnB>
                  </a:tcPr>
                </a:tc>
                <a:tc>
                  <a:txBody>
                    <a:bodyPr/>
                    <a:lstStyle/>
                    <a:p>
                      <a:pPr marL="43180" algn="ctr" rtl="0">
                        <a:lnSpc>
                          <a:spcPct val="100000"/>
                        </a:lnSpc>
                        <a:spcBef>
                          <a:spcPts val="185"/>
                        </a:spcBef>
                      </a:pPr>
                      <a:r>
                        <a:rPr lang="ar-SA" sz="1400" spc="-10" dirty="0">
                          <a:solidFill>
                            <a:srgbClr val="5F5F5F"/>
                          </a:solidFill>
                          <a:latin typeface="Arial" panose="020B0604020202020204" pitchFamily="34" charset="0"/>
                          <a:cs typeface="Arial" panose="020B0604020202020204" pitchFamily="34" charset="0"/>
                        </a:rPr>
                        <a:t>علامة إنجاز</a:t>
                      </a:r>
                      <a:endParaRPr sz="1400" dirty="0">
                        <a:latin typeface="Arial" panose="020B0604020202020204" pitchFamily="34" charset="0"/>
                        <a:cs typeface="Arial" panose="020B0604020202020204" pitchFamily="34" charset="0"/>
                      </a:endParaRPr>
                    </a:p>
                  </a:txBody>
                  <a:tcPr marL="0" marR="0" marT="23495" marB="0">
                    <a:lnR w="9525">
                      <a:solidFill>
                        <a:srgbClr val="9F9F9F"/>
                      </a:solidFill>
                      <a:prstDash val="solid"/>
                    </a:lnR>
                    <a:lnT w="9525">
                      <a:solidFill>
                        <a:srgbClr val="9F9F9F"/>
                      </a:solidFill>
                      <a:prstDash val="solid"/>
                    </a:lnT>
                    <a:lnB w="9525">
                      <a:solidFill>
                        <a:srgbClr val="9F9F9F"/>
                      </a:solidFill>
                      <a:prstDash val="solid"/>
                    </a:lnB>
                  </a:tcPr>
                </a:tc>
                <a:extLst>
                  <a:ext uri="{0D108BD9-81ED-4DB2-BD59-A6C34878D82A}">
                    <a16:rowId xmlns:a16="http://schemas.microsoft.com/office/drawing/2014/main" val="10012"/>
                  </a:ext>
                </a:extLst>
              </a:tr>
              <a:tr h="691941">
                <a:tc gridSpan="2">
                  <a:txBody>
                    <a:bodyPr/>
                    <a:lstStyle/>
                    <a:p>
                      <a:pPr marL="964565" marR="83185" algn="ctr" rtl="0">
                        <a:lnSpc>
                          <a:spcPct val="100000"/>
                        </a:lnSpc>
                      </a:pPr>
                      <a:r>
                        <a:rPr lang="ar-SA" sz="1400" dirty="0">
                          <a:solidFill>
                            <a:srgbClr val="5F5F5F"/>
                          </a:solidFill>
                          <a:latin typeface="Arial" panose="020B0604020202020204" pitchFamily="34" charset="0"/>
                          <a:cs typeface="Arial" panose="020B0604020202020204" pitchFamily="34" charset="0"/>
                        </a:rPr>
                        <a:t>نقدّم خدمات نقل عالية الجودة من خلال تجارب سفر مصممة خصيصًا. نحن ملتزمون بتقليل أثرنا البيئي والمساهمة في تنمية المجتمعات من حولنا.</a:t>
                      </a:r>
                    </a:p>
                  </a:txBody>
                  <a:tcPr marL="0" marR="0" marT="0" marB="0">
                    <a:lnL w="9525">
                      <a:solidFill>
                        <a:srgbClr val="9F9F9F"/>
                      </a:solidFill>
                      <a:prstDash val="solid"/>
                    </a:lnL>
                    <a:lnR w="9525">
                      <a:solidFill>
                        <a:srgbClr val="9F9F9F"/>
                      </a:solidFill>
                      <a:prstDash val="solid"/>
                    </a:lnR>
                    <a:lnT w="9525">
                      <a:solidFill>
                        <a:srgbClr val="9F9F9F"/>
                      </a:solidFill>
                      <a:prstDash val="solid"/>
                    </a:lnT>
                    <a:lnB w="9525">
                      <a:solidFill>
                        <a:srgbClr val="9F9F9F"/>
                      </a:solidFill>
                      <a:prstDash val="solid"/>
                    </a:lnB>
                  </a:tcPr>
                </a:tc>
                <a:tc hMerge="1">
                  <a:txBody>
                    <a:bodyPr/>
                    <a:lstStyle/>
                    <a:p>
                      <a:endParaRPr/>
                    </a:p>
                  </a:txBody>
                  <a:tcPr marL="0" marR="0" marT="0" marB="0"/>
                </a:tc>
                <a:tc vMerge="1">
                  <a:txBody>
                    <a:bodyPr/>
                    <a:lstStyle/>
                    <a:p>
                      <a:endParaRPr/>
                    </a:p>
                  </a:txBody>
                  <a:tcPr marL="0" marR="0" marT="0" marB="0"/>
                </a:tc>
                <a:tc>
                  <a:txBody>
                    <a:bodyPr/>
                    <a:lstStyle/>
                    <a:p>
                      <a:pPr algn="ctr" rtl="0">
                        <a:lnSpc>
                          <a:spcPct val="100000"/>
                        </a:lnSpc>
                        <a:spcBef>
                          <a:spcPts val="969"/>
                        </a:spcBef>
                      </a:pPr>
                      <a:endParaRPr sz="1400" dirty="0">
                        <a:latin typeface="Arial" panose="020B0604020202020204" pitchFamily="34" charset="0"/>
                        <a:cs typeface="Arial" panose="020B0604020202020204" pitchFamily="34" charset="0"/>
                      </a:endParaRPr>
                    </a:p>
                    <a:p>
                      <a:pPr marL="158115" algn="ctr" rtl="0">
                        <a:lnSpc>
                          <a:spcPct val="100000"/>
                        </a:lnSpc>
                      </a:pPr>
                      <a:r>
                        <a:rPr sz="1400" spc="30" dirty="0">
                          <a:solidFill>
                            <a:srgbClr val="5F5F5F"/>
                          </a:solidFill>
                          <a:latin typeface="Arial" panose="020B0604020202020204" pitchFamily="34" charset="0"/>
                          <a:cs typeface="Arial" panose="020B0604020202020204" pitchFamily="34" charset="0"/>
                        </a:rPr>
                        <a:t>13</a:t>
                      </a:r>
                      <a:endParaRPr sz="1400" dirty="0">
                        <a:latin typeface="Arial" panose="020B0604020202020204" pitchFamily="34" charset="0"/>
                        <a:cs typeface="Arial" panose="020B0604020202020204" pitchFamily="34" charset="0"/>
                      </a:endParaRPr>
                    </a:p>
                  </a:txBody>
                  <a:tcPr marL="0" marR="0" marT="123189" marB="0">
                    <a:lnL w="9525">
                      <a:solidFill>
                        <a:srgbClr val="9F9F9F"/>
                      </a:solidFill>
                      <a:prstDash val="solid"/>
                    </a:lnL>
                    <a:lnT w="9525">
                      <a:solidFill>
                        <a:srgbClr val="9F9F9F"/>
                      </a:solidFill>
                      <a:prstDash val="solid"/>
                    </a:lnT>
                    <a:lnB w="9525">
                      <a:solidFill>
                        <a:srgbClr val="9F9F9F"/>
                      </a:solidFill>
                      <a:prstDash val="solid"/>
                    </a:lnB>
                  </a:tcPr>
                </a:tc>
                <a:tc>
                  <a:txBody>
                    <a:bodyPr/>
                    <a:lstStyle/>
                    <a:p>
                      <a:pPr algn="ctr" rtl="0">
                        <a:lnSpc>
                          <a:spcPct val="100000"/>
                        </a:lnSpc>
                        <a:spcBef>
                          <a:spcPts val="969"/>
                        </a:spcBef>
                      </a:pPr>
                      <a:endParaRPr sz="1400" dirty="0">
                        <a:latin typeface="Arial" panose="020B0604020202020204" pitchFamily="34" charset="0"/>
                        <a:cs typeface="Arial" panose="020B0604020202020204" pitchFamily="34" charset="0"/>
                      </a:endParaRPr>
                    </a:p>
                    <a:p>
                      <a:pPr marL="43180" algn="ctr" rtl="0">
                        <a:lnSpc>
                          <a:spcPct val="100000"/>
                        </a:lnSpc>
                      </a:pPr>
                      <a:r>
                        <a:rPr lang="ar-SA" sz="1400" spc="-20" dirty="0">
                          <a:solidFill>
                            <a:srgbClr val="5F5F5F"/>
                          </a:solidFill>
                          <a:latin typeface="Arial" panose="020B0604020202020204" pitchFamily="34" charset="0"/>
                          <a:cs typeface="Arial" panose="020B0604020202020204" pitchFamily="34" charset="0"/>
                        </a:rPr>
                        <a:t>مهمة</a:t>
                      </a:r>
                      <a:endParaRPr sz="1400" dirty="0">
                        <a:latin typeface="Arial" panose="020B0604020202020204" pitchFamily="34" charset="0"/>
                        <a:cs typeface="Arial" panose="020B0604020202020204" pitchFamily="34" charset="0"/>
                      </a:endParaRPr>
                    </a:p>
                  </a:txBody>
                  <a:tcPr marL="0" marR="0" marT="123189" marB="0">
                    <a:lnR w="9525">
                      <a:solidFill>
                        <a:srgbClr val="9F9F9F"/>
                      </a:solidFill>
                      <a:prstDash val="solid"/>
                    </a:lnR>
                    <a:lnT w="9525">
                      <a:solidFill>
                        <a:srgbClr val="9F9F9F"/>
                      </a:solidFill>
                      <a:prstDash val="solid"/>
                    </a:lnT>
                    <a:lnB w="9525">
                      <a:solidFill>
                        <a:srgbClr val="9F9F9F"/>
                      </a:solidFill>
                      <a:prstDash val="solid"/>
                    </a:lnB>
                  </a:tcPr>
                </a:tc>
                <a:extLst>
                  <a:ext uri="{0D108BD9-81ED-4DB2-BD59-A6C34878D82A}">
                    <a16:rowId xmlns:a16="http://schemas.microsoft.com/office/drawing/2014/main" val="10013"/>
                  </a:ext>
                </a:extLst>
              </a:tr>
            </a:tbl>
          </a:graphicData>
        </a:graphic>
      </p:graphicFrame>
    </p:spTree>
    <p:extLst>
      <p:ext uri="{BB962C8B-B14F-4D97-AF65-F5344CB8AC3E}">
        <p14:creationId xmlns:p14="http://schemas.microsoft.com/office/powerpoint/2010/main" val="2844991802"/>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1BC5AF-7F8B-CF31-A934-BB8CD79C530E}"/>
            </a:ext>
          </a:extLst>
        </p:cNvPr>
        <p:cNvGrpSpPr/>
        <p:nvPr/>
      </p:nvGrpSpPr>
      <p:grpSpPr>
        <a:xfrm>
          <a:off x="0" y="0"/>
          <a:ext cx="0" cy="0"/>
          <a:chOff x="0" y="0"/>
          <a:chExt cx="0" cy="0"/>
        </a:xfrm>
      </p:grpSpPr>
      <p:sp>
        <p:nvSpPr>
          <p:cNvPr id="3" name="object 2">
            <a:extLst>
              <a:ext uri="{FF2B5EF4-FFF2-40B4-BE49-F238E27FC236}">
                <a16:creationId xmlns:a16="http://schemas.microsoft.com/office/drawing/2014/main" id="{09F7702F-C72B-D28E-A7E9-8953F21D071F}"/>
              </a:ext>
            </a:extLst>
          </p:cNvPr>
          <p:cNvSpPr txBox="1">
            <a:spLocks/>
          </p:cNvSpPr>
          <p:nvPr/>
        </p:nvSpPr>
        <p:spPr>
          <a:xfrm>
            <a:off x="4468138" y="292067"/>
            <a:ext cx="10515600" cy="580633"/>
          </a:xfrm>
          <a:prstGeom prst="rect">
            <a:avLst/>
          </a:prstGeom>
        </p:spPr>
        <p:txBody>
          <a:bodyPr vert="horz" wrap="square" lIns="0" tIns="209258" rIns="0" bIns="0" rtlCol="0" anchor="ctr">
            <a:sp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31115">
              <a:spcBef>
                <a:spcPts val="100"/>
              </a:spcBef>
            </a:pPr>
            <a:r>
              <a:rPr lang="ar-SA" sz="2400" dirty="0">
                <a:solidFill>
                  <a:srgbClr val="A36C3F"/>
                </a:solidFill>
                <a:latin typeface="Avenir Next Arabic Demi" panose="020B0703020202020204" pitchFamily="34" charset="-78"/>
                <a:cs typeface="Avenir Next Arabic Demi" panose="020B0703020202020204" pitchFamily="34" charset="-78"/>
              </a:rPr>
              <a:t>المستويات التنظيمية</a:t>
            </a:r>
          </a:p>
        </p:txBody>
      </p:sp>
      <p:pic>
        <p:nvPicPr>
          <p:cNvPr id="4" name="object 4">
            <a:extLst>
              <a:ext uri="{FF2B5EF4-FFF2-40B4-BE49-F238E27FC236}">
                <a16:creationId xmlns:a16="http://schemas.microsoft.com/office/drawing/2014/main" id="{DC0E3009-98AE-4778-3826-BC96FF529DAF}"/>
              </a:ext>
            </a:extLst>
          </p:cNvPr>
          <p:cNvPicPr/>
          <p:nvPr/>
        </p:nvPicPr>
        <p:blipFill>
          <a:blip r:embed="rId3" cstate="print"/>
          <a:stretch>
            <a:fillRect/>
          </a:stretch>
        </p:blipFill>
        <p:spPr>
          <a:xfrm>
            <a:off x="1805928" y="1473638"/>
            <a:ext cx="5497093" cy="1575919"/>
          </a:xfrm>
          <a:prstGeom prst="rect">
            <a:avLst/>
          </a:prstGeom>
        </p:spPr>
      </p:pic>
      <p:sp>
        <p:nvSpPr>
          <p:cNvPr id="6" name="object 5">
            <a:extLst>
              <a:ext uri="{FF2B5EF4-FFF2-40B4-BE49-F238E27FC236}">
                <a16:creationId xmlns:a16="http://schemas.microsoft.com/office/drawing/2014/main" id="{1C837C51-D71E-801F-6887-7F8126D1586C}"/>
              </a:ext>
            </a:extLst>
          </p:cNvPr>
          <p:cNvSpPr/>
          <p:nvPr/>
        </p:nvSpPr>
        <p:spPr>
          <a:xfrm>
            <a:off x="1822705" y="1481328"/>
            <a:ext cx="5413375" cy="1501140"/>
          </a:xfrm>
          <a:custGeom>
            <a:avLst/>
            <a:gdLst/>
            <a:ahLst/>
            <a:cxnLst/>
            <a:rect l="l" t="t" r="r" b="b"/>
            <a:pathLst>
              <a:path w="5413375" h="1501139">
                <a:moveTo>
                  <a:pt x="5233797" y="0"/>
                </a:moveTo>
                <a:lnTo>
                  <a:pt x="179463" y="0"/>
                </a:lnTo>
                <a:lnTo>
                  <a:pt x="131752" y="6413"/>
                </a:lnTo>
                <a:lnTo>
                  <a:pt x="88881" y="24511"/>
                </a:lnTo>
                <a:lnTo>
                  <a:pt x="52560" y="52577"/>
                </a:lnTo>
                <a:lnTo>
                  <a:pt x="24500" y="88900"/>
                </a:lnTo>
                <a:lnTo>
                  <a:pt x="6410" y="131762"/>
                </a:lnTo>
                <a:lnTo>
                  <a:pt x="0" y="179450"/>
                </a:lnTo>
                <a:lnTo>
                  <a:pt x="0" y="1321689"/>
                </a:lnTo>
                <a:lnTo>
                  <a:pt x="6410" y="1369377"/>
                </a:lnTo>
                <a:lnTo>
                  <a:pt x="24500" y="1412239"/>
                </a:lnTo>
                <a:lnTo>
                  <a:pt x="52560" y="1448562"/>
                </a:lnTo>
                <a:lnTo>
                  <a:pt x="88881" y="1476628"/>
                </a:lnTo>
                <a:lnTo>
                  <a:pt x="131752" y="1494726"/>
                </a:lnTo>
                <a:lnTo>
                  <a:pt x="179463" y="1501139"/>
                </a:lnTo>
                <a:lnTo>
                  <a:pt x="5233797" y="1501139"/>
                </a:lnTo>
                <a:lnTo>
                  <a:pt x="5281485" y="1494726"/>
                </a:lnTo>
                <a:lnTo>
                  <a:pt x="5324348" y="1476628"/>
                </a:lnTo>
                <a:lnTo>
                  <a:pt x="5360670" y="1448562"/>
                </a:lnTo>
                <a:lnTo>
                  <a:pt x="5388737" y="1412239"/>
                </a:lnTo>
                <a:lnTo>
                  <a:pt x="5406834" y="1369377"/>
                </a:lnTo>
                <a:lnTo>
                  <a:pt x="5413248" y="1321689"/>
                </a:lnTo>
                <a:lnTo>
                  <a:pt x="5413248" y="179450"/>
                </a:lnTo>
                <a:lnTo>
                  <a:pt x="5406834" y="131762"/>
                </a:lnTo>
                <a:lnTo>
                  <a:pt x="5388737" y="88900"/>
                </a:lnTo>
                <a:lnTo>
                  <a:pt x="5360670" y="52577"/>
                </a:lnTo>
                <a:lnTo>
                  <a:pt x="5324348" y="24511"/>
                </a:lnTo>
                <a:lnTo>
                  <a:pt x="5281485" y="6413"/>
                </a:lnTo>
                <a:lnTo>
                  <a:pt x="5233797" y="0"/>
                </a:lnTo>
                <a:close/>
              </a:path>
            </a:pathLst>
          </a:custGeom>
          <a:solidFill>
            <a:srgbClr val="FFFFFF"/>
          </a:solidFill>
        </p:spPr>
        <p:txBody>
          <a:bodyPr wrap="square" lIns="0" tIns="0" rIns="0" bIns="0" rtlCol="0"/>
          <a:lstStyle/>
          <a:p>
            <a:endParaRPr/>
          </a:p>
        </p:txBody>
      </p:sp>
      <p:pic>
        <p:nvPicPr>
          <p:cNvPr id="8" name="object 7">
            <a:extLst>
              <a:ext uri="{FF2B5EF4-FFF2-40B4-BE49-F238E27FC236}">
                <a16:creationId xmlns:a16="http://schemas.microsoft.com/office/drawing/2014/main" id="{C8C82B96-6EA8-6329-701D-AA055E7660C0}"/>
              </a:ext>
            </a:extLst>
          </p:cNvPr>
          <p:cNvPicPr/>
          <p:nvPr/>
        </p:nvPicPr>
        <p:blipFill>
          <a:blip r:embed="rId4" cstate="print"/>
          <a:stretch>
            <a:fillRect/>
          </a:stretch>
        </p:blipFill>
        <p:spPr>
          <a:xfrm>
            <a:off x="2226565" y="1577301"/>
            <a:ext cx="1636776" cy="475526"/>
          </a:xfrm>
          <a:prstGeom prst="rect">
            <a:avLst/>
          </a:prstGeom>
        </p:spPr>
      </p:pic>
      <p:sp>
        <p:nvSpPr>
          <p:cNvPr id="9" name="object 8">
            <a:extLst>
              <a:ext uri="{FF2B5EF4-FFF2-40B4-BE49-F238E27FC236}">
                <a16:creationId xmlns:a16="http://schemas.microsoft.com/office/drawing/2014/main" id="{263E942E-174F-34B0-F309-6DE600A77DE5}"/>
              </a:ext>
            </a:extLst>
          </p:cNvPr>
          <p:cNvSpPr/>
          <p:nvPr/>
        </p:nvSpPr>
        <p:spPr>
          <a:xfrm>
            <a:off x="2080261" y="1568196"/>
            <a:ext cx="1838325" cy="391795"/>
          </a:xfrm>
          <a:custGeom>
            <a:avLst/>
            <a:gdLst/>
            <a:ahLst/>
            <a:cxnLst/>
            <a:rect l="l" t="t" r="r" b="b"/>
            <a:pathLst>
              <a:path w="1838325" h="391794">
                <a:moveTo>
                  <a:pt x="1642110" y="0"/>
                </a:moveTo>
                <a:lnTo>
                  <a:pt x="195834" y="0"/>
                </a:lnTo>
                <a:lnTo>
                  <a:pt x="150931" y="5169"/>
                </a:lnTo>
                <a:lnTo>
                  <a:pt x="109712" y="19896"/>
                </a:lnTo>
                <a:lnTo>
                  <a:pt x="73351" y="43007"/>
                </a:lnTo>
                <a:lnTo>
                  <a:pt x="43023" y="73329"/>
                </a:lnTo>
                <a:lnTo>
                  <a:pt x="19905" y="109690"/>
                </a:lnTo>
                <a:lnTo>
                  <a:pt x="5172" y="150915"/>
                </a:lnTo>
                <a:lnTo>
                  <a:pt x="0" y="195833"/>
                </a:lnTo>
                <a:lnTo>
                  <a:pt x="5172" y="240752"/>
                </a:lnTo>
                <a:lnTo>
                  <a:pt x="19905" y="281977"/>
                </a:lnTo>
                <a:lnTo>
                  <a:pt x="43023" y="318338"/>
                </a:lnTo>
                <a:lnTo>
                  <a:pt x="73351" y="348660"/>
                </a:lnTo>
                <a:lnTo>
                  <a:pt x="109712" y="371771"/>
                </a:lnTo>
                <a:lnTo>
                  <a:pt x="150931" y="386498"/>
                </a:lnTo>
                <a:lnTo>
                  <a:pt x="195834" y="391667"/>
                </a:lnTo>
                <a:lnTo>
                  <a:pt x="1642110" y="391667"/>
                </a:lnTo>
                <a:lnTo>
                  <a:pt x="1687028" y="386498"/>
                </a:lnTo>
                <a:lnTo>
                  <a:pt x="1728253" y="371771"/>
                </a:lnTo>
                <a:lnTo>
                  <a:pt x="1764614" y="348660"/>
                </a:lnTo>
                <a:lnTo>
                  <a:pt x="1794936" y="318338"/>
                </a:lnTo>
                <a:lnTo>
                  <a:pt x="1818047" y="281977"/>
                </a:lnTo>
                <a:lnTo>
                  <a:pt x="1832774" y="240752"/>
                </a:lnTo>
                <a:lnTo>
                  <a:pt x="1837944" y="195833"/>
                </a:lnTo>
                <a:lnTo>
                  <a:pt x="1832774" y="150915"/>
                </a:lnTo>
                <a:lnTo>
                  <a:pt x="1818047" y="109690"/>
                </a:lnTo>
                <a:lnTo>
                  <a:pt x="1794936" y="73329"/>
                </a:lnTo>
                <a:lnTo>
                  <a:pt x="1764614" y="43007"/>
                </a:lnTo>
                <a:lnTo>
                  <a:pt x="1728253" y="19896"/>
                </a:lnTo>
                <a:lnTo>
                  <a:pt x="1687028" y="5169"/>
                </a:lnTo>
                <a:lnTo>
                  <a:pt x="1642110" y="0"/>
                </a:lnTo>
                <a:close/>
              </a:path>
            </a:pathLst>
          </a:custGeom>
          <a:solidFill>
            <a:srgbClr val="C0A66C"/>
          </a:solidFill>
        </p:spPr>
        <p:txBody>
          <a:bodyPr wrap="square" lIns="0" tIns="0" rIns="0" bIns="0" rtlCol="0"/>
          <a:lstStyle/>
          <a:p>
            <a:endParaRPr/>
          </a:p>
        </p:txBody>
      </p:sp>
      <p:pic>
        <p:nvPicPr>
          <p:cNvPr id="10" name="object 9">
            <a:extLst>
              <a:ext uri="{FF2B5EF4-FFF2-40B4-BE49-F238E27FC236}">
                <a16:creationId xmlns:a16="http://schemas.microsoft.com/office/drawing/2014/main" id="{A7EB21A9-B70B-A5CB-D93C-5D7842A3EB70}"/>
              </a:ext>
            </a:extLst>
          </p:cNvPr>
          <p:cNvPicPr/>
          <p:nvPr/>
        </p:nvPicPr>
        <p:blipFill>
          <a:blip r:embed="rId5" cstate="print"/>
          <a:stretch>
            <a:fillRect/>
          </a:stretch>
        </p:blipFill>
        <p:spPr>
          <a:xfrm>
            <a:off x="1805931" y="3110467"/>
            <a:ext cx="7197871" cy="1635277"/>
          </a:xfrm>
          <a:prstGeom prst="rect">
            <a:avLst/>
          </a:prstGeom>
        </p:spPr>
      </p:pic>
      <p:sp>
        <p:nvSpPr>
          <p:cNvPr id="11" name="object 10">
            <a:extLst>
              <a:ext uri="{FF2B5EF4-FFF2-40B4-BE49-F238E27FC236}">
                <a16:creationId xmlns:a16="http://schemas.microsoft.com/office/drawing/2014/main" id="{7F590754-E821-932B-39D7-053B776F626A}"/>
              </a:ext>
            </a:extLst>
          </p:cNvPr>
          <p:cNvSpPr/>
          <p:nvPr/>
        </p:nvSpPr>
        <p:spPr>
          <a:xfrm>
            <a:off x="1822705" y="3118104"/>
            <a:ext cx="7114540" cy="1560830"/>
          </a:xfrm>
          <a:custGeom>
            <a:avLst/>
            <a:gdLst/>
            <a:ahLst/>
            <a:cxnLst/>
            <a:rect l="l" t="t" r="r" b="b"/>
            <a:pathLst>
              <a:path w="7114540" h="1560829">
                <a:moveTo>
                  <a:pt x="6927469" y="0"/>
                </a:moveTo>
                <a:lnTo>
                  <a:pt x="186563" y="0"/>
                </a:lnTo>
                <a:lnTo>
                  <a:pt x="136967" y="6666"/>
                </a:lnTo>
                <a:lnTo>
                  <a:pt x="92401" y="25479"/>
                </a:lnTo>
                <a:lnTo>
                  <a:pt x="54643" y="54657"/>
                </a:lnTo>
                <a:lnTo>
                  <a:pt x="25471" y="92418"/>
                </a:lnTo>
                <a:lnTo>
                  <a:pt x="6664" y="136980"/>
                </a:lnTo>
                <a:lnTo>
                  <a:pt x="0" y="186562"/>
                </a:lnTo>
                <a:lnTo>
                  <a:pt x="0" y="1374013"/>
                </a:lnTo>
                <a:lnTo>
                  <a:pt x="6664" y="1423595"/>
                </a:lnTo>
                <a:lnTo>
                  <a:pt x="25471" y="1468157"/>
                </a:lnTo>
                <a:lnTo>
                  <a:pt x="54643" y="1505918"/>
                </a:lnTo>
                <a:lnTo>
                  <a:pt x="92401" y="1535096"/>
                </a:lnTo>
                <a:lnTo>
                  <a:pt x="136967" y="1553909"/>
                </a:lnTo>
                <a:lnTo>
                  <a:pt x="186563" y="1560576"/>
                </a:lnTo>
                <a:lnTo>
                  <a:pt x="6927469" y="1560576"/>
                </a:lnTo>
                <a:lnTo>
                  <a:pt x="6977051" y="1553909"/>
                </a:lnTo>
                <a:lnTo>
                  <a:pt x="7021613" y="1535096"/>
                </a:lnTo>
                <a:lnTo>
                  <a:pt x="7059374" y="1505918"/>
                </a:lnTo>
                <a:lnTo>
                  <a:pt x="7088552" y="1468157"/>
                </a:lnTo>
                <a:lnTo>
                  <a:pt x="7107365" y="1423595"/>
                </a:lnTo>
                <a:lnTo>
                  <a:pt x="7114032" y="1374013"/>
                </a:lnTo>
                <a:lnTo>
                  <a:pt x="7114032" y="186562"/>
                </a:lnTo>
                <a:lnTo>
                  <a:pt x="7107365" y="136980"/>
                </a:lnTo>
                <a:lnTo>
                  <a:pt x="7088552" y="92418"/>
                </a:lnTo>
                <a:lnTo>
                  <a:pt x="7059374" y="54657"/>
                </a:lnTo>
                <a:lnTo>
                  <a:pt x="7021613" y="25479"/>
                </a:lnTo>
                <a:lnTo>
                  <a:pt x="6977051" y="6666"/>
                </a:lnTo>
                <a:lnTo>
                  <a:pt x="6927469" y="0"/>
                </a:lnTo>
                <a:close/>
              </a:path>
            </a:pathLst>
          </a:custGeom>
          <a:solidFill>
            <a:srgbClr val="FFFFFF"/>
          </a:solidFill>
        </p:spPr>
        <p:txBody>
          <a:bodyPr wrap="square" lIns="0" tIns="0" rIns="0" bIns="0" rtlCol="0"/>
          <a:lstStyle/>
          <a:p>
            <a:endParaRPr/>
          </a:p>
        </p:txBody>
      </p:sp>
      <p:sp>
        <p:nvSpPr>
          <p:cNvPr id="14" name="object 13">
            <a:extLst>
              <a:ext uri="{FF2B5EF4-FFF2-40B4-BE49-F238E27FC236}">
                <a16:creationId xmlns:a16="http://schemas.microsoft.com/office/drawing/2014/main" id="{BE39F3FF-9C8C-6845-37C2-8EBB46A64284}"/>
              </a:ext>
            </a:extLst>
          </p:cNvPr>
          <p:cNvSpPr/>
          <p:nvPr/>
        </p:nvSpPr>
        <p:spPr>
          <a:xfrm>
            <a:off x="2058925" y="3209544"/>
            <a:ext cx="1859280" cy="407034"/>
          </a:xfrm>
          <a:custGeom>
            <a:avLst/>
            <a:gdLst/>
            <a:ahLst/>
            <a:cxnLst/>
            <a:rect l="l" t="t" r="r" b="b"/>
            <a:pathLst>
              <a:path w="1859280" h="407035">
                <a:moveTo>
                  <a:pt x="1655826" y="0"/>
                </a:moveTo>
                <a:lnTo>
                  <a:pt x="203454" y="0"/>
                </a:lnTo>
                <a:lnTo>
                  <a:pt x="156802" y="5371"/>
                </a:lnTo>
                <a:lnTo>
                  <a:pt x="113977" y="20673"/>
                </a:lnTo>
                <a:lnTo>
                  <a:pt x="76201" y="44686"/>
                </a:lnTo>
                <a:lnTo>
                  <a:pt x="44694" y="76191"/>
                </a:lnTo>
                <a:lnTo>
                  <a:pt x="20678" y="113966"/>
                </a:lnTo>
                <a:lnTo>
                  <a:pt x="5373" y="156794"/>
                </a:lnTo>
                <a:lnTo>
                  <a:pt x="0" y="203453"/>
                </a:lnTo>
                <a:lnTo>
                  <a:pt x="5373" y="250113"/>
                </a:lnTo>
                <a:lnTo>
                  <a:pt x="20678" y="292941"/>
                </a:lnTo>
                <a:lnTo>
                  <a:pt x="44694" y="330716"/>
                </a:lnTo>
                <a:lnTo>
                  <a:pt x="76201" y="362221"/>
                </a:lnTo>
                <a:lnTo>
                  <a:pt x="113977" y="386234"/>
                </a:lnTo>
                <a:lnTo>
                  <a:pt x="156802" y="401536"/>
                </a:lnTo>
                <a:lnTo>
                  <a:pt x="203454" y="406907"/>
                </a:lnTo>
                <a:lnTo>
                  <a:pt x="1655826" y="406907"/>
                </a:lnTo>
                <a:lnTo>
                  <a:pt x="1702485" y="401536"/>
                </a:lnTo>
                <a:lnTo>
                  <a:pt x="1745313" y="386234"/>
                </a:lnTo>
                <a:lnTo>
                  <a:pt x="1783088" y="362221"/>
                </a:lnTo>
                <a:lnTo>
                  <a:pt x="1814593" y="330716"/>
                </a:lnTo>
                <a:lnTo>
                  <a:pt x="1838606" y="292941"/>
                </a:lnTo>
                <a:lnTo>
                  <a:pt x="1853908" y="250113"/>
                </a:lnTo>
                <a:lnTo>
                  <a:pt x="1859280" y="203453"/>
                </a:lnTo>
                <a:lnTo>
                  <a:pt x="1853908" y="156794"/>
                </a:lnTo>
                <a:lnTo>
                  <a:pt x="1838606" y="113966"/>
                </a:lnTo>
                <a:lnTo>
                  <a:pt x="1814593" y="76191"/>
                </a:lnTo>
                <a:lnTo>
                  <a:pt x="1783088" y="44686"/>
                </a:lnTo>
                <a:lnTo>
                  <a:pt x="1745313" y="20673"/>
                </a:lnTo>
                <a:lnTo>
                  <a:pt x="1702485" y="5371"/>
                </a:lnTo>
                <a:lnTo>
                  <a:pt x="1655826" y="0"/>
                </a:lnTo>
                <a:close/>
              </a:path>
            </a:pathLst>
          </a:custGeom>
          <a:solidFill>
            <a:srgbClr val="C0A66C"/>
          </a:solidFill>
        </p:spPr>
        <p:txBody>
          <a:bodyPr wrap="square" lIns="0" tIns="0" rIns="0" bIns="0" rtlCol="0"/>
          <a:lstStyle/>
          <a:p>
            <a:endParaRPr/>
          </a:p>
        </p:txBody>
      </p:sp>
      <p:sp>
        <p:nvSpPr>
          <p:cNvPr id="15" name="object 14">
            <a:extLst>
              <a:ext uri="{FF2B5EF4-FFF2-40B4-BE49-F238E27FC236}">
                <a16:creationId xmlns:a16="http://schemas.microsoft.com/office/drawing/2014/main" id="{60038C10-6015-3F86-8B48-61AB4BE83E2A}"/>
              </a:ext>
            </a:extLst>
          </p:cNvPr>
          <p:cNvSpPr txBox="1"/>
          <p:nvPr/>
        </p:nvSpPr>
        <p:spPr>
          <a:xfrm>
            <a:off x="1945466" y="1542524"/>
            <a:ext cx="4775754" cy="2889702"/>
          </a:xfrm>
          <a:prstGeom prst="rect">
            <a:avLst/>
          </a:prstGeom>
        </p:spPr>
        <p:txBody>
          <a:bodyPr vert="horz" wrap="square" lIns="0" tIns="13335" rIns="0" bIns="0" rtlCol="0">
            <a:spAutoFit/>
          </a:bodyPr>
          <a:lstStyle/>
          <a:p>
            <a:pPr>
              <a:lnSpc>
                <a:spcPct val="150000"/>
              </a:lnSpc>
              <a:spcBef>
                <a:spcPts val="390"/>
              </a:spcBef>
              <a:buClr>
                <a:srgbClr val="A36C3F"/>
              </a:buClr>
            </a:pPr>
            <a:endParaRPr sz="1400" dirty="0">
              <a:solidFill>
                <a:srgbClr val="A36C3F"/>
              </a:solidFill>
              <a:latin typeface="Century Gothic"/>
              <a:cs typeface="Century Gothic"/>
            </a:endParaRPr>
          </a:p>
          <a:p>
            <a:pPr marL="333375" indent="-285750">
              <a:lnSpc>
                <a:spcPct val="150000"/>
              </a:lnSpc>
              <a:buClr>
                <a:srgbClr val="A36C3F"/>
              </a:buClr>
              <a:buFont typeface="Arial" panose="020B0604020202020204" pitchFamily="34" charset="0"/>
              <a:buChar char="•"/>
              <a:tabLst>
                <a:tab pos="334010" algn="l"/>
              </a:tabLst>
            </a:pPr>
            <a:r>
              <a:rPr lang="ar-SA" sz="1600" spc="-10" dirty="0">
                <a:solidFill>
                  <a:srgbClr val="A36C3F"/>
                </a:solidFill>
                <a:latin typeface="Tahoma"/>
                <a:cs typeface="Tahoma"/>
              </a:rPr>
              <a:t>تنفيذ إدارة الأداء</a:t>
            </a:r>
          </a:p>
          <a:p>
            <a:pPr marL="333375" indent="-285750">
              <a:lnSpc>
                <a:spcPct val="150000"/>
              </a:lnSpc>
              <a:buClr>
                <a:srgbClr val="A36C3F"/>
              </a:buClr>
              <a:buFont typeface="Arial" panose="020B0604020202020204" pitchFamily="34" charset="0"/>
              <a:buChar char="•"/>
              <a:tabLst>
                <a:tab pos="334010" algn="l"/>
              </a:tabLst>
            </a:pPr>
            <a:r>
              <a:rPr lang="ar-SA" sz="1600" spc="-20" dirty="0">
                <a:solidFill>
                  <a:srgbClr val="A36C3F"/>
                </a:solidFill>
                <a:latin typeface="Tahoma"/>
                <a:cs typeface="Tahoma"/>
              </a:rPr>
              <a:t>تسلسل الأهداف ومؤشرات الأداء والقيم المستهدفة</a:t>
            </a:r>
          </a:p>
          <a:p>
            <a:pPr marL="333375" indent="-285750">
              <a:lnSpc>
                <a:spcPct val="150000"/>
              </a:lnSpc>
              <a:buClr>
                <a:srgbClr val="A36C3F"/>
              </a:buClr>
              <a:buFont typeface="Arial" panose="020B0604020202020204" pitchFamily="34" charset="0"/>
              <a:buChar char="•"/>
              <a:tabLst>
                <a:tab pos="334010" algn="l"/>
              </a:tabLst>
            </a:pPr>
            <a:r>
              <a:rPr lang="ar-SA" sz="1600" spc="-20" dirty="0">
                <a:solidFill>
                  <a:srgbClr val="A36C3F"/>
                </a:solidFill>
                <a:latin typeface="Tahoma"/>
                <a:cs typeface="Tahoma"/>
              </a:rPr>
              <a:t>مشاركة ودعم الإدارة التنفيذية</a:t>
            </a:r>
            <a:endParaRPr sz="1600" dirty="0">
              <a:solidFill>
                <a:srgbClr val="A36C3F"/>
              </a:solidFill>
              <a:latin typeface="Tahoma"/>
              <a:cs typeface="Tahoma"/>
            </a:endParaRPr>
          </a:p>
          <a:p>
            <a:pPr marL="285750" indent="-285750">
              <a:lnSpc>
                <a:spcPct val="150000"/>
              </a:lnSpc>
              <a:spcBef>
                <a:spcPts val="490"/>
              </a:spcBef>
              <a:buClr>
                <a:srgbClr val="A36C3F"/>
              </a:buClr>
              <a:buFont typeface="Arial" panose="020B0604020202020204" pitchFamily="34" charset="0"/>
              <a:buChar char="•"/>
            </a:pPr>
            <a:endParaRPr sz="1400" dirty="0">
              <a:solidFill>
                <a:srgbClr val="A36C3F"/>
              </a:solidFill>
              <a:latin typeface="Century Gothic"/>
              <a:cs typeface="Century Gothic"/>
            </a:endParaRPr>
          </a:p>
          <a:p>
            <a:pPr marL="304800" indent="-285750">
              <a:lnSpc>
                <a:spcPct val="150000"/>
              </a:lnSpc>
              <a:buClr>
                <a:srgbClr val="A36C3F"/>
              </a:buClr>
              <a:buFont typeface="Arial" panose="020B0604020202020204" pitchFamily="34" charset="0"/>
              <a:buChar char="•"/>
              <a:tabLst>
                <a:tab pos="305435" algn="l"/>
              </a:tabLst>
            </a:pPr>
            <a:r>
              <a:rPr lang="ar-SA" sz="1600" spc="-10" dirty="0">
                <a:solidFill>
                  <a:srgbClr val="A36C3F"/>
                </a:solidFill>
                <a:latin typeface="Tahoma"/>
                <a:cs typeface="Tahoma"/>
              </a:rPr>
              <a:t>تنفيذ إدارة الأداء</a:t>
            </a:r>
          </a:p>
          <a:p>
            <a:pPr marL="304800" indent="-285750">
              <a:lnSpc>
                <a:spcPct val="150000"/>
              </a:lnSpc>
              <a:buClr>
                <a:srgbClr val="A36C3F"/>
              </a:buClr>
              <a:buFont typeface="Arial" panose="020B0604020202020204" pitchFamily="34" charset="0"/>
              <a:buChar char="•"/>
              <a:tabLst>
                <a:tab pos="305435" algn="l"/>
              </a:tabLst>
            </a:pPr>
            <a:r>
              <a:rPr lang="ar-SA" sz="1600" spc="-20" dirty="0">
                <a:solidFill>
                  <a:srgbClr val="A36C3F"/>
                </a:solidFill>
                <a:latin typeface="Tahoma"/>
                <a:cs typeface="Tahoma"/>
              </a:rPr>
              <a:t>المواءمة مع الأهداف ومؤشرات الأداء والقيم المستهدفة</a:t>
            </a:r>
          </a:p>
          <a:p>
            <a:pPr marL="304800" indent="-285750">
              <a:lnSpc>
                <a:spcPct val="150000"/>
              </a:lnSpc>
              <a:buClr>
                <a:srgbClr val="A36C3F"/>
              </a:buClr>
              <a:buFont typeface="Arial" panose="020B0604020202020204" pitchFamily="34" charset="0"/>
              <a:buChar char="•"/>
              <a:tabLst>
                <a:tab pos="305435" algn="l"/>
              </a:tabLst>
            </a:pPr>
            <a:r>
              <a:rPr lang="ar-SA" sz="1600" dirty="0">
                <a:solidFill>
                  <a:srgbClr val="A36C3F"/>
                </a:solidFill>
                <a:latin typeface="Tahoma"/>
                <a:cs typeface="Tahoma"/>
              </a:rPr>
              <a:t>تقديم تغذية راجعة مستمرة للمستويات العليا والدنيا</a:t>
            </a:r>
            <a:endParaRPr sz="1600" dirty="0">
              <a:solidFill>
                <a:srgbClr val="A36C3F"/>
              </a:solidFill>
              <a:latin typeface="Tahoma"/>
              <a:cs typeface="Tahoma"/>
            </a:endParaRPr>
          </a:p>
        </p:txBody>
      </p:sp>
      <p:grpSp>
        <p:nvGrpSpPr>
          <p:cNvPr id="16" name="object 15">
            <a:extLst>
              <a:ext uri="{FF2B5EF4-FFF2-40B4-BE49-F238E27FC236}">
                <a16:creationId xmlns:a16="http://schemas.microsoft.com/office/drawing/2014/main" id="{2DBFE34C-191F-2FE4-A640-16157849A1F9}"/>
              </a:ext>
            </a:extLst>
          </p:cNvPr>
          <p:cNvGrpSpPr/>
          <p:nvPr/>
        </p:nvGrpSpPr>
        <p:grpSpPr>
          <a:xfrm>
            <a:off x="1805932" y="4899608"/>
            <a:ext cx="8651764" cy="1549987"/>
            <a:chOff x="281931" y="4899607"/>
            <a:chExt cx="8651764" cy="1549987"/>
          </a:xfrm>
        </p:grpSpPr>
        <p:pic>
          <p:nvPicPr>
            <p:cNvPr id="17" name="object 16">
              <a:extLst>
                <a:ext uri="{FF2B5EF4-FFF2-40B4-BE49-F238E27FC236}">
                  <a16:creationId xmlns:a16="http://schemas.microsoft.com/office/drawing/2014/main" id="{22B5F707-FB48-46D0-EC32-4414E9BA6B1B}"/>
                </a:ext>
              </a:extLst>
            </p:cNvPr>
            <p:cNvPicPr/>
            <p:nvPr/>
          </p:nvPicPr>
          <p:blipFill>
            <a:blip r:embed="rId6" cstate="print"/>
            <a:stretch>
              <a:fillRect/>
            </a:stretch>
          </p:blipFill>
          <p:spPr>
            <a:xfrm>
              <a:off x="281931" y="4899607"/>
              <a:ext cx="8651764" cy="1549987"/>
            </a:xfrm>
            <a:prstGeom prst="rect">
              <a:avLst/>
            </a:prstGeom>
          </p:spPr>
        </p:pic>
        <p:sp>
          <p:nvSpPr>
            <p:cNvPr id="18" name="object 17">
              <a:extLst>
                <a:ext uri="{FF2B5EF4-FFF2-40B4-BE49-F238E27FC236}">
                  <a16:creationId xmlns:a16="http://schemas.microsoft.com/office/drawing/2014/main" id="{FF96D2C5-ADBD-C955-E2F7-A50846680969}"/>
                </a:ext>
              </a:extLst>
            </p:cNvPr>
            <p:cNvSpPr/>
            <p:nvPr/>
          </p:nvSpPr>
          <p:spPr>
            <a:xfrm>
              <a:off x="298703" y="4907279"/>
              <a:ext cx="8568055" cy="1475740"/>
            </a:xfrm>
            <a:custGeom>
              <a:avLst/>
              <a:gdLst/>
              <a:ahLst/>
              <a:cxnLst/>
              <a:rect l="l" t="t" r="r" b="b"/>
              <a:pathLst>
                <a:path w="8568055" h="1475739">
                  <a:moveTo>
                    <a:pt x="8391525" y="0"/>
                  </a:moveTo>
                  <a:lnTo>
                    <a:pt x="176364" y="0"/>
                  </a:lnTo>
                  <a:lnTo>
                    <a:pt x="129478" y="6302"/>
                  </a:lnTo>
                  <a:lnTo>
                    <a:pt x="87347" y="24087"/>
                  </a:lnTo>
                  <a:lnTo>
                    <a:pt x="51654" y="51673"/>
                  </a:lnTo>
                  <a:lnTo>
                    <a:pt x="24077" y="87376"/>
                  </a:lnTo>
                  <a:lnTo>
                    <a:pt x="6299" y="129513"/>
                  </a:lnTo>
                  <a:lnTo>
                    <a:pt x="0" y="176403"/>
                  </a:lnTo>
                  <a:lnTo>
                    <a:pt x="0" y="1298867"/>
                  </a:lnTo>
                  <a:lnTo>
                    <a:pt x="6299" y="1345753"/>
                  </a:lnTo>
                  <a:lnTo>
                    <a:pt x="24077" y="1387884"/>
                  </a:lnTo>
                  <a:lnTo>
                    <a:pt x="51654" y="1423577"/>
                  </a:lnTo>
                  <a:lnTo>
                    <a:pt x="87347" y="1451154"/>
                  </a:lnTo>
                  <a:lnTo>
                    <a:pt x="129478" y="1468932"/>
                  </a:lnTo>
                  <a:lnTo>
                    <a:pt x="176364" y="1475232"/>
                  </a:lnTo>
                  <a:lnTo>
                    <a:pt x="8391525" y="1475232"/>
                  </a:lnTo>
                  <a:lnTo>
                    <a:pt x="8438414" y="1468932"/>
                  </a:lnTo>
                  <a:lnTo>
                    <a:pt x="8480552" y="1451154"/>
                  </a:lnTo>
                  <a:lnTo>
                    <a:pt x="8516254" y="1423577"/>
                  </a:lnTo>
                  <a:lnTo>
                    <a:pt x="8543840" y="1387884"/>
                  </a:lnTo>
                  <a:lnTo>
                    <a:pt x="8561625" y="1345753"/>
                  </a:lnTo>
                  <a:lnTo>
                    <a:pt x="8567928" y="1298867"/>
                  </a:lnTo>
                  <a:lnTo>
                    <a:pt x="8567928" y="176403"/>
                  </a:lnTo>
                  <a:lnTo>
                    <a:pt x="8561625" y="129513"/>
                  </a:lnTo>
                  <a:lnTo>
                    <a:pt x="8543840" y="87376"/>
                  </a:lnTo>
                  <a:lnTo>
                    <a:pt x="8516254" y="51673"/>
                  </a:lnTo>
                  <a:lnTo>
                    <a:pt x="8480552" y="24087"/>
                  </a:lnTo>
                  <a:lnTo>
                    <a:pt x="8438414" y="6302"/>
                  </a:lnTo>
                  <a:lnTo>
                    <a:pt x="8391525" y="0"/>
                  </a:lnTo>
                  <a:close/>
                </a:path>
              </a:pathLst>
            </a:custGeom>
            <a:solidFill>
              <a:srgbClr val="FFFFFF"/>
            </a:solidFill>
          </p:spPr>
          <p:txBody>
            <a:bodyPr wrap="square" lIns="0" tIns="0" rIns="0" bIns="0" rtlCol="0"/>
            <a:lstStyle/>
            <a:p>
              <a:endParaRPr/>
            </a:p>
          </p:txBody>
        </p:sp>
        <p:sp>
          <p:nvSpPr>
            <p:cNvPr id="21" name="object 20">
              <a:extLst>
                <a:ext uri="{FF2B5EF4-FFF2-40B4-BE49-F238E27FC236}">
                  <a16:creationId xmlns:a16="http://schemas.microsoft.com/office/drawing/2014/main" id="{B41589C4-73C0-16B8-08A6-108B637A6D38}"/>
                </a:ext>
              </a:extLst>
            </p:cNvPr>
            <p:cNvSpPr/>
            <p:nvPr/>
          </p:nvSpPr>
          <p:spPr>
            <a:xfrm>
              <a:off x="509015" y="4979034"/>
              <a:ext cx="1899285" cy="386080"/>
            </a:xfrm>
            <a:custGeom>
              <a:avLst/>
              <a:gdLst/>
              <a:ahLst/>
              <a:cxnLst/>
              <a:rect l="l" t="t" r="r" b="b"/>
              <a:pathLst>
                <a:path w="1899285" h="386079">
                  <a:moveTo>
                    <a:pt x="1706118" y="0"/>
                  </a:moveTo>
                  <a:lnTo>
                    <a:pt x="192786" y="0"/>
                  </a:lnTo>
                  <a:lnTo>
                    <a:pt x="148580" y="5094"/>
                  </a:lnTo>
                  <a:lnTo>
                    <a:pt x="108001" y="19603"/>
                  </a:lnTo>
                  <a:lnTo>
                    <a:pt x="72206" y="42367"/>
                  </a:lnTo>
                  <a:lnTo>
                    <a:pt x="42351" y="72227"/>
                  </a:lnTo>
                  <a:lnTo>
                    <a:pt x="19594" y="108024"/>
                  </a:lnTo>
                  <a:lnTo>
                    <a:pt x="5091" y="148596"/>
                  </a:lnTo>
                  <a:lnTo>
                    <a:pt x="0" y="192786"/>
                  </a:lnTo>
                  <a:lnTo>
                    <a:pt x="5091" y="236975"/>
                  </a:lnTo>
                  <a:lnTo>
                    <a:pt x="19594" y="277547"/>
                  </a:lnTo>
                  <a:lnTo>
                    <a:pt x="42351" y="313344"/>
                  </a:lnTo>
                  <a:lnTo>
                    <a:pt x="72206" y="343204"/>
                  </a:lnTo>
                  <a:lnTo>
                    <a:pt x="108001" y="365968"/>
                  </a:lnTo>
                  <a:lnTo>
                    <a:pt x="148580" y="380477"/>
                  </a:lnTo>
                  <a:lnTo>
                    <a:pt x="192786" y="385572"/>
                  </a:lnTo>
                  <a:lnTo>
                    <a:pt x="1706118" y="385572"/>
                  </a:lnTo>
                  <a:lnTo>
                    <a:pt x="1750307" y="380477"/>
                  </a:lnTo>
                  <a:lnTo>
                    <a:pt x="1790879" y="365968"/>
                  </a:lnTo>
                  <a:lnTo>
                    <a:pt x="1826676" y="343204"/>
                  </a:lnTo>
                  <a:lnTo>
                    <a:pt x="1856536" y="313344"/>
                  </a:lnTo>
                  <a:lnTo>
                    <a:pt x="1879300" y="277547"/>
                  </a:lnTo>
                  <a:lnTo>
                    <a:pt x="1893809" y="236975"/>
                  </a:lnTo>
                  <a:lnTo>
                    <a:pt x="1898903" y="192786"/>
                  </a:lnTo>
                  <a:lnTo>
                    <a:pt x="1893809" y="148596"/>
                  </a:lnTo>
                  <a:lnTo>
                    <a:pt x="1879300" y="108024"/>
                  </a:lnTo>
                  <a:lnTo>
                    <a:pt x="1856536" y="72227"/>
                  </a:lnTo>
                  <a:lnTo>
                    <a:pt x="1826676" y="42367"/>
                  </a:lnTo>
                  <a:lnTo>
                    <a:pt x="1790879" y="19603"/>
                  </a:lnTo>
                  <a:lnTo>
                    <a:pt x="1750307" y="5094"/>
                  </a:lnTo>
                  <a:lnTo>
                    <a:pt x="1706118" y="0"/>
                  </a:lnTo>
                  <a:close/>
                </a:path>
              </a:pathLst>
            </a:custGeom>
            <a:solidFill>
              <a:srgbClr val="C0A66C"/>
            </a:solidFill>
          </p:spPr>
          <p:txBody>
            <a:bodyPr wrap="square" lIns="0" tIns="0" rIns="0" bIns="0" rtlCol="0"/>
            <a:lstStyle/>
            <a:p>
              <a:endParaRPr dirty="0"/>
            </a:p>
          </p:txBody>
        </p:sp>
      </p:grpSp>
      <p:sp>
        <p:nvSpPr>
          <p:cNvPr id="22" name="object 21">
            <a:extLst>
              <a:ext uri="{FF2B5EF4-FFF2-40B4-BE49-F238E27FC236}">
                <a16:creationId xmlns:a16="http://schemas.microsoft.com/office/drawing/2014/main" id="{1CA75A92-EA37-C35D-B38B-68B251DA26D6}"/>
              </a:ext>
            </a:extLst>
          </p:cNvPr>
          <p:cNvSpPr txBox="1"/>
          <p:nvPr/>
        </p:nvSpPr>
        <p:spPr>
          <a:xfrm>
            <a:off x="2356426" y="5153465"/>
            <a:ext cx="4911725" cy="720710"/>
          </a:xfrm>
          <a:prstGeom prst="rect">
            <a:avLst/>
          </a:prstGeom>
        </p:spPr>
        <p:txBody>
          <a:bodyPr vert="horz" wrap="square" lIns="0" tIns="12700" rIns="0" bIns="0" rtlCol="0">
            <a:spAutoFit/>
          </a:bodyPr>
          <a:lstStyle/>
          <a:p>
            <a:pPr>
              <a:spcBef>
                <a:spcPts val="345"/>
              </a:spcBef>
              <a:buClr>
                <a:srgbClr val="C0A66C"/>
              </a:buClr>
            </a:pPr>
            <a:endParaRPr sz="1400" dirty="0">
              <a:latin typeface="Century Gothic"/>
              <a:cs typeface="Century Gothic"/>
            </a:endParaRPr>
          </a:p>
          <a:p>
            <a:pPr marL="299085" indent="-286385">
              <a:buClr>
                <a:srgbClr val="C0A66C"/>
              </a:buClr>
              <a:buFont typeface="Arial" panose="020B0604020202020204" pitchFamily="34" charset="0"/>
              <a:buChar char="•"/>
              <a:tabLst>
                <a:tab pos="299085" algn="l"/>
              </a:tabLst>
            </a:pPr>
            <a:r>
              <a:rPr lang="ar-SA" sz="1600" spc="-10" dirty="0">
                <a:solidFill>
                  <a:srgbClr val="5F5F5F"/>
                </a:solidFill>
                <a:latin typeface="Tahoma"/>
                <a:cs typeface="Tahoma"/>
              </a:rPr>
              <a:t>تنفيذ إدارة الأداء</a:t>
            </a:r>
          </a:p>
          <a:p>
            <a:pPr marL="299085" indent="-286385">
              <a:buClr>
                <a:srgbClr val="C0A66C"/>
              </a:buClr>
              <a:buFont typeface="Arial" panose="020B0604020202020204" pitchFamily="34" charset="0"/>
              <a:buChar char="•"/>
              <a:tabLst>
                <a:tab pos="299085" algn="l"/>
              </a:tabLst>
            </a:pPr>
            <a:r>
              <a:rPr lang="ar-SA" sz="1600" spc="-20" dirty="0">
                <a:solidFill>
                  <a:srgbClr val="5F5F5F"/>
                </a:solidFill>
                <a:latin typeface="Tahoma"/>
                <a:cs typeface="Tahoma"/>
              </a:rPr>
              <a:t>فهم تأثير العمل الفردي على الاستراتيجية التنظيمية</a:t>
            </a:r>
            <a:endParaRPr sz="1600" dirty="0">
              <a:latin typeface="Tahoma"/>
              <a:cs typeface="Tahoma"/>
            </a:endParaRPr>
          </a:p>
        </p:txBody>
      </p:sp>
      <p:sp>
        <p:nvSpPr>
          <p:cNvPr id="23" name="object 22">
            <a:extLst>
              <a:ext uri="{FF2B5EF4-FFF2-40B4-BE49-F238E27FC236}">
                <a16:creationId xmlns:a16="http://schemas.microsoft.com/office/drawing/2014/main" id="{32C26C18-CED4-2225-A96E-41CC83F1EB37}"/>
              </a:ext>
            </a:extLst>
          </p:cNvPr>
          <p:cNvSpPr/>
          <p:nvPr/>
        </p:nvSpPr>
        <p:spPr>
          <a:xfrm>
            <a:off x="6537960" y="2785872"/>
            <a:ext cx="2452370" cy="2479675"/>
          </a:xfrm>
          <a:custGeom>
            <a:avLst/>
            <a:gdLst/>
            <a:ahLst/>
            <a:cxnLst/>
            <a:rect l="l" t="t" r="r" b="b"/>
            <a:pathLst>
              <a:path w="2452370" h="2479675">
                <a:moveTo>
                  <a:pt x="696468" y="424434"/>
                </a:moveTo>
                <a:lnTo>
                  <a:pt x="522351" y="424434"/>
                </a:lnTo>
                <a:lnTo>
                  <a:pt x="522351" y="0"/>
                </a:lnTo>
                <a:lnTo>
                  <a:pt x="174117" y="0"/>
                </a:lnTo>
                <a:lnTo>
                  <a:pt x="174117" y="424434"/>
                </a:lnTo>
                <a:lnTo>
                  <a:pt x="0" y="424434"/>
                </a:lnTo>
                <a:lnTo>
                  <a:pt x="348234" y="772668"/>
                </a:lnTo>
                <a:lnTo>
                  <a:pt x="696468" y="424434"/>
                </a:lnTo>
                <a:close/>
              </a:path>
              <a:path w="2452370" h="2479675">
                <a:moveTo>
                  <a:pt x="2452116" y="2130552"/>
                </a:moveTo>
                <a:lnTo>
                  <a:pt x="2277618" y="2130552"/>
                </a:lnTo>
                <a:lnTo>
                  <a:pt x="2277618" y="1705356"/>
                </a:lnTo>
                <a:lnTo>
                  <a:pt x="1928622" y="1705356"/>
                </a:lnTo>
                <a:lnTo>
                  <a:pt x="1928622" y="2130552"/>
                </a:lnTo>
                <a:lnTo>
                  <a:pt x="1754124" y="2130552"/>
                </a:lnTo>
                <a:lnTo>
                  <a:pt x="2103120" y="2479548"/>
                </a:lnTo>
                <a:lnTo>
                  <a:pt x="2452116" y="2130552"/>
                </a:lnTo>
                <a:close/>
              </a:path>
            </a:pathLst>
          </a:custGeom>
          <a:solidFill>
            <a:srgbClr val="C0A66C">
              <a:alpha val="59999"/>
            </a:srgbClr>
          </a:solidFill>
        </p:spPr>
        <p:txBody>
          <a:bodyPr wrap="square" lIns="0" tIns="0" rIns="0" bIns="0" rtlCol="0"/>
          <a:lstStyle/>
          <a:p>
            <a:endParaRPr/>
          </a:p>
        </p:txBody>
      </p:sp>
    </p:spTree>
    <p:extLst>
      <p:ext uri="{BB962C8B-B14F-4D97-AF65-F5344CB8AC3E}">
        <p14:creationId xmlns:p14="http://schemas.microsoft.com/office/powerpoint/2010/main" val="2877186564"/>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AD418F-1FEB-51DF-49DC-D2986DFD044B}"/>
            </a:ext>
          </a:extLst>
        </p:cNvPr>
        <p:cNvGrpSpPr/>
        <p:nvPr/>
      </p:nvGrpSpPr>
      <p:grpSpPr>
        <a:xfrm>
          <a:off x="0" y="0"/>
          <a:ext cx="0" cy="0"/>
          <a:chOff x="0" y="0"/>
          <a:chExt cx="0" cy="0"/>
        </a:xfrm>
      </p:grpSpPr>
      <p:grpSp>
        <p:nvGrpSpPr>
          <p:cNvPr id="2" name="object 2">
            <a:extLst>
              <a:ext uri="{FF2B5EF4-FFF2-40B4-BE49-F238E27FC236}">
                <a16:creationId xmlns:a16="http://schemas.microsoft.com/office/drawing/2014/main" id="{F7563988-53B8-10FD-0B4E-7163A681C66E}"/>
              </a:ext>
            </a:extLst>
          </p:cNvPr>
          <p:cNvGrpSpPr/>
          <p:nvPr/>
        </p:nvGrpSpPr>
        <p:grpSpPr>
          <a:xfrm>
            <a:off x="3418326" y="2165583"/>
            <a:ext cx="6607175" cy="4285615"/>
            <a:chOff x="1894325" y="2165582"/>
            <a:chExt cx="6607175" cy="4285615"/>
          </a:xfrm>
        </p:grpSpPr>
        <p:pic>
          <p:nvPicPr>
            <p:cNvPr id="5" name="object 3">
              <a:extLst>
                <a:ext uri="{FF2B5EF4-FFF2-40B4-BE49-F238E27FC236}">
                  <a16:creationId xmlns:a16="http://schemas.microsoft.com/office/drawing/2014/main" id="{D59FE552-27F8-71D0-9697-D80CE032064E}"/>
                </a:ext>
              </a:extLst>
            </p:cNvPr>
            <p:cNvPicPr/>
            <p:nvPr/>
          </p:nvPicPr>
          <p:blipFill>
            <a:blip r:embed="rId3" cstate="print">
              <a:duotone>
                <a:schemeClr val="accent6">
                  <a:shade val="45000"/>
                  <a:satMod val="135000"/>
                </a:schemeClr>
                <a:prstClr val="white"/>
              </a:duotone>
            </a:blip>
            <a:stretch>
              <a:fillRect/>
            </a:stretch>
          </p:blipFill>
          <p:spPr>
            <a:xfrm>
              <a:off x="1894325" y="2165582"/>
              <a:ext cx="6606552" cy="794042"/>
            </a:xfrm>
            <a:prstGeom prst="rect">
              <a:avLst/>
            </a:prstGeom>
          </p:spPr>
        </p:pic>
        <p:sp>
          <p:nvSpPr>
            <p:cNvPr id="7" name="object 4">
              <a:extLst>
                <a:ext uri="{FF2B5EF4-FFF2-40B4-BE49-F238E27FC236}">
                  <a16:creationId xmlns:a16="http://schemas.microsoft.com/office/drawing/2014/main" id="{41FE1C3E-2002-5BD4-5786-46D9C91929B8}"/>
                </a:ext>
              </a:extLst>
            </p:cNvPr>
            <p:cNvSpPr/>
            <p:nvPr/>
          </p:nvSpPr>
          <p:spPr>
            <a:xfrm>
              <a:off x="1911095" y="2173223"/>
              <a:ext cx="6522720" cy="719455"/>
            </a:xfrm>
            <a:custGeom>
              <a:avLst/>
              <a:gdLst/>
              <a:ahLst/>
              <a:cxnLst/>
              <a:rect l="l" t="t" r="r" b="b"/>
              <a:pathLst>
                <a:path w="6522720" h="719455">
                  <a:moveTo>
                    <a:pt x="6478905" y="0"/>
                  </a:moveTo>
                  <a:lnTo>
                    <a:pt x="43815" y="0"/>
                  </a:lnTo>
                  <a:lnTo>
                    <a:pt x="26735" y="3434"/>
                  </a:lnTo>
                  <a:lnTo>
                    <a:pt x="12811" y="12811"/>
                  </a:lnTo>
                  <a:lnTo>
                    <a:pt x="3434" y="26735"/>
                  </a:lnTo>
                  <a:lnTo>
                    <a:pt x="0" y="43814"/>
                  </a:lnTo>
                  <a:lnTo>
                    <a:pt x="0" y="675513"/>
                  </a:lnTo>
                  <a:lnTo>
                    <a:pt x="3434" y="692592"/>
                  </a:lnTo>
                  <a:lnTo>
                    <a:pt x="12811" y="706516"/>
                  </a:lnTo>
                  <a:lnTo>
                    <a:pt x="26735" y="715893"/>
                  </a:lnTo>
                  <a:lnTo>
                    <a:pt x="43815" y="719327"/>
                  </a:lnTo>
                  <a:lnTo>
                    <a:pt x="6478905" y="719327"/>
                  </a:lnTo>
                  <a:lnTo>
                    <a:pt x="6495984" y="715893"/>
                  </a:lnTo>
                  <a:lnTo>
                    <a:pt x="6509908" y="706516"/>
                  </a:lnTo>
                  <a:lnTo>
                    <a:pt x="6519285" y="692592"/>
                  </a:lnTo>
                  <a:lnTo>
                    <a:pt x="6522720" y="675513"/>
                  </a:lnTo>
                  <a:lnTo>
                    <a:pt x="6522720" y="43814"/>
                  </a:lnTo>
                  <a:lnTo>
                    <a:pt x="6519285" y="26735"/>
                  </a:lnTo>
                  <a:lnTo>
                    <a:pt x="6509908" y="12811"/>
                  </a:lnTo>
                  <a:lnTo>
                    <a:pt x="6495984" y="3434"/>
                  </a:lnTo>
                  <a:lnTo>
                    <a:pt x="6478905" y="0"/>
                  </a:lnTo>
                  <a:close/>
                </a:path>
              </a:pathLst>
            </a:custGeom>
            <a:solidFill>
              <a:srgbClr val="A78B5E"/>
            </a:solidFill>
          </p:spPr>
          <p:txBody>
            <a:bodyPr wrap="square" lIns="0" tIns="0" rIns="0" bIns="0" rtlCol="0"/>
            <a:lstStyle/>
            <a:p>
              <a:endParaRPr/>
            </a:p>
          </p:txBody>
        </p:sp>
        <p:pic>
          <p:nvPicPr>
            <p:cNvPr id="12" name="object 5">
              <a:extLst>
                <a:ext uri="{FF2B5EF4-FFF2-40B4-BE49-F238E27FC236}">
                  <a16:creationId xmlns:a16="http://schemas.microsoft.com/office/drawing/2014/main" id="{4252EE4C-B89A-AEF5-6C8F-5C65175B76DB}"/>
                </a:ext>
              </a:extLst>
            </p:cNvPr>
            <p:cNvPicPr/>
            <p:nvPr/>
          </p:nvPicPr>
          <p:blipFill>
            <a:blip r:embed="rId4" cstate="print">
              <a:duotone>
                <a:schemeClr val="accent6">
                  <a:shade val="45000"/>
                  <a:satMod val="135000"/>
                </a:schemeClr>
                <a:prstClr val="white"/>
              </a:duotone>
            </a:blip>
            <a:stretch>
              <a:fillRect/>
            </a:stretch>
          </p:blipFill>
          <p:spPr>
            <a:xfrm>
              <a:off x="1903463" y="4407386"/>
              <a:ext cx="6588277" cy="784915"/>
            </a:xfrm>
            <a:prstGeom prst="rect">
              <a:avLst/>
            </a:prstGeom>
          </p:spPr>
        </p:pic>
        <p:sp>
          <p:nvSpPr>
            <p:cNvPr id="13" name="object 6">
              <a:extLst>
                <a:ext uri="{FF2B5EF4-FFF2-40B4-BE49-F238E27FC236}">
                  <a16:creationId xmlns:a16="http://schemas.microsoft.com/office/drawing/2014/main" id="{1452F48E-BFF0-4DB6-CB95-FCB61C1A16CA}"/>
                </a:ext>
              </a:extLst>
            </p:cNvPr>
            <p:cNvSpPr/>
            <p:nvPr/>
          </p:nvSpPr>
          <p:spPr>
            <a:xfrm>
              <a:off x="1911095" y="4415027"/>
              <a:ext cx="6522720" cy="719455"/>
            </a:xfrm>
            <a:custGeom>
              <a:avLst/>
              <a:gdLst/>
              <a:ahLst/>
              <a:cxnLst/>
              <a:rect l="l" t="t" r="r" b="b"/>
              <a:pathLst>
                <a:path w="6522720" h="719454">
                  <a:moveTo>
                    <a:pt x="6478905" y="0"/>
                  </a:moveTo>
                  <a:lnTo>
                    <a:pt x="43815" y="0"/>
                  </a:lnTo>
                  <a:lnTo>
                    <a:pt x="26735" y="3434"/>
                  </a:lnTo>
                  <a:lnTo>
                    <a:pt x="12811" y="12811"/>
                  </a:lnTo>
                  <a:lnTo>
                    <a:pt x="3434" y="26735"/>
                  </a:lnTo>
                  <a:lnTo>
                    <a:pt x="0" y="43815"/>
                  </a:lnTo>
                  <a:lnTo>
                    <a:pt x="0" y="675513"/>
                  </a:lnTo>
                  <a:lnTo>
                    <a:pt x="3434" y="692592"/>
                  </a:lnTo>
                  <a:lnTo>
                    <a:pt x="12811" y="706516"/>
                  </a:lnTo>
                  <a:lnTo>
                    <a:pt x="26735" y="715893"/>
                  </a:lnTo>
                  <a:lnTo>
                    <a:pt x="43815" y="719328"/>
                  </a:lnTo>
                  <a:lnTo>
                    <a:pt x="6478905" y="719328"/>
                  </a:lnTo>
                  <a:lnTo>
                    <a:pt x="6495984" y="715893"/>
                  </a:lnTo>
                  <a:lnTo>
                    <a:pt x="6509908" y="706516"/>
                  </a:lnTo>
                  <a:lnTo>
                    <a:pt x="6519285" y="692592"/>
                  </a:lnTo>
                  <a:lnTo>
                    <a:pt x="6522720" y="675513"/>
                  </a:lnTo>
                  <a:lnTo>
                    <a:pt x="6522720" y="43815"/>
                  </a:lnTo>
                  <a:lnTo>
                    <a:pt x="6519285" y="26735"/>
                  </a:lnTo>
                  <a:lnTo>
                    <a:pt x="6509908" y="12811"/>
                  </a:lnTo>
                  <a:lnTo>
                    <a:pt x="6495984" y="3434"/>
                  </a:lnTo>
                  <a:lnTo>
                    <a:pt x="6478905" y="0"/>
                  </a:lnTo>
                  <a:close/>
                </a:path>
              </a:pathLst>
            </a:custGeom>
            <a:solidFill>
              <a:srgbClr val="A78B5E">
                <a:alpha val="45097"/>
              </a:srgbClr>
            </a:solidFill>
          </p:spPr>
          <p:txBody>
            <a:bodyPr wrap="square" lIns="0" tIns="0" rIns="0" bIns="0" rtlCol="0"/>
            <a:lstStyle/>
            <a:p>
              <a:endParaRPr/>
            </a:p>
          </p:txBody>
        </p:sp>
        <p:pic>
          <p:nvPicPr>
            <p:cNvPr id="19" name="object 7">
              <a:extLst>
                <a:ext uri="{FF2B5EF4-FFF2-40B4-BE49-F238E27FC236}">
                  <a16:creationId xmlns:a16="http://schemas.microsoft.com/office/drawing/2014/main" id="{C0137312-52EA-5A8D-9EF0-A151375DB6E2}"/>
                </a:ext>
              </a:extLst>
            </p:cNvPr>
            <p:cNvPicPr/>
            <p:nvPr/>
          </p:nvPicPr>
          <p:blipFill>
            <a:blip r:embed="rId5" cstate="print">
              <a:duotone>
                <a:schemeClr val="accent6">
                  <a:shade val="45000"/>
                  <a:satMod val="135000"/>
                </a:schemeClr>
                <a:prstClr val="white"/>
              </a:duotone>
            </a:blip>
            <a:stretch>
              <a:fillRect/>
            </a:stretch>
          </p:blipFill>
          <p:spPr>
            <a:xfrm>
              <a:off x="1903463" y="5657053"/>
              <a:ext cx="6588277" cy="794042"/>
            </a:xfrm>
            <a:prstGeom prst="rect">
              <a:avLst/>
            </a:prstGeom>
          </p:spPr>
        </p:pic>
        <p:sp>
          <p:nvSpPr>
            <p:cNvPr id="20" name="object 8">
              <a:extLst>
                <a:ext uri="{FF2B5EF4-FFF2-40B4-BE49-F238E27FC236}">
                  <a16:creationId xmlns:a16="http://schemas.microsoft.com/office/drawing/2014/main" id="{A3CE321A-3DA7-C0A2-6B0B-E0E50A276B8F}"/>
                </a:ext>
              </a:extLst>
            </p:cNvPr>
            <p:cNvSpPr/>
            <p:nvPr/>
          </p:nvSpPr>
          <p:spPr>
            <a:xfrm>
              <a:off x="1911095" y="5664708"/>
              <a:ext cx="6522720" cy="719455"/>
            </a:xfrm>
            <a:custGeom>
              <a:avLst/>
              <a:gdLst/>
              <a:ahLst/>
              <a:cxnLst/>
              <a:rect l="l" t="t" r="r" b="b"/>
              <a:pathLst>
                <a:path w="6522720" h="719454">
                  <a:moveTo>
                    <a:pt x="6466205" y="0"/>
                  </a:moveTo>
                  <a:lnTo>
                    <a:pt x="56515" y="0"/>
                  </a:lnTo>
                  <a:lnTo>
                    <a:pt x="34504" y="4436"/>
                  </a:lnTo>
                  <a:lnTo>
                    <a:pt x="16541" y="16533"/>
                  </a:lnTo>
                  <a:lnTo>
                    <a:pt x="4437" y="34477"/>
                  </a:lnTo>
                  <a:lnTo>
                    <a:pt x="0" y="56451"/>
                  </a:lnTo>
                  <a:lnTo>
                    <a:pt x="0" y="662876"/>
                  </a:lnTo>
                  <a:lnTo>
                    <a:pt x="4437" y="684850"/>
                  </a:lnTo>
                  <a:lnTo>
                    <a:pt x="16541" y="702794"/>
                  </a:lnTo>
                  <a:lnTo>
                    <a:pt x="34504" y="714891"/>
                  </a:lnTo>
                  <a:lnTo>
                    <a:pt x="56515" y="719327"/>
                  </a:lnTo>
                  <a:lnTo>
                    <a:pt x="6466205" y="719327"/>
                  </a:lnTo>
                  <a:lnTo>
                    <a:pt x="6488215" y="714891"/>
                  </a:lnTo>
                  <a:lnTo>
                    <a:pt x="6506178" y="702794"/>
                  </a:lnTo>
                  <a:lnTo>
                    <a:pt x="6518282" y="684850"/>
                  </a:lnTo>
                  <a:lnTo>
                    <a:pt x="6522720" y="662876"/>
                  </a:lnTo>
                  <a:lnTo>
                    <a:pt x="6522720" y="56451"/>
                  </a:lnTo>
                  <a:lnTo>
                    <a:pt x="6518282" y="34477"/>
                  </a:lnTo>
                  <a:lnTo>
                    <a:pt x="6506178" y="16533"/>
                  </a:lnTo>
                  <a:lnTo>
                    <a:pt x="6488215" y="4436"/>
                  </a:lnTo>
                  <a:lnTo>
                    <a:pt x="6466205" y="0"/>
                  </a:lnTo>
                  <a:close/>
                </a:path>
              </a:pathLst>
            </a:custGeom>
            <a:solidFill>
              <a:srgbClr val="A78B5E">
                <a:alpha val="63528"/>
              </a:srgbClr>
            </a:solidFill>
          </p:spPr>
          <p:txBody>
            <a:bodyPr wrap="square" lIns="0" tIns="0" rIns="0" bIns="0" rtlCol="0"/>
            <a:lstStyle/>
            <a:p>
              <a:endParaRPr/>
            </a:p>
          </p:txBody>
        </p:sp>
        <p:pic>
          <p:nvPicPr>
            <p:cNvPr id="24" name="object 9">
              <a:extLst>
                <a:ext uri="{FF2B5EF4-FFF2-40B4-BE49-F238E27FC236}">
                  <a16:creationId xmlns:a16="http://schemas.microsoft.com/office/drawing/2014/main" id="{FB0A0955-5BE1-C64A-C493-341C67EC2DD1}"/>
                </a:ext>
              </a:extLst>
            </p:cNvPr>
            <p:cNvPicPr/>
            <p:nvPr/>
          </p:nvPicPr>
          <p:blipFill>
            <a:blip r:embed="rId6" cstate="print">
              <a:duotone>
                <a:schemeClr val="accent6">
                  <a:shade val="45000"/>
                  <a:satMod val="135000"/>
                </a:schemeClr>
                <a:prstClr val="white"/>
              </a:duotone>
            </a:blip>
            <a:stretch>
              <a:fillRect/>
            </a:stretch>
          </p:blipFill>
          <p:spPr>
            <a:xfrm>
              <a:off x="1903463" y="3268958"/>
              <a:ext cx="6588277" cy="784915"/>
            </a:xfrm>
            <a:prstGeom prst="rect">
              <a:avLst/>
            </a:prstGeom>
          </p:spPr>
        </p:pic>
        <p:sp>
          <p:nvSpPr>
            <p:cNvPr id="25" name="object 10">
              <a:extLst>
                <a:ext uri="{FF2B5EF4-FFF2-40B4-BE49-F238E27FC236}">
                  <a16:creationId xmlns:a16="http://schemas.microsoft.com/office/drawing/2014/main" id="{BBD3236D-8237-8F95-E97A-A77C6A605E07}"/>
                </a:ext>
              </a:extLst>
            </p:cNvPr>
            <p:cNvSpPr/>
            <p:nvPr/>
          </p:nvSpPr>
          <p:spPr>
            <a:xfrm>
              <a:off x="1911095" y="3276600"/>
              <a:ext cx="6522720" cy="719455"/>
            </a:xfrm>
            <a:custGeom>
              <a:avLst/>
              <a:gdLst/>
              <a:ahLst/>
              <a:cxnLst/>
              <a:rect l="l" t="t" r="r" b="b"/>
              <a:pathLst>
                <a:path w="6522720" h="719454">
                  <a:moveTo>
                    <a:pt x="6478905" y="0"/>
                  </a:moveTo>
                  <a:lnTo>
                    <a:pt x="43815" y="0"/>
                  </a:lnTo>
                  <a:lnTo>
                    <a:pt x="26735" y="3434"/>
                  </a:lnTo>
                  <a:lnTo>
                    <a:pt x="12811" y="12811"/>
                  </a:lnTo>
                  <a:lnTo>
                    <a:pt x="3434" y="26735"/>
                  </a:lnTo>
                  <a:lnTo>
                    <a:pt x="0" y="43814"/>
                  </a:lnTo>
                  <a:lnTo>
                    <a:pt x="0" y="675513"/>
                  </a:lnTo>
                  <a:lnTo>
                    <a:pt x="3434" y="692592"/>
                  </a:lnTo>
                  <a:lnTo>
                    <a:pt x="12811" y="706516"/>
                  </a:lnTo>
                  <a:lnTo>
                    <a:pt x="26735" y="715893"/>
                  </a:lnTo>
                  <a:lnTo>
                    <a:pt x="43815" y="719327"/>
                  </a:lnTo>
                  <a:lnTo>
                    <a:pt x="6478905" y="719327"/>
                  </a:lnTo>
                  <a:lnTo>
                    <a:pt x="6495984" y="715893"/>
                  </a:lnTo>
                  <a:lnTo>
                    <a:pt x="6509908" y="706516"/>
                  </a:lnTo>
                  <a:lnTo>
                    <a:pt x="6519285" y="692592"/>
                  </a:lnTo>
                  <a:lnTo>
                    <a:pt x="6522720" y="675513"/>
                  </a:lnTo>
                  <a:lnTo>
                    <a:pt x="6522720" y="43814"/>
                  </a:lnTo>
                  <a:lnTo>
                    <a:pt x="6519285" y="26735"/>
                  </a:lnTo>
                  <a:lnTo>
                    <a:pt x="6509908" y="12811"/>
                  </a:lnTo>
                  <a:lnTo>
                    <a:pt x="6495984" y="3434"/>
                  </a:lnTo>
                  <a:lnTo>
                    <a:pt x="6478905" y="0"/>
                  </a:lnTo>
                  <a:close/>
                </a:path>
              </a:pathLst>
            </a:custGeom>
            <a:solidFill>
              <a:srgbClr val="A78B5E">
                <a:alpha val="29411"/>
              </a:srgbClr>
            </a:solidFill>
          </p:spPr>
          <p:txBody>
            <a:bodyPr wrap="square" lIns="0" tIns="0" rIns="0" bIns="0" rtlCol="0"/>
            <a:lstStyle/>
            <a:p>
              <a:endParaRPr/>
            </a:p>
          </p:txBody>
        </p:sp>
        <p:sp>
          <p:nvSpPr>
            <p:cNvPr id="26" name="object 11">
              <a:extLst>
                <a:ext uri="{FF2B5EF4-FFF2-40B4-BE49-F238E27FC236}">
                  <a16:creationId xmlns:a16="http://schemas.microsoft.com/office/drawing/2014/main" id="{3A8D7F0C-832E-3778-7F16-96AB1CBD32C2}"/>
                </a:ext>
              </a:extLst>
            </p:cNvPr>
            <p:cNvSpPr/>
            <p:nvPr/>
          </p:nvSpPr>
          <p:spPr>
            <a:xfrm>
              <a:off x="3723132" y="3468624"/>
              <a:ext cx="1188720" cy="335280"/>
            </a:xfrm>
            <a:custGeom>
              <a:avLst/>
              <a:gdLst/>
              <a:ahLst/>
              <a:cxnLst/>
              <a:rect l="l" t="t" r="r" b="b"/>
              <a:pathLst>
                <a:path w="1188720" h="335279">
                  <a:moveTo>
                    <a:pt x="1145539" y="0"/>
                  </a:moveTo>
                  <a:lnTo>
                    <a:pt x="43179" y="0"/>
                  </a:lnTo>
                  <a:lnTo>
                    <a:pt x="26360" y="3389"/>
                  </a:lnTo>
                  <a:lnTo>
                    <a:pt x="12636" y="12636"/>
                  </a:lnTo>
                  <a:lnTo>
                    <a:pt x="3389" y="26360"/>
                  </a:lnTo>
                  <a:lnTo>
                    <a:pt x="0" y="43179"/>
                  </a:lnTo>
                  <a:lnTo>
                    <a:pt x="0" y="292100"/>
                  </a:lnTo>
                  <a:lnTo>
                    <a:pt x="3389" y="308919"/>
                  </a:lnTo>
                  <a:lnTo>
                    <a:pt x="12636" y="322643"/>
                  </a:lnTo>
                  <a:lnTo>
                    <a:pt x="26360" y="331890"/>
                  </a:lnTo>
                  <a:lnTo>
                    <a:pt x="43179" y="335280"/>
                  </a:lnTo>
                  <a:lnTo>
                    <a:pt x="1145539" y="335280"/>
                  </a:lnTo>
                  <a:lnTo>
                    <a:pt x="1162359" y="331890"/>
                  </a:lnTo>
                  <a:lnTo>
                    <a:pt x="1176083" y="322643"/>
                  </a:lnTo>
                  <a:lnTo>
                    <a:pt x="1185330" y="308919"/>
                  </a:lnTo>
                  <a:lnTo>
                    <a:pt x="1188719" y="292100"/>
                  </a:lnTo>
                  <a:lnTo>
                    <a:pt x="1188719" y="43179"/>
                  </a:lnTo>
                  <a:lnTo>
                    <a:pt x="1185330" y="26360"/>
                  </a:lnTo>
                  <a:lnTo>
                    <a:pt x="1176083" y="12636"/>
                  </a:lnTo>
                  <a:lnTo>
                    <a:pt x="1162359" y="3389"/>
                  </a:lnTo>
                  <a:lnTo>
                    <a:pt x="1145539" y="0"/>
                  </a:lnTo>
                  <a:close/>
                </a:path>
              </a:pathLst>
            </a:custGeom>
            <a:solidFill>
              <a:srgbClr val="BEBEBE"/>
            </a:solidFill>
          </p:spPr>
          <p:txBody>
            <a:bodyPr wrap="square" lIns="0" tIns="0" rIns="0" bIns="0" rtlCol="0"/>
            <a:lstStyle/>
            <a:p>
              <a:endParaRPr/>
            </a:p>
          </p:txBody>
        </p:sp>
      </p:grpSp>
      <p:sp>
        <p:nvSpPr>
          <p:cNvPr id="27" name="object 12">
            <a:extLst>
              <a:ext uri="{FF2B5EF4-FFF2-40B4-BE49-F238E27FC236}">
                <a16:creationId xmlns:a16="http://schemas.microsoft.com/office/drawing/2014/main" id="{FCC32B44-4B33-2D51-6A7E-772FB312B76B}"/>
              </a:ext>
            </a:extLst>
          </p:cNvPr>
          <p:cNvSpPr txBox="1"/>
          <p:nvPr/>
        </p:nvSpPr>
        <p:spPr>
          <a:xfrm>
            <a:off x="4193795" y="1742059"/>
            <a:ext cx="1607185" cy="228909"/>
          </a:xfrm>
          <a:prstGeom prst="rect">
            <a:avLst/>
          </a:prstGeom>
        </p:spPr>
        <p:txBody>
          <a:bodyPr vert="horz" wrap="square" lIns="0" tIns="13335" rIns="0" bIns="0" rtlCol="0">
            <a:spAutoFit/>
          </a:bodyPr>
          <a:lstStyle/>
          <a:p>
            <a:pPr marL="12700">
              <a:spcBef>
                <a:spcPts val="105"/>
              </a:spcBef>
            </a:pPr>
            <a:r>
              <a:rPr lang="ar-SA" sz="1400" spc="10" dirty="0">
                <a:solidFill>
                  <a:srgbClr val="A78B5E"/>
                </a:solidFill>
                <a:latin typeface="Avenir Next Arabic Demi" panose="020B0703020202020204" pitchFamily="34" charset="-78"/>
                <a:cs typeface="Avenir Next Arabic Demi" panose="020B0703020202020204" pitchFamily="34" charset="-78"/>
              </a:rPr>
              <a:t>المحور الاستراتيجي 1</a:t>
            </a:r>
          </a:p>
        </p:txBody>
      </p:sp>
      <p:sp>
        <p:nvSpPr>
          <p:cNvPr id="28" name="object 13">
            <a:extLst>
              <a:ext uri="{FF2B5EF4-FFF2-40B4-BE49-F238E27FC236}">
                <a16:creationId xmlns:a16="http://schemas.microsoft.com/office/drawing/2014/main" id="{E21D17AA-8304-B8DC-F23F-D8EB61F992C0}"/>
              </a:ext>
            </a:extLst>
          </p:cNvPr>
          <p:cNvSpPr txBox="1"/>
          <p:nvPr/>
        </p:nvSpPr>
        <p:spPr>
          <a:xfrm>
            <a:off x="1949065" y="2586073"/>
            <a:ext cx="845819" cy="228909"/>
          </a:xfrm>
          <a:prstGeom prst="rect">
            <a:avLst/>
          </a:prstGeom>
        </p:spPr>
        <p:txBody>
          <a:bodyPr vert="horz" wrap="square" lIns="0" tIns="13335" rIns="0" bIns="0" rtlCol="0">
            <a:spAutoFit/>
          </a:bodyPr>
          <a:lstStyle/>
          <a:p>
            <a:pPr marL="12700">
              <a:spcBef>
                <a:spcPts val="105"/>
              </a:spcBef>
            </a:pPr>
            <a:r>
              <a:rPr lang="ar-SA" sz="1400" spc="-10" dirty="0">
                <a:solidFill>
                  <a:srgbClr val="A78B5E"/>
                </a:solidFill>
                <a:latin typeface="Century Gothic"/>
                <a:cs typeface="Century Gothic"/>
              </a:rPr>
              <a:t>المالي</a:t>
            </a:r>
            <a:endParaRPr sz="1400" dirty="0">
              <a:solidFill>
                <a:srgbClr val="A78B5E"/>
              </a:solidFill>
              <a:latin typeface="Century Gothic"/>
              <a:cs typeface="Century Gothic"/>
            </a:endParaRPr>
          </a:p>
        </p:txBody>
      </p:sp>
      <p:sp>
        <p:nvSpPr>
          <p:cNvPr id="29" name="object 14">
            <a:extLst>
              <a:ext uri="{FF2B5EF4-FFF2-40B4-BE49-F238E27FC236}">
                <a16:creationId xmlns:a16="http://schemas.microsoft.com/office/drawing/2014/main" id="{F79AFE2E-D979-1E9A-53F3-62A7ECDE539A}"/>
              </a:ext>
            </a:extLst>
          </p:cNvPr>
          <p:cNvSpPr txBox="1"/>
          <p:nvPr/>
        </p:nvSpPr>
        <p:spPr>
          <a:xfrm>
            <a:off x="7643621" y="1755395"/>
            <a:ext cx="1643380" cy="228909"/>
          </a:xfrm>
          <a:prstGeom prst="rect">
            <a:avLst/>
          </a:prstGeom>
        </p:spPr>
        <p:txBody>
          <a:bodyPr vert="horz" wrap="square" lIns="0" tIns="13335" rIns="0" bIns="0" rtlCol="0">
            <a:spAutoFit/>
          </a:bodyPr>
          <a:lstStyle/>
          <a:p>
            <a:pPr marL="12700">
              <a:spcBef>
                <a:spcPts val="105"/>
              </a:spcBef>
            </a:pPr>
            <a:r>
              <a:rPr lang="ar-SA" sz="1400" spc="10" dirty="0">
                <a:solidFill>
                  <a:srgbClr val="A78B5E"/>
                </a:solidFill>
                <a:latin typeface="Avenir Next Arabic Demi" panose="020B0703020202020204" pitchFamily="34" charset="-78"/>
                <a:cs typeface="Avenir Next Arabic Demi" panose="020B0703020202020204" pitchFamily="34" charset="-78"/>
              </a:rPr>
              <a:t>المحور الاستراتيجي 2</a:t>
            </a:r>
          </a:p>
        </p:txBody>
      </p:sp>
      <p:sp>
        <p:nvSpPr>
          <p:cNvPr id="30" name="object 15">
            <a:extLst>
              <a:ext uri="{FF2B5EF4-FFF2-40B4-BE49-F238E27FC236}">
                <a16:creationId xmlns:a16="http://schemas.microsoft.com/office/drawing/2014/main" id="{2B17D82F-27CE-5D18-C3BC-ADE39C921E19}"/>
              </a:ext>
            </a:extLst>
          </p:cNvPr>
          <p:cNvSpPr txBox="1"/>
          <p:nvPr/>
        </p:nvSpPr>
        <p:spPr>
          <a:xfrm>
            <a:off x="1830585" y="3630135"/>
            <a:ext cx="1012190" cy="228909"/>
          </a:xfrm>
          <a:prstGeom prst="rect">
            <a:avLst/>
          </a:prstGeom>
        </p:spPr>
        <p:txBody>
          <a:bodyPr vert="horz" wrap="square" lIns="0" tIns="13335" rIns="0" bIns="0" rtlCol="0">
            <a:spAutoFit/>
          </a:bodyPr>
          <a:lstStyle/>
          <a:p>
            <a:pPr marL="12700">
              <a:spcBef>
                <a:spcPts val="105"/>
              </a:spcBef>
            </a:pPr>
            <a:r>
              <a:rPr lang="ar-SA" sz="1400" spc="55" dirty="0">
                <a:solidFill>
                  <a:srgbClr val="A78B5E"/>
                </a:solidFill>
                <a:latin typeface="Century Gothic"/>
                <a:cs typeface="Century Gothic"/>
              </a:rPr>
              <a:t>العملاء</a:t>
            </a:r>
            <a:endParaRPr sz="1400" dirty="0">
              <a:solidFill>
                <a:srgbClr val="A78B5E"/>
              </a:solidFill>
              <a:latin typeface="Century Gothic"/>
              <a:cs typeface="Century Gothic"/>
            </a:endParaRPr>
          </a:p>
        </p:txBody>
      </p:sp>
      <p:sp>
        <p:nvSpPr>
          <p:cNvPr id="31" name="object 16">
            <a:extLst>
              <a:ext uri="{FF2B5EF4-FFF2-40B4-BE49-F238E27FC236}">
                <a16:creationId xmlns:a16="http://schemas.microsoft.com/office/drawing/2014/main" id="{717EC4EA-4DE3-3EC3-6084-D73AE02619B2}"/>
              </a:ext>
            </a:extLst>
          </p:cNvPr>
          <p:cNvSpPr txBox="1"/>
          <p:nvPr/>
        </p:nvSpPr>
        <p:spPr>
          <a:xfrm>
            <a:off x="5259515" y="3496020"/>
            <a:ext cx="898525" cy="228909"/>
          </a:xfrm>
          <a:prstGeom prst="rect">
            <a:avLst/>
          </a:prstGeom>
        </p:spPr>
        <p:txBody>
          <a:bodyPr vert="horz" wrap="square" lIns="0" tIns="13335" rIns="0" bIns="0" rtlCol="0">
            <a:spAutoFit/>
          </a:bodyPr>
          <a:lstStyle/>
          <a:p>
            <a:pPr marL="12700">
              <a:spcBef>
                <a:spcPts val="105"/>
              </a:spcBef>
            </a:pPr>
            <a:r>
              <a:rPr lang="ar-SA" sz="1400" spc="-10" dirty="0">
                <a:solidFill>
                  <a:srgbClr val="FFFFFF"/>
                </a:solidFill>
                <a:latin typeface="Tahoma"/>
                <a:cs typeface="Tahoma"/>
              </a:rPr>
              <a:t>الهدف 4</a:t>
            </a:r>
          </a:p>
        </p:txBody>
      </p:sp>
      <p:sp>
        <p:nvSpPr>
          <p:cNvPr id="32" name="object 17">
            <a:extLst>
              <a:ext uri="{FF2B5EF4-FFF2-40B4-BE49-F238E27FC236}">
                <a16:creationId xmlns:a16="http://schemas.microsoft.com/office/drawing/2014/main" id="{27FA67EB-A2A8-CAAD-F8A2-CD85D4EAE6B6}"/>
              </a:ext>
            </a:extLst>
          </p:cNvPr>
          <p:cNvSpPr/>
          <p:nvPr/>
        </p:nvSpPr>
        <p:spPr>
          <a:xfrm>
            <a:off x="3561588" y="3468623"/>
            <a:ext cx="1187450" cy="335280"/>
          </a:xfrm>
          <a:custGeom>
            <a:avLst/>
            <a:gdLst/>
            <a:ahLst/>
            <a:cxnLst/>
            <a:rect l="l" t="t" r="r" b="b"/>
            <a:pathLst>
              <a:path w="1187450" h="335279">
                <a:moveTo>
                  <a:pt x="1161669" y="0"/>
                </a:moveTo>
                <a:lnTo>
                  <a:pt x="25526" y="0"/>
                </a:lnTo>
                <a:lnTo>
                  <a:pt x="15591" y="2006"/>
                </a:lnTo>
                <a:lnTo>
                  <a:pt x="7477" y="7477"/>
                </a:lnTo>
                <a:lnTo>
                  <a:pt x="2006" y="15591"/>
                </a:lnTo>
                <a:lnTo>
                  <a:pt x="0" y="25526"/>
                </a:lnTo>
                <a:lnTo>
                  <a:pt x="0" y="309752"/>
                </a:lnTo>
                <a:lnTo>
                  <a:pt x="2006" y="319688"/>
                </a:lnTo>
                <a:lnTo>
                  <a:pt x="7477" y="327802"/>
                </a:lnTo>
                <a:lnTo>
                  <a:pt x="15591" y="333273"/>
                </a:lnTo>
                <a:lnTo>
                  <a:pt x="25526" y="335280"/>
                </a:lnTo>
                <a:lnTo>
                  <a:pt x="1161669" y="335280"/>
                </a:lnTo>
                <a:lnTo>
                  <a:pt x="1171604" y="333273"/>
                </a:lnTo>
                <a:lnTo>
                  <a:pt x="1179718" y="327802"/>
                </a:lnTo>
                <a:lnTo>
                  <a:pt x="1185189" y="319688"/>
                </a:lnTo>
                <a:lnTo>
                  <a:pt x="1187195" y="309752"/>
                </a:lnTo>
                <a:lnTo>
                  <a:pt x="1187195" y="25526"/>
                </a:lnTo>
                <a:lnTo>
                  <a:pt x="1185189" y="15591"/>
                </a:lnTo>
                <a:lnTo>
                  <a:pt x="1179718" y="7477"/>
                </a:lnTo>
                <a:lnTo>
                  <a:pt x="1171604" y="2006"/>
                </a:lnTo>
                <a:lnTo>
                  <a:pt x="1161669" y="0"/>
                </a:lnTo>
                <a:close/>
              </a:path>
            </a:pathLst>
          </a:custGeom>
          <a:solidFill>
            <a:srgbClr val="BEBEBE"/>
          </a:solidFill>
        </p:spPr>
        <p:txBody>
          <a:bodyPr wrap="square" lIns="0" tIns="0" rIns="0" bIns="0" rtlCol="0"/>
          <a:lstStyle/>
          <a:p>
            <a:endParaRPr/>
          </a:p>
        </p:txBody>
      </p:sp>
      <p:sp>
        <p:nvSpPr>
          <p:cNvPr id="33" name="object 18">
            <a:extLst>
              <a:ext uri="{FF2B5EF4-FFF2-40B4-BE49-F238E27FC236}">
                <a16:creationId xmlns:a16="http://schemas.microsoft.com/office/drawing/2014/main" id="{DF1AE8FA-E6B5-3D76-BC04-30708B6A563E}"/>
              </a:ext>
            </a:extLst>
          </p:cNvPr>
          <p:cNvSpPr txBox="1"/>
          <p:nvPr/>
        </p:nvSpPr>
        <p:spPr>
          <a:xfrm>
            <a:off x="3567300" y="3489449"/>
            <a:ext cx="898525" cy="228909"/>
          </a:xfrm>
          <a:prstGeom prst="rect">
            <a:avLst/>
          </a:prstGeom>
        </p:spPr>
        <p:txBody>
          <a:bodyPr vert="horz" wrap="square" lIns="0" tIns="13335" rIns="0" bIns="0" rtlCol="0">
            <a:spAutoFit/>
          </a:bodyPr>
          <a:lstStyle/>
          <a:p>
            <a:pPr marL="12700">
              <a:spcBef>
                <a:spcPts val="105"/>
              </a:spcBef>
            </a:pPr>
            <a:r>
              <a:rPr lang="ar-SA" sz="1400" spc="-10" dirty="0">
                <a:solidFill>
                  <a:srgbClr val="FFFFFF"/>
                </a:solidFill>
                <a:latin typeface="Tahoma"/>
                <a:cs typeface="Tahoma"/>
              </a:rPr>
              <a:t>الهدف 3</a:t>
            </a:r>
          </a:p>
        </p:txBody>
      </p:sp>
      <p:sp>
        <p:nvSpPr>
          <p:cNvPr id="34" name="object 19">
            <a:extLst>
              <a:ext uri="{FF2B5EF4-FFF2-40B4-BE49-F238E27FC236}">
                <a16:creationId xmlns:a16="http://schemas.microsoft.com/office/drawing/2014/main" id="{128176A8-E067-0D93-9D87-111E90FA3B38}"/>
              </a:ext>
            </a:extLst>
          </p:cNvPr>
          <p:cNvSpPr/>
          <p:nvPr/>
        </p:nvSpPr>
        <p:spPr>
          <a:xfrm>
            <a:off x="8644128" y="3468623"/>
            <a:ext cx="1187450" cy="335280"/>
          </a:xfrm>
          <a:custGeom>
            <a:avLst/>
            <a:gdLst/>
            <a:ahLst/>
            <a:cxnLst/>
            <a:rect l="l" t="t" r="r" b="b"/>
            <a:pathLst>
              <a:path w="1187450" h="335279">
                <a:moveTo>
                  <a:pt x="1156589" y="0"/>
                </a:moveTo>
                <a:lnTo>
                  <a:pt x="30606" y="0"/>
                </a:lnTo>
                <a:lnTo>
                  <a:pt x="18698" y="2407"/>
                </a:lnTo>
                <a:lnTo>
                  <a:pt x="8969" y="8969"/>
                </a:lnTo>
                <a:lnTo>
                  <a:pt x="2407" y="18698"/>
                </a:lnTo>
                <a:lnTo>
                  <a:pt x="0" y="30606"/>
                </a:lnTo>
                <a:lnTo>
                  <a:pt x="0" y="304673"/>
                </a:lnTo>
                <a:lnTo>
                  <a:pt x="2407" y="316581"/>
                </a:lnTo>
                <a:lnTo>
                  <a:pt x="8969" y="326310"/>
                </a:lnTo>
                <a:lnTo>
                  <a:pt x="18698" y="332872"/>
                </a:lnTo>
                <a:lnTo>
                  <a:pt x="30606" y="335280"/>
                </a:lnTo>
                <a:lnTo>
                  <a:pt x="1156589" y="335280"/>
                </a:lnTo>
                <a:lnTo>
                  <a:pt x="1168497" y="332872"/>
                </a:lnTo>
                <a:lnTo>
                  <a:pt x="1178226" y="326310"/>
                </a:lnTo>
                <a:lnTo>
                  <a:pt x="1184788" y="316581"/>
                </a:lnTo>
                <a:lnTo>
                  <a:pt x="1187196" y="304673"/>
                </a:lnTo>
                <a:lnTo>
                  <a:pt x="1187196" y="30606"/>
                </a:lnTo>
                <a:lnTo>
                  <a:pt x="1184788" y="18698"/>
                </a:lnTo>
                <a:lnTo>
                  <a:pt x="1178226" y="8969"/>
                </a:lnTo>
                <a:lnTo>
                  <a:pt x="1168497" y="2407"/>
                </a:lnTo>
                <a:lnTo>
                  <a:pt x="1156589" y="0"/>
                </a:lnTo>
                <a:close/>
              </a:path>
            </a:pathLst>
          </a:custGeom>
          <a:solidFill>
            <a:srgbClr val="BEBEBE"/>
          </a:solidFill>
        </p:spPr>
        <p:txBody>
          <a:bodyPr wrap="square" lIns="0" tIns="0" rIns="0" bIns="0" rtlCol="0"/>
          <a:lstStyle/>
          <a:p>
            <a:endParaRPr/>
          </a:p>
        </p:txBody>
      </p:sp>
      <p:sp>
        <p:nvSpPr>
          <p:cNvPr id="35" name="object 20">
            <a:extLst>
              <a:ext uri="{FF2B5EF4-FFF2-40B4-BE49-F238E27FC236}">
                <a16:creationId xmlns:a16="http://schemas.microsoft.com/office/drawing/2014/main" id="{DDB9ADA4-6234-D656-8EF2-2B4468F3C5A4}"/>
              </a:ext>
            </a:extLst>
          </p:cNvPr>
          <p:cNvSpPr txBox="1"/>
          <p:nvPr/>
        </p:nvSpPr>
        <p:spPr>
          <a:xfrm>
            <a:off x="8789670" y="3502915"/>
            <a:ext cx="898525" cy="228909"/>
          </a:xfrm>
          <a:prstGeom prst="rect">
            <a:avLst/>
          </a:prstGeom>
        </p:spPr>
        <p:txBody>
          <a:bodyPr vert="horz" wrap="square" lIns="0" tIns="13335" rIns="0" bIns="0" rtlCol="0">
            <a:spAutoFit/>
          </a:bodyPr>
          <a:lstStyle/>
          <a:p>
            <a:pPr marL="12700">
              <a:spcBef>
                <a:spcPts val="105"/>
              </a:spcBef>
            </a:pPr>
            <a:r>
              <a:rPr lang="ar-SA" sz="1400" spc="-10" dirty="0">
                <a:solidFill>
                  <a:srgbClr val="FFFFFF"/>
                </a:solidFill>
                <a:latin typeface="Tahoma"/>
                <a:cs typeface="Tahoma"/>
              </a:rPr>
              <a:t>الهدف 5</a:t>
            </a:r>
          </a:p>
        </p:txBody>
      </p:sp>
      <p:sp>
        <p:nvSpPr>
          <p:cNvPr id="36" name="object 21">
            <a:extLst>
              <a:ext uri="{FF2B5EF4-FFF2-40B4-BE49-F238E27FC236}">
                <a16:creationId xmlns:a16="http://schemas.microsoft.com/office/drawing/2014/main" id="{16D074E3-5A72-78C7-3FB4-A530F1337A34}"/>
              </a:ext>
            </a:extLst>
          </p:cNvPr>
          <p:cNvSpPr txBox="1"/>
          <p:nvPr/>
        </p:nvSpPr>
        <p:spPr>
          <a:xfrm>
            <a:off x="1809430" y="4616258"/>
            <a:ext cx="1469711" cy="243015"/>
          </a:xfrm>
          <a:prstGeom prst="rect">
            <a:avLst/>
          </a:prstGeom>
        </p:spPr>
        <p:txBody>
          <a:bodyPr vert="horz" wrap="square" lIns="0" tIns="27305" rIns="0" bIns="0" rtlCol="0">
            <a:spAutoFit/>
          </a:bodyPr>
          <a:lstStyle/>
          <a:p>
            <a:pPr marL="108585">
              <a:spcBef>
                <a:spcPts val="215"/>
              </a:spcBef>
            </a:pPr>
            <a:r>
              <a:rPr lang="ar-SA" sz="1400" spc="50" dirty="0">
                <a:solidFill>
                  <a:srgbClr val="0A976C"/>
                </a:solidFill>
                <a:latin typeface="Century Gothic"/>
                <a:cs typeface="Century Gothic"/>
              </a:rPr>
              <a:t> </a:t>
            </a:r>
            <a:r>
              <a:rPr lang="ar-SA" sz="1400" spc="50" dirty="0">
                <a:solidFill>
                  <a:srgbClr val="A78B5E"/>
                </a:solidFill>
                <a:latin typeface="Century Gothic"/>
                <a:cs typeface="Century Gothic"/>
              </a:rPr>
              <a:t>العمليات</a:t>
            </a:r>
            <a:r>
              <a:rPr lang="ar-SA" sz="1400" spc="50" dirty="0">
                <a:solidFill>
                  <a:srgbClr val="0A976C"/>
                </a:solidFill>
                <a:latin typeface="Century Gothic"/>
                <a:cs typeface="Century Gothic"/>
              </a:rPr>
              <a:t> </a:t>
            </a:r>
            <a:r>
              <a:rPr lang="ar-SA" sz="1400" spc="50" dirty="0">
                <a:solidFill>
                  <a:srgbClr val="A78B5E"/>
                </a:solidFill>
                <a:latin typeface="Century Gothic"/>
                <a:cs typeface="Century Gothic"/>
              </a:rPr>
              <a:t>الداخلية</a:t>
            </a:r>
          </a:p>
        </p:txBody>
      </p:sp>
      <p:sp>
        <p:nvSpPr>
          <p:cNvPr id="37" name="object 22">
            <a:extLst>
              <a:ext uri="{FF2B5EF4-FFF2-40B4-BE49-F238E27FC236}">
                <a16:creationId xmlns:a16="http://schemas.microsoft.com/office/drawing/2014/main" id="{396E2C6E-0B3B-4BAB-CAFB-5C7B47D2C0D3}"/>
              </a:ext>
            </a:extLst>
          </p:cNvPr>
          <p:cNvSpPr txBox="1"/>
          <p:nvPr/>
        </p:nvSpPr>
        <p:spPr>
          <a:xfrm>
            <a:off x="2002269" y="5657054"/>
            <a:ext cx="1229995" cy="225575"/>
          </a:xfrm>
          <a:prstGeom prst="rect">
            <a:avLst/>
          </a:prstGeom>
        </p:spPr>
        <p:txBody>
          <a:bodyPr vert="horz" wrap="square" lIns="0" tIns="12700" rIns="0" bIns="0" rtlCol="0">
            <a:spAutoFit/>
          </a:bodyPr>
          <a:lstStyle/>
          <a:p>
            <a:pPr marL="12700" marR="5080" indent="1270" algn="ctr">
              <a:lnSpc>
                <a:spcPct val="107100"/>
              </a:lnSpc>
              <a:spcBef>
                <a:spcPts val="100"/>
              </a:spcBef>
            </a:pPr>
            <a:r>
              <a:rPr lang="ar-SA" sz="1400" spc="-10" dirty="0">
                <a:solidFill>
                  <a:srgbClr val="A78B5E"/>
                </a:solidFill>
                <a:latin typeface="Century Gothic"/>
                <a:cs typeface="Century Gothic"/>
              </a:rPr>
              <a:t>الأفراد، التعلم والنمو</a:t>
            </a:r>
            <a:endParaRPr sz="1400" dirty="0">
              <a:solidFill>
                <a:srgbClr val="A78B5E"/>
              </a:solidFill>
              <a:latin typeface="Century Gothic"/>
              <a:cs typeface="Century Gothic"/>
            </a:endParaRPr>
          </a:p>
        </p:txBody>
      </p:sp>
      <p:sp>
        <p:nvSpPr>
          <p:cNvPr id="38" name="object 23">
            <a:extLst>
              <a:ext uri="{FF2B5EF4-FFF2-40B4-BE49-F238E27FC236}">
                <a16:creationId xmlns:a16="http://schemas.microsoft.com/office/drawing/2014/main" id="{052737D1-9D82-B5F5-6317-915238CCC6E0}"/>
              </a:ext>
            </a:extLst>
          </p:cNvPr>
          <p:cNvSpPr/>
          <p:nvPr/>
        </p:nvSpPr>
        <p:spPr>
          <a:xfrm>
            <a:off x="6944867" y="4607052"/>
            <a:ext cx="1188720" cy="335280"/>
          </a:xfrm>
          <a:custGeom>
            <a:avLst/>
            <a:gdLst/>
            <a:ahLst/>
            <a:cxnLst/>
            <a:rect l="l" t="t" r="r" b="b"/>
            <a:pathLst>
              <a:path w="1188720" h="335279">
                <a:moveTo>
                  <a:pt x="1145539" y="0"/>
                </a:moveTo>
                <a:lnTo>
                  <a:pt x="43180" y="0"/>
                </a:lnTo>
                <a:lnTo>
                  <a:pt x="26360" y="3389"/>
                </a:lnTo>
                <a:lnTo>
                  <a:pt x="12636" y="12636"/>
                </a:lnTo>
                <a:lnTo>
                  <a:pt x="3389" y="26360"/>
                </a:lnTo>
                <a:lnTo>
                  <a:pt x="0" y="43180"/>
                </a:lnTo>
                <a:lnTo>
                  <a:pt x="0" y="292100"/>
                </a:lnTo>
                <a:lnTo>
                  <a:pt x="3389" y="308919"/>
                </a:lnTo>
                <a:lnTo>
                  <a:pt x="12636" y="322643"/>
                </a:lnTo>
                <a:lnTo>
                  <a:pt x="26360" y="331890"/>
                </a:lnTo>
                <a:lnTo>
                  <a:pt x="43180" y="335280"/>
                </a:lnTo>
                <a:lnTo>
                  <a:pt x="1145539" y="335280"/>
                </a:lnTo>
                <a:lnTo>
                  <a:pt x="1162359" y="331890"/>
                </a:lnTo>
                <a:lnTo>
                  <a:pt x="1176083" y="322643"/>
                </a:lnTo>
                <a:lnTo>
                  <a:pt x="1185330" y="308919"/>
                </a:lnTo>
                <a:lnTo>
                  <a:pt x="1188720" y="292100"/>
                </a:lnTo>
                <a:lnTo>
                  <a:pt x="1188720" y="43180"/>
                </a:lnTo>
                <a:lnTo>
                  <a:pt x="1185330" y="26360"/>
                </a:lnTo>
                <a:lnTo>
                  <a:pt x="1176083" y="12636"/>
                </a:lnTo>
                <a:lnTo>
                  <a:pt x="1162359" y="3389"/>
                </a:lnTo>
                <a:lnTo>
                  <a:pt x="1145539" y="0"/>
                </a:lnTo>
                <a:close/>
              </a:path>
            </a:pathLst>
          </a:custGeom>
          <a:solidFill>
            <a:srgbClr val="A4A4A4"/>
          </a:solidFill>
        </p:spPr>
        <p:txBody>
          <a:bodyPr wrap="square" lIns="0" tIns="0" rIns="0" bIns="0" rtlCol="0"/>
          <a:lstStyle/>
          <a:p>
            <a:endParaRPr/>
          </a:p>
        </p:txBody>
      </p:sp>
      <p:sp>
        <p:nvSpPr>
          <p:cNvPr id="39" name="object 24">
            <a:extLst>
              <a:ext uri="{FF2B5EF4-FFF2-40B4-BE49-F238E27FC236}">
                <a16:creationId xmlns:a16="http://schemas.microsoft.com/office/drawing/2014/main" id="{910FD6CF-8474-A503-F77D-E9B5053588F5}"/>
              </a:ext>
            </a:extLst>
          </p:cNvPr>
          <p:cNvSpPr txBox="1"/>
          <p:nvPr/>
        </p:nvSpPr>
        <p:spPr>
          <a:xfrm>
            <a:off x="6943182" y="4660558"/>
            <a:ext cx="899160" cy="228268"/>
          </a:xfrm>
          <a:prstGeom prst="rect">
            <a:avLst/>
          </a:prstGeom>
        </p:spPr>
        <p:txBody>
          <a:bodyPr vert="horz" wrap="square" lIns="0" tIns="12700" rIns="0" bIns="0" rtlCol="0">
            <a:spAutoFit/>
          </a:bodyPr>
          <a:lstStyle/>
          <a:p>
            <a:pPr marL="12700">
              <a:spcBef>
                <a:spcPts val="100"/>
              </a:spcBef>
            </a:pPr>
            <a:r>
              <a:rPr lang="ar-SA" sz="1400" spc="-10" dirty="0">
                <a:solidFill>
                  <a:srgbClr val="FFFFFF"/>
                </a:solidFill>
                <a:latin typeface="Tahoma"/>
                <a:cs typeface="Tahoma"/>
              </a:rPr>
              <a:t>الهدف 8</a:t>
            </a:r>
          </a:p>
        </p:txBody>
      </p:sp>
      <p:sp>
        <p:nvSpPr>
          <p:cNvPr id="40" name="object 25">
            <a:extLst>
              <a:ext uri="{FF2B5EF4-FFF2-40B4-BE49-F238E27FC236}">
                <a16:creationId xmlns:a16="http://schemas.microsoft.com/office/drawing/2014/main" id="{A9D901BE-CDD8-A94C-7B0B-7A8601223857}"/>
              </a:ext>
            </a:extLst>
          </p:cNvPr>
          <p:cNvSpPr/>
          <p:nvPr/>
        </p:nvSpPr>
        <p:spPr>
          <a:xfrm>
            <a:off x="3561588" y="4607052"/>
            <a:ext cx="1187450" cy="335280"/>
          </a:xfrm>
          <a:custGeom>
            <a:avLst/>
            <a:gdLst/>
            <a:ahLst/>
            <a:cxnLst/>
            <a:rect l="l" t="t" r="r" b="b"/>
            <a:pathLst>
              <a:path w="1187450" h="335279">
                <a:moveTo>
                  <a:pt x="1161669" y="0"/>
                </a:moveTo>
                <a:lnTo>
                  <a:pt x="25526" y="0"/>
                </a:lnTo>
                <a:lnTo>
                  <a:pt x="15591" y="2006"/>
                </a:lnTo>
                <a:lnTo>
                  <a:pt x="7477" y="7477"/>
                </a:lnTo>
                <a:lnTo>
                  <a:pt x="2006" y="15591"/>
                </a:lnTo>
                <a:lnTo>
                  <a:pt x="0" y="25527"/>
                </a:lnTo>
                <a:lnTo>
                  <a:pt x="0" y="309753"/>
                </a:lnTo>
                <a:lnTo>
                  <a:pt x="2006" y="319688"/>
                </a:lnTo>
                <a:lnTo>
                  <a:pt x="7477" y="327802"/>
                </a:lnTo>
                <a:lnTo>
                  <a:pt x="15591" y="333273"/>
                </a:lnTo>
                <a:lnTo>
                  <a:pt x="25526" y="335280"/>
                </a:lnTo>
                <a:lnTo>
                  <a:pt x="1161669" y="335280"/>
                </a:lnTo>
                <a:lnTo>
                  <a:pt x="1171604" y="333273"/>
                </a:lnTo>
                <a:lnTo>
                  <a:pt x="1179718" y="327802"/>
                </a:lnTo>
                <a:lnTo>
                  <a:pt x="1185189" y="319688"/>
                </a:lnTo>
                <a:lnTo>
                  <a:pt x="1187195" y="309753"/>
                </a:lnTo>
                <a:lnTo>
                  <a:pt x="1187195" y="25527"/>
                </a:lnTo>
                <a:lnTo>
                  <a:pt x="1185189" y="15591"/>
                </a:lnTo>
                <a:lnTo>
                  <a:pt x="1179718" y="7477"/>
                </a:lnTo>
                <a:lnTo>
                  <a:pt x="1171604" y="2006"/>
                </a:lnTo>
                <a:lnTo>
                  <a:pt x="1161669" y="0"/>
                </a:lnTo>
                <a:close/>
              </a:path>
            </a:pathLst>
          </a:custGeom>
          <a:solidFill>
            <a:srgbClr val="A4A4A4"/>
          </a:solidFill>
        </p:spPr>
        <p:txBody>
          <a:bodyPr wrap="square" lIns="0" tIns="0" rIns="0" bIns="0" rtlCol="0"/>
          <a:lstStyle/>
          <a:p>
            <a:endParaRPr/>
          </a:p>
        </p:txBody>
      </p:sp>
      <p:sp>
        <p:nvSpPr>
          <p:cNvPr id="41" name="object 26">
            <a:extLst>
              <a:ext uri="{FF2B5EF4-FFF2-40B4-BE49-F238E27FC236}">
                <a16:creationId xmlns:a16="http://schemas.microsoft.com/office/drawing/2014/main" id="{68B08514-5473-341A-3D34-9D33F33F2608}"/>
              </a:ext>
            </a:extLst>
          </p:cNvPr>
          <p:cNvSpPr txBox="1"/>
          <p:nvPr/>
        </p:nvSpPr>
        <p:spPr>
          <a:xfrm>
            <a:off x="3583757" y="4641341"/>
            <a:ext cx="898525" cy="228268"/>
          </a:xfrm>
          <a:prstGeom prst="rect">
            <a:avLst/>
          </a:prstGeom>
        </p:spPr>
        <p:txBody>
          <a:bodyPr vert="horz" wrap="square" lIns="0" tIns="12700" rIns="0" bIns="0" rtlCol="0">
            <a:spAutoFit/>
          </a:bodyPr>
          <a:lstStyle/>
          <a:p>
            <a:pPr marL="12700">
              <a:spcBef>
                <a:spcPts val="100"/>
              </a:spcBef>
            </a:pPr>
            <a:r>
              <a:rPr lang="ar-SA" sz="1400" spc="-10" dirty="0">
                <a:solidFill>
                  <a:srgbClr val="FFFFFF"/>
                </a:solidFill>
                <a:latin typeface="Tahoma"/>
                <a:cs typeface="Tahoma"/>
              </a:rPr>
              <a:t>الهدف 6</a:t>
            </a:r>
          </a:p>
        </p:txBody>
      </p:sp>
      <p:sp>
        <p:nvSpPr>
          <p:cNvPr id="42" name="object 27">
            <a:extLst>
              <a:ext uri="{FF2B5EF4-FFF2-40B4-BE49-F238E27FC236}">
                <a16:creationId xmlns:a16="http://schemas.microsoft.com/office/drawing/2014/main" id="{36146ECC-2149-C01B-AC86-68167FADF1AE}"/>
              </a:ext>
            </a:extLst>
          </p:cNvPr>
          <p:cNvSpPr/>
          <p:nvPr/>
        </p:nvSpPr>
        <p:spPr>
          <a:xfrm>
            <a:off x="5247132" y="4607052"/>
            <a:ext cx="1188720" cy="335280"/>
          </a:xfrm>
          <a:custGeom>
            <a:avLst/>
            <a:gdLst/>
            <a:ahLst/>
            <a:cxnLst/>
            <a:rect l="l" t="t" r="r" b="b"/>
            <a:pathLst>
              <a:path w="1188720" h="335279">
                <a:moveTo>
                  <a:pt x="1158113" y="0"/>
                </a:moveTo>
                <a:lnTo>
                  <a:pt x="30479" y="0"/>
                </a:lnTo>
                <a:lnTo>
                  <a:pt x="18645" y="2405"/>
                </a:lnTo>
                <a:lnTo>
                  <a:pt x="8953" y="8953"/>
                </a:lnTo>
                <a:lnTo>
                  <a:pt x="2405" y="18645"/>
                </a:lnTo>
                <a:lnTo>
                  <a:pt x="0" y="30480"/>
                </a:lnTo>
                <a:lnTo>
                  <a:pt x="0" y="304673"/>
                </a:lnTo>
                <a:lnTo>
                  <a:pt x="2405" y="316581"/>
                </a:lnTo>
                <a:lnTo>
                  <a:pt x="8953" y="326310"/>
                </a:lnTo>
                <a:lnTo>
                  <a:pt x="18645" y="332872"/>
                </a:lnTo>
                <a:lnTo>
                  <a:pt x="30479" y="335280"/>
                </a:lnTo>
                <a:lnTo>
                  <a:pt x="1158113" y="335280"/>
                </a:lnTo>
                <a:lnTo>
                  <a:pt x="1170021" y="332872"/>
                </a:lnTo>
                <a:lnTo>
                  <a:pt x="1179750" y="326310"/>
                </a:lnTo>
                <a:lnTo>
                  <a:pt x="1186312" y="316581"/>
                </a:lnTo>
                <a:lnTo>
                  <a:pt x="1188719" y="304673"/>
                </a:lnTo>
                <a:lnTo>
                  <a:pt x="1188719" y="30480"/>
                </a:lnTo>
                <a:lnTo>
                  <a:pt x="1186312" y="18645"/>
                </a:lnTo>
                <a:lnTo>
                  <a:pt x="1179750" y="8953"/>
                </a:lnTo>
                <a:lnTo>
                  <a:pt x="1170021" y="2405"/>
                </a:lnTo>
                <a:lnTo>
                  <a:pt x="1158113" y="0"/>
                </a:lnTo>
                <a:close/>
              </a:path>
            </a:pathLst>
          </a:custGeom>
          <a:solidFill>
            <a:srgbClr val="A4A4A4"/>
          </a:solidFill>
        </p:spPr>
        <p:txBody>
          <a:bodyPr wrap="square" lIns="0" tIns="0" rIns="0" bIns="0" rtlCol="0"/>
          <a:lstStyle/>
          <a:p>
            <a:endParaRPr/>
          </a:p>
        </p:txBody>
      </p:sp>
      <p:sp>
        <p:nvSpPr>
          <p:cNvPr id="43" name="object 28">
            <a:extLst>
              <a:ext uri="{FF2B5EF4-FFF2-40B4-BE49-F238E27FC236}">
                <a16:creationId xmlns:a16="http://schemas.microsoft.com/office/drawing/2014/main" id="{B74543E4-6B2F-B4B9-A08D-462D1FD1579B}"/>
              </a:ext>
            </a:extLst>
          </p:cNvPr>
          <p:cNvSpPr txBox="1"/>
          <p:nvPr/>
        </p:nvSpPr>
        <p:spPr>
          <a:xfrm>
            <a:off x="5247132" y="4641341"/>
            <a:ext cx="898525" cy="228268"/>
          </a:xfrm>
          <a:prstGeom prst="rect">
            <a:avLst/>
          </a:prstGeom>
        </p:spPr>
        <p:txBody>
          <a:bodyPr vert="horz" wrap="square" lIns="0" tIns="12700" rIns="0" bIns="0" rtlCol="0">
            <a:spAutoFit/>
          </a:bodyPr>
          <a:lstStyle/>
          <a:p>
            <a:pPr marL="12700">
              <a:spcBef>
                <a:spcPts val="100"/>
              </a:spcBef>
            </a:pPr>
            <a:r>
              <a:rPr lang="ar-SA" sz="1400" spc="-10" dirty="0">
                <a:solidFill>
                  <a:srgbClr val="FFFFFF"/>
                </a:solidFill>
                <a:latin typeface="Tahoma"/>
                <a:cs typeface="Tahoma"/>
              </a:rPr>
              <a:t>الهدف 7</a:t>
            </a:r>
          </a:p>
        </p:txBody>
      </p:sp>
      <p:sp>
        <p:nvSpPr>
          <p:cNvPr id="44" name="object 29">
            <a:extLst>
              <a:ext uri="{FF2B5EF4-FFF2-40B4-BE49-F238E27FC236}">
                <a16:creationId xmlns:a16="http://schemas.microsoft.com/office/drawing/2014/main" id="{FC636558-9344-2D15-309F-3684B4F8F59A}"/>
              </a:ext>
            </a:extLst>
          </p:cNvPr>
          <p:cNvSpPr/>
          <p:nvPr/>
        </p:nvSpPr>
        <p:spPr>
          <a:xfrm>
            <a:off x="8644128" y="4607052"/>
            <a:ext cx="1187450" cy="335280"/>
          </a:xfrm>
          <a:custGeom>
            <a:avLst/>
            <a:gdLst/>
            <a:ahLst/>
            <a:cxnLst/>
            <a:rect l="l" t="t" r="r" b="b"/>
            <a:pathLst>
              <a:path w="1187450" h="335279">
                <a:moveTo>
                  <a:pt x="1179195" y="0"/>
                </a:moveTo>
                <a:lnTo>
                  <a:pt x="8000" y="0"/>
                </a:lnTo>
                <a:lnTo>
                  <a:pt x="0" y="8000"/>
                </a:lnTo>
                <a:lnTo>
                  <a:pt x="0" y="17906"/>
                </a:lnTo>
                <a:lnTo>
                  <a:pt x="0" y="327279"/>
                </a:lnTo>
                <a:lnTo>
                  <a:pt x="8000" y="335280"/>
                </a:lnTo>
                <a:lnTo>
                  <a:pt x="1179195" y="335280"/>
                </a:lnTo>
                <a:lnTo>
                  <a:pt x="1187196" y="327279"/>
                </a:lnTo>
                <a:lnTo>
                  <a:pt x="1187196" y="8000"/>
                </a:lnTo>
                <a:lnTo>
                  <a:pt x="1179195" y="0"/>
                </a:lnTo>
                <a:close/>
              </a:path>
            </a:pathLst>
          </a:custGeom>
          <a:solidFill>
            <a:srgbClr val="A4A4A4"/>
          </a:solidFill>
        </p:spPr>
        <p:txBody>
          <a:bodyPr wrap="square" lIns="0" tIns="0" rIns="0" bIns="0" rtlCol="0"/>
          <a:lstStyle/>
          <a:p>
            <a:endParaRPr/>
          </a:p>
        </p:txBody>
      </p:sp>
      <p:sp>
        <p:nvSpPr>
          <p:cNvPr id="45" name="object 30">
            <a:extLst>
              <a:ext uri="{FF2B5EF4-FFF2-40B4-BE49-F238E27FC236}">
                <a16:creationId xmlns:a16="http://schemas.microsoft.com/office/drawing/2014/main" id="{82F7292C-79FE-9B4E-8A6D-E4677F8A62F1}"/>
              </a:ext>
            </a:extLst>
          </p:cNvPr>
          <p:cNvSpPr txBox="1"/>
          <p:nvPr/>
        </p:nvSpPr>
        <p:spPr>
          <a:xfrm>
            <a:off x="8654349" y="4641341"/>
            <a:ext cx="898525" cy="228268"/>
          </a:xfrm>
          <a:prstGeom prst="rect">
            <a:avLst/>
          </a:prstGeom>
        </p:spPr>
        <p:txBody>
          <a:bodyPr vert="horz" wrap="square" lIns="0" tIns="12700" rIns="0" bIns="0" rtlCol="0">
            <a:spAutoFit/>
          </a:bodyPr>
          <a:lstStyle/>
          <a:p>
            <a:pPr marL="12700">
              <a:spcBef>
                <a:spcPts val="100"/>
              </a:spcBef>
            </a:pPr>
            <a:r>
              <a:rPr lang="ar-SA" sz="1400" spc="-10" dirty="0">
                <a:solidFill>
                  <a:srgbClr val="FFFFFF"/>
                </a:solidFill>
                <a:latin typeface="Tahoma"/>
                <a:cs typeface="Tahoma"/>
              </a:rPr>
              <a:t>الهدف 9</a:t>
            </a:r>
          </a:p>
        </p:txBody>
      </p:sp>
      <p:sp>
        <p:nvSpPr>
          <p:cNvPr id="46" name="object 31">
            <a:extLst>
              <a:ext uri="{FF2B5EF4-FFF2-40B4-BE49-F238E27FC236}">
                <a16:creationId xmlns:a16="http://schemas.microsoft.com/office/drawing/2014/main" id="{306EA82B-DA80-C45A-C7E4-EE663908AFCF}"/>
              </a:ext>
            </a:extLst>
          </p:cNvPr>
          <p:cNvSpPr/>
          <p:nvPr/>
        </p:nvSpPr>
        <p:spPr>
          <a:xfrm>
            <a:off x="6819901" y="5856732"/>
            <a:ext cx="1313815" cy="335280"/>
          </a:xfrm>
          <a:custGeom>
            <a:avLst/>
            <a:gdLst/>
            <a:ahLst/>
            <a:cxnLst/>
            <a:rect l="l" t="t" r="r" b="b"/>
            <a:pathLst>
              <a:path w="1313815" h="335279">
                <a:moveTo>
                  <a:pt x="1283080" y="0"/>
                </a:moveTo>
                <a:lnTo>
                  <a:pt x="30479" y="0"/>
                </a:lnTo>
                <a:lnTo>
                  <a:pt x="18645" y="2400"/>
                </a:lnTo>
                <a:lnTo>
                  <a:pt x="8953" y="8947"/>
                </a:lnTo>
                <a:lnTo>
                  <a:pt x="2405" y="18655"/>
                </a:lnTo>
                <a:lnTo>
                  <a:pt x="0" y="30543"/>
                </a:lnTo>
                <a:lnTo>
                  <a:pt x="0" y="304736"/>
                </a:lnTo>
                <a:lnTo>
                  <a:pt x="2405" y="316624"/>
                </a:lnTo>
                <a:lnTo>
                  <a:pt x="8953" y="326332"/>
                </a:lnTo>
                <a:lnTo>
                  <a:pt x="18645" y="332879"/>
                </a:lnTo>
                <a:lnTo>
                  <a:pt x="30479" y="335280"/>
                </a:lnTo>
                <a:lnTo>
                  <a:pt x="1283080" y="335280"/>
                </a:lnTo>
                <a:lnTo>
                  <a:pt x="1294989" y="332879"/>
                </a:lnTo>
                <a:lnTo>
                  <a:pt x="1304718" y="326332"/>
                </a:lnTo>
                <a:lnTo>
                  <a:pt x="1311280" y="316624"/>
                </a:lnTo>
                <a:lnTo>
                  <a:pt x="1313688" y="304736"/>
                </a:lnTo>
                <a:lnTo>
                  <a:pt x="1313688" y="30543"/>
                </a:lnTo>
                <a:lnTo>
                  <a:pt x="1311280" y="18655"/>
                </a:lnTo>
                <a:lnTo>
                  <a:pt x="1304718" y="8947"/>
                </a:lnTo>
                <a:lnTo>
                  <a:pt x="1294989" y="2400"/>
                </a:lnTo>
                <a:lnTo>
                  <a:pt x="1283080" y="0"/>
                </a:lnTo>
                <a:close/>
              </a:path>
            </a:pathLst>
          </a:custGeom>
          <a:solidFill>
            <a:srgbClr val="BEBEBE"/>
          </a:solidFill>
        </p:spPr>
        <p:txBody>
          <a:bodyPr wrap="square" lIns="0" tIns="0" rIns="0" bIns="0" rtlCol="0"/>
          <a:lstStyle/>
          <a:p>
            <a:endParaRPr/>
          </a:p>
        </p:txBody>
      </p:sp>
      <p:sp>
        <p:nvSpPr>
          <p:cNvPr id="47" name="object 32">
            <a:extLst>
              <a:ext uri="{FF2B5EF4-FFF2-40B4-BE49-F238E27FC236}">
                <a16:creationId xmlns:a16="http://schemas.microsoft.com/office/drawing/2014/main" id="{01FC0741-DECE-4422-3EE3-5BE5556AC256}"/>
              </a:ext>
            </a:extLst>
          </p:cNvPr>
          <p:cNvSpPr txBox="1"/>
          <p:nvPr/>
        </p:nvSpPr>
        <p:spPr>
          <a:xfrm>
            <a:off x="6891429" y="5890972"/>
            <a:ext cx="1002665" cy="228909"/>
          </a:xfrm>
          <a:prstGeom prst="rect">
            <a:avLst/>
          </a:prstGeom>
        </p:spPr>
        <p:txBody>
          <a:bodyPr vert="horz" wrap="square" lIns="0" tIns="13335" rIns="0" bIns="0" rtlCol="0">
            <a:spAutoFit/>
          </a:bodyPr>
          <a:lstStyle/>
          <a:p>
            <a:pPr marL="12700">
              <a:spcBef>
                <a:spcPts val="105"/>
              </a:spcBef>
            </a:pPr>
            <a:r>
              <a:rPr lang="ar-SA" sz="1400" dirty="0">
                <a:solidFill>
                  <a:srgbClr val="FFFFFF"/>
                </a:solidFill>
                <a:latin typeface="Tahoma"/>
                <a:cs typeface="Tahoma"/>
              </a:rPr>
              <a:t>الهدف 11</a:t>
            </a:r>
          </a:p>
        </p:txBody>
      </p:sp>
      <p:sp>
        <p:nvSpPr>
          <p:cNvPr id="48" name="object 33">
            <a:extLst>
              <a:ext uri="{FF2B5EF4-FFF2-40B4-BE49-F238E27FC236}">
                <a16:creationId xmlns:a16="http://schemas.microsoft.com/office/drawing/2014/main" id="{AB8EFC26-9DD0-DAA6-3208-93FA6CCEA5FC}"/>
              </a:ext>
            </a:extLst>
          </p:cNvPr>
          <p:cNvSpPr/>
          <p:nvPr/>
        </p:nvSpPr>
        <p:spPr>
          <a:xfrm>
            <a:off x="3561589" y="5856732"/>
            <a:ext cx="1313815" cy="335280"/>
          </a:xfrm>
          <a:custGeom>
            <a:avLst/>
            <a:gdLst/>
            <a:ahLst/>
            <a:cxnLst/>
            <a:rect l="l" t="t" r="r" b="b"/>
            <a:pathLst>
              <a:path w="1313814" h="335279">
                <a:moveTo>
                  <a:pt x="1274952" y="0"/>
                </a:moveTo>
                <a:lnTo>
                  <a:pt x="38735" y="0"/>
                </a:lnTo>
                <a:lnTo>
                  <a:pt x="23681" y="3047"/>
                </a:lnTo>
                <a:lnTo>
                  <a:pt x="11366" y="11356"/>
                </a:lnTo>
                <a:lnTo>
                  <a:pt x="3051" y="23681"/>
                </a:lnTo>
                <a:lnTo>
                  <a:pt x="0" y="38773"/>
                </a:lnTo>
                <a:lnTo>
                  <a:pt x="0" y="296506"/>
                </a:lnTo>
                <a:lnTo>
                  <a:pt x="3051" y="311598"/>
                </a:lnTo>
                <a:lnTo>
                  <a:pt x="11366" y="323923"/>
                </a:lnTo>
                <a:lnTo>
                  <a:pt x="23681" y="332232"/>
                </a:lnTo>
                <a:lnTo>
                  <a:pt x="38735" y="335280"/>
                </a:lnTo>
                <a:lnTo>
                  <a:pt x="1274952" y="335280"/>
                </a:lnTo>
                <a:lnTo>
                  <a:pt x="1290006" y="332232"/>
                </a:lnTo>
                <a:lnTo>
                  <a:pt x="1302321" y="323923"/>
                </a:lnTo>
                <a:lnTo>
                  <a:pt x="1310636" y="311598"/>
                </a:lnTo>
                <a:lnTo>
                  <a:pt x="1313688" y="296506"/>
                </a:lnTo>
                <a:lnTo>
                  <a:pt x="1313688" y="38773"/>
                </a:lnTo>
                <a:lnTo>
                  <a:pt x="1310636" y="23681"/>
                </a:lnTo>
                <a:lnTo>
                  <a:pt x="1302321" y="11356"/>
                </a:lnTo>
                <a:lnTo>
                  <a:pt x="1290006" y="3047"/>
                </a:lnTo>
                <a:lnTo>
                  <a:pt x="1274952" y="0"/>
                </a:lnTo>
                <a:close/>
              </a:path>
            </a:pathLst>
          </a:custGeom>
          <a:solidFill>
            <a:srgbClr val="BEBEBE"/>
          </a:solidFill>
        </p:spPr>
        <p:txBody>
          <a:bodyPr wrap="square" lIns="0" tIns="0" rIns="0" bIns="0" rtlCol="0"/>
          <a:lstStyle/>
          <a:p>
            <a:endParaRPr/>
          </a:p>
        </p:txBody>
      </p:sp>
      <p:sp>
        <p:nvSpPr>
          <p:cNvPr id="49" name="object 34">
            <a:extLst>
              <a:ext uri="{FF2B5EF4-FFF2-40B4-BE49-F238E27FC236}">
                <a16:creationId xmlns:a16="http://schemas.microsoft.com/office/drawing/2014/main" id="{0DFF9589-AD0A-F9F3-423F-C4850BBF945B}"/>
              </a:ext>
            </a:extLst>
          </p:cNvPr>
          <p:cNvSpPr txBox="1"/>
          <p:nvPr/>
        </p:nvSpPr>
        <p:spPr>
          <a:xfrm>
            <a:off x="3510121" y="5916647"/>
            <a:ext cx="1002665" cy="228909"/>
          </a:xfrm>
          <a:prstGeom prst="rect">
            <a:avLst/>
          </a:prstGeom>
        </p:spPr>
        <p:txBody>
          <a:bodyPr vert="horz" wrap="square" lIns="0" tIns="13335" rIns="0" bIns="0" rtlCol="0">
            <a:spAutoFit/>
          </a:bodyPr>
          <a:lstStyle/>
          <a:p>
            <a:pPr marL="12700">
              <a:spcBef>
                <a:spcPts val="105"/>
              </a:spcBef>
            </a:pPr>
            <a:r>
              <a:rPr lang="ar-SA" sz="1400" dirty="0">
                <a:solidFill>
                  <a:srgbClr val="FFFFFF"/>
                </a:solidFill>
                <a:latin typeface="Tahoma"/>
                <a:cs typeface="Tahoma"/>
              </a:rPr>
              <a:t>الهدف 10</a:t>
            </a:r>
          </a:p>
        </p:txBody>
      </p:sp>
      <p:sp>
        <p:nvSpPr>
          <p:cNvPr id="50" name="object 35">
            <a:extLst>
              <a:ext uri="{FF2B5EF4-FFF2-40B4-BE49-F238E27FC236}">
                <a16:creationId xmlns:a16="http://schemas.microsoft.com/office/drawing/2014/main" id="{BBE6DC45-E403-E47C-D0C7-9FB307E07E79}"/>
              </a:ext>
            </a:extLst>
          </p:cNvPr>
          <p:cNvSpPr/>
          <p:nvPr/>
        </p:nvSpPr>
        <p:spPr>
          <a:xfrm>
            <a:off x="8569452" y="5856732"/>
            <a:ext cx="1262380" cy="335280"/>
          </a:xfrm>
          <a:custGeom>
            <a:avLst/>
            <a:gdLst/>
            <a:ahLst/>
            <a:cxnLst/>
            <a:rect l="l" t="t" r="r" b="b"/>
            <a:pathLst>
              <a:path w="1262379" h="335279">
                <a:moveTo>
                  <a:pt x="1230249" y="0"/>
                </a:moveTo>
                <a:lnTo>
                  <a:pt x="31623" y="0"/>
                </a:lnTo>
                <a:lnTo>
                  <a:pt x="19341" y="2488"/>
                </a:lnTo>
                <a:lnTo>
                  <a:pt x="9286" y="9274"/>
                </a:lnTo>
                <a:lnTo>
                  <a:pt x="2494" y="19341"/>
                </a:lnTo>
                <a:lnTo>
                  <a:pt x="0" y="31673"/>
                </a:lnTo>
                <a:lnTo>
                  <a:pt x="0" y="303606"/>
                </a:lnTo>
                <a:lnTo>
                  <a:pt x="2494" y="315932"/>
                </a:lnTo>
                <a:lnTo>
                  <a:pt x="9286" y="326001"/>
                </a:lnTo>
                <a:lnTo>
                  <a:pt x="19341" y="332790"/>
                </a:lnTo>
                <a:lnTo>
                  <a:pt x="31623" y="335280"/>
                </a:lnTo>
                <a:lnTo>
                  <a:pt x="1230249" y="335280"/>
                </a:lnTo>
                <a:lnTo>
                  <a:pt x="1242530" y="332790"/>
                </a:lnTo>
                <a:lnTo>
                  <a:pt x="1252585" y="326001"/>
                </a:lnTo>
                <a:lnTo>
                  <a:pt x="1259377" y="315932"/>
                </a:lnTo>
                <a:lnTo>
                  <a:pt x="1261872" y="303606"/>
                </a:lnTo>
                <a:lnTo>
                  <a:pt x="1261872" y="31673"/>
                </a:lnTo>
                <a:lnTo>
                  <a:pt x="1259377" y="19341"/>
                </a:lnTo>
                <a:lnTo>
                  <a:pt x="1252585" y="9274"/>
                </a:lnTo>
                <a:lnTo>
                  <a:pt x="1242530" y="2488"/>
                </a:lnTo>
                <a:lnTo>
                  <a:pt x="1230249" y="0"/>
                </a:lnTo>
                <a:close/>
              </a:path>
            </a:pathLst>
          </a:custGeom>
          <a:solidFill>
            <a:srgbClr val="BEBEBE"/>
          </a:solidFill>
        </p:spPr>
        <p:txBody>
          <a:bodyPr wrap="square" lIns="0" tIns="0" rIns="0" bIns="0" rtlCol="0"/>
          <a:lstStyle/>
          <a:p>
            <a:endParaRPr/>
          </a:p>
        </p:txBody>
      </p:sp>
      <p:sp>
        <p:nvSpPr>
          <p:cNvPr id="51" name="object 36">
            <a:extLst>
              <a:ext uri="{FF2B5EF4-FFF2-40B4-BE49-F238E27FC236}">
                <a16:creationId xmlns:a16="http://schemas.microsoft.com/office/drawing/2014/main" id="{0406A47A-16E3-D97F-5664-9C0E3EAE8600}"/>
              </a:ext>
            </a:extLst>
          </p:cNvPr>
          <p:cNvSpPr txBox="1"/>
          <p:nvPr/>
        </p:nvSpPr>
        <p:spPr>
          <a:xfrm>
            <a:off x="8634433" y="5878999"/>
            <a:ext cx="1002665" cy="228909"/>
          </a:xfrm>
          <a:prstGeom prst="rect">
            <a:avLst/>
          </a:prstGeom>
        </p:spPr>
        <p:txBody>
          <a:bodyPr vert="horz" wrap="square" lIns="0" tIns="13335" rIns="0" bIns="0" rtlCol="0">
            <a:spAutoFit/>
          </a:bodyPr>
          <a:lstStyle/>
          <a:p>
            <a:pPr marL="12700">
              <a:spcBef>
                <a:spcPts val="105"/>
              </a:spcBef>
            </a:pPr>
            <a:r>
              <a:rPr lang="ar-SA" sz="1400" dirty="0">
                <a:solidFill>
                  <a:srgbClr val="FFFFFF"/>
                </a:solidFill>
                <a:latin typeface="Tahoma"/>
                <a:cs typeface="Tahoma"/>
              </a:rPr>
              <a:t>الهدف 12</a:t>
            </a:r>
          </a:p>
        </p:txBody>
      </p:sp>
      <p:grpSp>
        <p:nvGrpSpPr>
          <p:cNvPr id="52" name="object 37">
            <a:extLst>
              <a:ext uri="{FF2B5EF4-FFF2-40B4-BE49-F238E27FC236}">
                <a16:creationId xmlns:a16="http://schemas.microsoft.com/office/drawing/2014/main" id="{AA7A2B1F-C480-C708-A0A6-8EB421163A4F}"/>
              </a:ext>
            </a:extLst>
          </p:cNvPr>
          <p:cNvGrpSpPr/>
          <p:nvPr/>
        </p:nvGrpSpPr>
        <p:grpSpPr>
          <a:xfrm>
            <a:off x="3572256" y="2365248"/>
            <a:ext cx="5702935" cy="3665854"/>
            <a:chOff x="2048255" y="2365248"/>
            <a:chExt cx="5702935" cy="3665854"/>
          </a:xfrm>
        </p:grpSpPr>
        <p:sp>
          <p:nvSpPr>
            <p:cNvPr id="53" name="object 38">
              <a:extLst>
                <a:ext uri="{FF2B5EF4-FFF2-40B4-BE49-F238E27FC236}">
                  <a16:creationId xmlns:a16="http://schemas.microsoft.com/office/drawing/2014/main" id="{6BAD6F46-748D-90AF-5FA5-7763E90A7A4A}"/>
                </a:ext>
              </a:extLst>
            </p:cNvPr>
            <p:cNvSpPr/>
            <p:nvPr/>
          </p:nvSpPr>
          <p:spPr>
            <a:xfrm>
              <a:off x="2583180" y="2494787"/>
              <a:ext cx="5168265" cy="3536315"/>
            </a:xfrm>
            <a:custGeom>
              <a:avLst/>
              <a:gdLst/>
              <a:ahLst/>
              <a:cxnLst/>
              <a:rect l="l" t="t" r="r" b="b"/>
              <a:pathLst>
                <a:path w="5168265" h="3536315">
                  <a:moveTo>
                    <a:pt x="76200" y="2740164"/>
                  </a:moveTo>
                  <a:lnTo>
                    <a:pt x="69850" y="2727452"/>
                  </a:lnTo>
                  <a:lnTo>
                    <a:pt x="38100" y="2663952"/>
                  </a:lnTo>
                  <a:lnTo>
                    <a:pt x="0" y="2740164"/>
                  </a:lnTo>
                  <a:lnTo>
                    <a:pt x="31750" y="2740164"/>
                  </a:lnTo>
                  <a:lnTo>
                    <a:pt x="31750" y="3361753"/>
                  </a:lnTo>
                  <a:lnTo>
                    <a:pt x="44450" y="3361753"/>
                  </a:lnTo>
                  <a:lnTo>
                    <a:pt x="44450" y="2740164"/>
                  </a:lnTo>
                  <a:lnTo>
                    <a:pt x="76200" y="2740164"/>
                  </a:lnTo>
                  <a:close/>
                </a:path>
                <a:path w="5168265" h="3536315">
                  <a:moveTo>
                    <a:pt x="85344" y="1385316"/>
                  </a:moveTo>
                  <a:lnTo>
                    <a:pt x="78994" y="1372616"/>
                  </a:lnTo>
                  <a:lnTo>
                    <a:pt x="47244" y="1309116"/>
                  </a:lnTo>
                  <a:lnTo>
                    <a:pt x="9144" y="1385316"/>
                  </a:lnTo>
                  <a:lnTo>
                    <a:pt x="40894" y="1385316"/>
                  </a:lnTo>
                  <a:lnTo>
                    <a:pt x="40894" y="2111375"/>
                  </a:lnTo>
                  <a:lnTo>
                    <a:pt x="53594" y="2111375"/>
                  </a:lnTo>
                  <a:lnTo>
                    <a:pt x="53594" y="1385316"/>
                  </a:lnTo>
                  <a:lnTo>
                    <a:pt x="85344" y="1385316"/>
                  </a:lnTo>
                  <a:close/>
                </a:path>
                <a:path w="5168265" h="3536315">
                  <a:moveTo>
                    <a:pt x="85344" y="281940"/>
                  </a:moveTo>
                  <a:lnTo>
                    <a:pt x="78994" y="269240"/>
                  </a:lnTo>
                  <a:lnTo>
                    <a:pt x="47244" y="205740"/>
                  </a:lnTo>
                  <a:lnTo>
                    <a:pt x="9144" y="281940"/>
                  </a:lnTo>
                  <a:lnTo>
                    <a:pt x="40894" y="281940"/>
                  </a:lnTo>
                  <a:lnTo>
                    <a:pt x="40894" y="973201"/>
                  </a:lnTo>
                  <a:lnTo>
                    <a:pt x="53594" y="973201"/>
                  </a:lnTo>
                  <a:lnTo>
                    <a:pt x="53594" y="281940"/>
                  </a:lnTo>
                  <a:lnTo>
                    <a:pt x="85344" y="281940"/>
                  </a:lnTo>
                  <a:close/>
                </a:path>
                <a:path w="5168265" h="3536315">
                  <a:moveTo>
                    <a:pt x="1135761" y="2273554"/>
                  </a:moveTo>
                  <a:lnTo>
                    <a:pt x="717804" y="2273554"/>
                  </a:lnTo>
                  <a:lnTo>
                    <a:pt x="717804" y="2241804"/>
                  </a:lnTo>
                  <a:lnTo>
                    <a:pt x="641604" y="2279904"/>
                  </a:lnTo>
                  <a:lnTo>
                    <a:pt x="717804" y="2318004"/>
                  </a:lnTo>
                  <a:lnTo>
                    <a:pt x="717804" y="2286254"/>
                  </a:lnTo>
                  <a:lnTo>
                    <a:pt x="1135761" y="2286254"/>
                  </a:lnTo>
                  <a:lnTo>
                    <a:pt x="1135761" y="2273554"/>
                  </a:lnTo>
                  <a:close/>
                </a:path>
                <a:path w="5168265" h="3536315">
                  <a:moveTo>
                    <a:pt x="1139952" y="1135126"/>
                  </a:moveTo>
                  <a:lnTo>
                    <a:pt x="717804" y="1135126"/>
                  </a:lnTo>
                  <a:lnTo>
                    <a:pt x="717804" y="1103376"/>
                  </a:lnTo>
                  <a:lnTo>
                    <a:pt x="641604" y="1141476"/>
                  </a:lnTo>
                  <a:lnTo>
                    <a:pt x="717804" y="1179576"/>
                  </a:lnTo>
                  <a:lnTo>
                    <a:pt x="717804" y="1147826"/>
                  </a:lnTo>
                  <a:lnTo>
                    <a:pt x="1139952" y="1147826"/>
                  </a:lnTo>
                  <a:lnTo>
                    <a:pt x="1139952" y="1135126"/>
                  </a:lnTo>
                  <a:close/>
                </a:path>
                <a:path w="5168265" h="3536315">
                  <a:moveTo>
                    <a:pt x="1772412" y="1385316"/>
                  </a:moveTo>
                  <a:lnTo>
                    <a:pt x="1766062" y="1372616"/>
                  </a:lnTo>
                  <a:lnTo>
                    <a:pt x="1734312" y="1309116"/>
                  </a:lnTo>
                  <a:lnTo>
                    <a:pt x="1696212" y="1385316"/>
                  </a:lnTo>
                  <a:lnTo>
                    <a:pt x="1727962" y="1385316"/>
                  </a:lnTo>
                  <a:lnTo>
                    <a:pt x="1727962" y="2111375"/>
                  </a:lnTo>
                  <a:lnTo>
                    <a:pt x="1740662" y="2111375"/>
                  </a:lnTo>
                  <a:lnTo>
                    <a:pt x="1740662" y="1385316"/>
                  </a:lnTo>
                  <a:lnTo>
                    <a:pt x="1772412" y="1385316"/>
                  </a:lnTo>
                  <a:close/>
                </a:path>
                <a:path w="5168265" h="3536315">
                  <a:moveTo>
                    <a:pt x="2838196" y="31750"/>
                  </a:moveTo>
                  <a:lnTo>
                    <a:pt x="1740281" y="31750"/>
                  </a:lnTo>
                  <a:lnTo>
                    <a:pt x="717804" y="31750"/>
                  </a:lnTo>
                  <a:lnTo>
                    <a:pt x="717804" y="0"/>
                  </a:lnTo>
                  <a:lnTo>
                    <a:pt x="641604" y="38100"/>
                  </a:lnTo>
                  <a:lnTo>
                    <a:pt x="717804" y="76200"/>
                  </a:lnTo>
                  <a:lnTo>
                    <a:pt x="717804" y="44450"/>
                  </a:lnTo>
                  <a:lnTo>
                    <a:pt x="1727581" y="44450"/>
                  </a:lnTo>
                  <a:lnTo>
                    <a:pt x="1727581" y="973455"/>
                  </a:lnTo>
                  <a:lnTo>
                    <a:pt x="1740281" y="973455"/>
                  </a:lnTo>
                  <a:lnTo>
                    <a:pt x="1740281" y="44450"/>
                  </a:lnTo>
                  <a:lnTo>
                    <a:pt x="2838196" y="44450"/>
                  </a:lnTo>
                  <a:lnTo>
                    <a:pt x="2838196" y="31750"/>
                  </a:lnTo>
                  <a:close/>
                </a:path>
                <a:path w="5168265" h="3536315">
                  <a:moveTo>
                    <a:pt x="2838704" y="2273554"/>
                  </a:moveTo>
                  <a:lnTo>
                    <a:pt x="2404872" y="2273554"/>
                  </a:lnTo>
                  <a:lnTo>
                    <a:pt x="2404872" y="2241804"/>
                  </a:lnTo>
                  <a:lnTo>
                    <a:pt x="2328672" y="2279904"/>
                  </a:lnTo>
                  <a:lnTo>
                    <a:pt x="2404872" y="2318004"/>
                  </a:lnTo>
                  <a:lnTo>
                    <a:pt x="2404872" y="2286254"/>
                  </a:lnTo>
                  <a:lnTo>
                    <a:pt x="2838704" y="2286254"/>
                  </a:lnTo>
                  <a:lnTo>
                    <a:pt x="2838704" y="2273554"/>
                  </a:lnTo>
                  <a:close/>
                </a:path>
                <a:path w="5168265" h="3536315">
                  <a:moveTo>
                    <a:pt x="3375660" y="2897886"/>
                  </a:moveTo>
                  <a:lnTo>
                    <a:pt x="1740662" y="2897886"/>
                  </a:lnTo>
                  <a:lnTo>
                    <a:pt x="1740662" y="2523744"/>
                  </a:lnTo>
                  <a:lnTo>
                    <a:pt x="1772412" y="2523744"/>
                  </a:lnTo>
                  <a:lnTo>
                    <a:pt x="1766062" y="2511044"/>
                  </a:lnTo>
                  <a:lnTo>
                    <a:pt x="1734312" y="2447544"/>
                  </a:lnTo>
                  <a:lnTo>
                    <a:pt x="1696212" y="2523744"/>
                  </a:lnTo>
                  <a:lnTo>
                    <a:pt x="1727962" y="2523744"/>
                  </a:lnTo>
                  <a:lnTo>
                    <a:pt x="1727962" y="2910586"/>
                  </a:lnTo>
                  <a:lnTo>
                    <a:pt x="3362960" y="2910586"/>
                  </a:lnTo>
                  <a:lnTo>
                    <a:pt x="3362960" y="3361042"/>
                  </a:lnTo>
                  <a:lnTo>
                    <a:pt x="3375660" y="3361042"/>
                  </a:lnTo>
                  <a:lnTo>
                    <a:pt x="3375660" y="2910586"/>
                  </a:lnTo>
                  <a:lnTo>
                    <a:pt x="3375660" y="2897886"/>
                  </a:lnTo>
                  <a:close/>
                </a:path>
                <a:path w="5168265" h="3536315">
                  <a:moveTo>
                    <a:pt x="4461764" y="3523348"/>
                  </a:moveTo>
                  <a:lnTo>
                    <a:pt x="4250436" y="3523348"/>
                  </a:lnTo>
                  <a:lnTo>
                    <a:pt x="4250436" y="2286254"/>
                  </a:lnTo>
                  <a:lnTo>
                    <a:pt x="4250436" y="2279904"/>
                  </a:lnTo>
                  <a:lnTo>
                    <a:pt x="4250436" y="2273554"/>
                  </a:lnTo>
                  <a:lnTo>
                    <a:pt x="4102608" y="2273554"/>
                  </a:lnTo>
                  <a:lnTo>
                    <a:pt x="4102608" y="2241804"/>
                  </a:lnTo>
                  <a:lnTo>
                    <a:pt x="4026408" y="2279904"/>
                  </a:lnTo>
                  <a:lnTo>
                    <a:pt x="4102608" y="2318004"/>
                  </a:lnTo>
                  <a:lnTo>
                    <a:pt x="4102608" y="2286254"/>
                  </a:lnTo>
                  <a:lnTo>
                    <a:pt x="4237609" y="2286254"/>
                  </a:lnTo>
                  <a:lnTo>
                    <a:pt x="4237609" y="3536048"/>
                  </a:lnTo>
                  <a:lnTo>
                    <a:pt x="4461764" y="3536048"/>
                  </a:lnTo>
                  <a:lnTo>
                    <a:pt x="4461764" y="3529698"/>
                  </a:lnTo>
                  <a:lnTo>
                    <a:pt x="4461764" y="3523348"/>
                  </a:lnTo>
                  <a:close/>
                </a:path>
                <a:path w="5168265" h="3536315">
                  <a:moveTo>
                    <a:pt x="4536948" y="1135126"/>
                  </a:moveTo>
                  <a:lnTo>
                    <a:pt x="3438398" y="1135126"/>
                  </a:lnTo>
                  <a:lnTo>
                    <a:pt x="3438398" y="281940"/>
                  </a:lnTo>
                  <a:lnTo>
                    <a:pt x="3470148" y="281940"/>
                  </a:lnTo>
                  <a:lnTo>
                    <a:pt x="3463798" y="269240"/>
                  </a:lnTo>
                  <a:lnTo>
                    <a:pt x="3432048" y="205740"/>
                  </a:lnTo>
                  <a:lnTo>
                    <a:pt x="3393948" y="281940"/>
                  </a:lnTo>
                  <a:lnTo>
                    <a:pt x="3425698" y="281940"/>
                  </a:lnTo>
                  <a:lnTo>
                    <a:pt x="3425698" y="1135126"/>
                  </a:lnTo>
                  <a:lnTo>
                    <a:pt x="2404872" y="1135126"/>
                  </a:lnTo>
                  <a:lnTo>
                    <a:pt x="2404872" y="1103376"/>
                  </a:lnTo>
                  <a:lnTo>
                    <a:pt x="2328672" y="1141476"/>
                  </a:lnTo>
                  <a:lnTo>
                    <a:pt x="2404872" y="1179576"/>
                  </a:lnTo>
                  <a:lnTo>
                    <a:pt x="2404872" y="1147826"/>
                  </a:lnTo>
                  <a:lnTo>
                    <a:pt x="3425698" y="1147826"/>
                  </a:lnTo>
                  <a:lnTo>
                    <a:pt x="3425698" y="2111375"/>
                  </a:lnTo>
                  <a:lnTo>
                    <a:pt x="3438398" y="2111375"/>
                  </a:lnTo>
                  <a:lnTo>
                    <a:pt x="3438398" y="1147826"/>
                  </a:lnTo>
                  <a:lnTo>
                    <a:pt x="4536948" y="1147826"/>
                  </a:lnTo>
                  <a:lnTo>
                    <a:pt x="4536948" y="1135126"/>
                  </a:lnTo>
                  <a:close/>
                </a:path>
                <a:path w="5168265" h="3536315">
                  <a:moveTo>
                    <a:pt x="5136769" y="34544"/>
                  </a:moveTo>
                  <a:lnTo>
                    <a:pt x="5133975" y="31750"/>
                  </a:lnTo>
                  <a:lnTo>
                    <a:pt x="4081437" y="31750"/>
                  </a:lnTo>
                  <a:lnTo>
                    <a:pt x="4102608" y="0"/>
                  </a:lnTo>
                  <a:lnTo>
                    <a:pt x="4026408" y="38100"/>
                  </a:lnTo>
                  <a:lnTo>
                    <a:pt x="4102608" y="76200"/>
                  </a:lnTo>
                  <a:lnTo>
                    <a:pt x="4081437" y="44450"/>
                  </a:lnTo>
                  <a:lnTo>
                    <a:pt x="5124069" y="44450"/>
                  </a:lnTo>
                  <a:lnTo>
                    <a:pt x="5124069" y="973455"/>
                  </a:lnTo>
                  <a:lnTo>
                    <a:pt x="5136769" y="973455"/>
                  </a:lnTo>
                  <a:lnTo>
                    <a:pt x="5136769" y="44450"/>
                  </a:lnTo>
                  <a:lnTo>
                    <a:pt x="5136769" y="38100"/>
                  </a:lnTo>
                  <a:lnTo>
                    <a:pt x="5136769" y="34544"/>
                  </a:lnTo>
                  <a:close/>
                </a:path>
                <a:path w="5168265" h="3536315">
                  <a:moveTo>
                    <a:pt x="5167884" y="2523744"/>
                  </a:moveTo>
                  <a:lnTo>
                    <a:pt x="5161534" y="2511044"/>
                  </a:lnTo>
                  <a:lnTo>
                    <a:pt x="5129784" y="2447544"/>
                  </a:lnTo>
                  <a:lnTo>
                    <a:pt x="5091684" y="2523744"/>
                  </a:lnTo>
                  <a:lnTo>
                    <a:pt x="5123434" y="2523744"/>
                  </a:lnTo>
                  <a:lnTo>
                    <a:pt x="5123434" y="3293249"/>
                  </a:lnTo>
                  <a:lnTo>
                    <a:pt x="5136134" y="3293249"/>
                  </a:lnTo>
                  <a:lnTo>
                    <a:pt x="5136134" y="2523744"/>
                  </a:lnTo>
                  <a:lnTo>
                    <a:pt x="5167884" y="2523744"/>
                  </a:lnTo>
                  <a:close/>
                </a:path>
                <a:path w="5168265" h="3536315">
                  <a:moveTo>
                    <a:pt x="5167884" y="1385316"/>
                  </a:moveTo>
                  <a:lnTo>
                    <a:pt x="5161534" y="1372616"/>
                  </a:lnTo>
                  <a:lnTo>
                    <a:pt x="5129784" y="1309116"/>
                  </a:lnTo>
                  <a:lnTo>
                    <a:pt x="5091684" y="1385316"/>
                  </a:lnTo>
                  <a:lnTo>
                    <a:pt x="5123434" y="1385316"/>
                  </a:lnTo>
                  <a:lnTo>
                    <a:pt x="5123434" y="2111375"/>
                  </a:lnTo>
                  <a:lnTo>
                    <a:pt x="5136134" y="2111375"/>
                  </a:lnTo>
                  <a:lnTo>
                    <a:pt x="5136134" y="1385316"/>
                  </a:lnTo>
                  <a:lnTo>
                    <a:pt x="5167884" y="1385316"/>
                  </a:lnTo>
                  <a:close/>
                </a:path>
              </a:pathLst>
            </a:custGeom>
            <a:solidFill>
              <a:srgbClr val="5F5F5F"/>
            </a:solidFill>
          </p:spPr>
          <p:txBody>
            <a:bodyPr wrap="square" lIns="0" tIns="0" rIns="0" bIns="0" rtlCol="0"/>
            <a:lstStyle/>
            <a:p>
              <a:endParaRPr/>
            </a:p>
          </p:txBody>
        </p:sp>
        <p:sp>
          <p:nvSpPr>
            <p:cNvPr id="54" name="object 39">
              <a:extLst>
                <a:ext uri="{FF2B5EF4-FFF2-40B4-BE49-F238E27FC236}">
                  <a16:creationId xmlns:a16="http://schemas.microsoft.com/office/drawing/2014/main" id="{B6FDDA84-75AB-7E61-8195-681F6993CC2F}"/>
                </a:ext>
              </a:extLst>
            </p:cNvPr>
            <p:cNvSpPr/>
            <p:nvPr/>
          </p:nvSpPr>
          <p:spPr>
            <a:xfrm>
              <a:off x="2048255" y="2365248"/>
              <a:ext cx="1187450" cy="335280"/>
            </a:xfrm>
            <a:custGeom>
              <a:avLst/>
              <a:gdLst/>
              <a:ahLst/>
              <a:cxnLst/>
              <a:rect l="l" t="t" r="r" b="b"/>
              <a:pathLst>
                <a:path w="1187450" h="335280">
                  <a:moveTo>
                    <a:pt x="1144016" y="0"/>
                  </a:moveTo>
                  <a:lnTo>
                    <a:pt x="43180" y="0"/>
                  </a:lnTo>
                  <a:lnTo>
                    <a:pt x="26360" y="3389"/>
                  </a:lnTo>
                  <a:lnTo>
                    <a:pt x="12636" y="12636"/>
                  </a:lnTo>
                  <a:lnTo>
                    <a:pt x="3389" y="26360"/>
                  </a:lnTo>
                  <a:lnTo>
                    <a:pt x="0" y="43179"/>
                  </a:lnTo>
                  <a:lnTo>
                    <a:pt x="0" y="292100"/>
                  </a:lnTo>
                  <a:lnTo>
                    <a:pt x="3389" y="308919"/>
                  </a:lnTo>
                  <a:lnTo>
                    <a:pt x="12636" y="322643"/>
                  </a:lnTo>
                  <a:lnTo>
                    <a:pt x="26360" y="331890"/>
                  </a:lnTo>
                  <a:lnTo>
                    <a:pt x="43180" y="335279"/>
                  </a:lnTo>
                  <a:lnTo>
                    <a:pt x="1144016" y="335279"/>
                  </a:lnTo>
                  <a:lnTo>
                    <a:pt x="1160835" y="331890"/>
                  </a:lnTo>
                  <a:lnTo>
                    <a:pt x="1174559" y="322643"/>
                  </a:lnTo>
                  <a:lnTo>
                    <a:pt x="1183806" y="308919"/>
                  </a:lnTo>
                  <a:lnTo>
                    <a:pt x="1187195" y="292100"/>
                  </a:lnTo>
                  <a:lnTo>
                    <a:pt x="1187195" y="43179"/>
                  </a:lnTo>
                  <a:lnTo>
                    <a:pt x="1183806" y="26360"/>
                  </a:lnTo>
                  <a:lnTo>
                    <a:pt x="1174559" y="12636"/>
                  </a:lnTo>
                  <a:lnTo>
                    <a:pt x="1160835" y="3389"/>
                  </a:lnTo>
                  <a:lnTo>
                    <a:pt x="1144016" y="0"/>
                  </a:lnTo>
                  <a:close/>
                </a:path>
              </a:pathLst>
            </a:custGeom>
            <a:solidFill>
              <a:srgbClr val="BEBEBE"/>
            </a:solidFill>
          </p:spPr>
          <p:txBody>
            <a:bodyPr wrap="square" lIns="0" tIns="0" rIns="0" bIns="0" rtlCol="0"/>
            <a:lstStyle/>
            <a:p>
              <a:endParaRPr dirty="0"/>
            </a:p>
          </p:txBody>
        </p:sp>
      </p:grpSp>
      <p:sp>
        <p:nvSpPr>
          <p:cNvPr id="55" name="object 40">
            <a:extLst>
              <a:ext uri="{FF2B5EF4-FFF2-40B4-BE49-F238E27FC236}">
                <a16:creationId xmlns:a16="http://schemas.microsoft.com/office/drawing/2014/main" id="{FAD9C22F-9343-5E74-41F2-039D06C596D9}"/>
              </a:ext>
            </a:extLst>
          </p:cNvPr>
          <p:cNvSpPr txBox="1">
            <a:spLocks/>
          </p:cNvSpPr>
          <p:nvPr/>
        </p:nvSpPr>
        <p:spPr>
          <a:xfrm>
            <a:off x="4295074" y="307633"/>
            <a:ext cx="10515600" cy="654834"/>
          </a:xfrm>
          <a:prstGeom prst="rect">
            <a:avLst/>
          </a:prstGeom>
        </p:spPr>
        <p:txBody>
          <a:bodyPr vert="horz" wrap="square" lIns="0" tIns="221781" rIns="0" bIns="0" rtlCol="0" anchor="ctr">
            <a:sp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31115">
              <a:spcBef>
                <a:spcPts val="100"/>
              </a:spcBef>
            </a:pPr>
            <a:r>
              <a:rPr lang="ar-SA" sz="2800" dirty="0">
                <a:solidFill>
                  <a:srgbClr val="A78B5E"/>
                </a:solidFill>
                <a:latin typeface="Avenir Next Arabic Demi" panose="020B0703020202020204" pitchFamily="34" charset="-78"/>
                <a:cs typeface="Avenir Next Arabic Demi" panose="020B0703020202020204" pitchFamily="34" charset="-78"/>
              </a:rPr>
              <a:t>٣. خريطة الاستراتيجية</a:t>
            </a:r>
            <a:endParaRPr lang="ar-SA" sz="2800" spc="80" dirty="0">
              <a:solidFill>
                <a:srgbClr val="A78B5E"/>
              </a:solidFill>
              <a:latin typeface="Avenir Next Arabic Demi" panose="020B0703020202020204" pitchFamily="34" charset="-78"/>
              <a:cs typeface="Avenir Next Arabic Demi" panose="020B0703020202020204" pitchFamily="34" charset="-78"/>
            </a:endParaRPr>
          </a:p>
        </p:txBody>
      </p:sp>
      <p:pic>
        <p:nvPicPr>
          <p:cNvPr id="56" name="object 41">
            <a:extLst>
              <a:ext uri="{FF2B5EF4-FFF2-40B4-BE49-F238E27FC236}">
                <a16:creationId xmlns:a16="http://schemas.microsoft.com/office/drawing/2014/main" id="{425C58A8-0410-5C1E-17F8-1E26E40D44CC}"/>
              </a:ext>
            </a:extLst>
          </p:cNvPr>
          <p:cNvPicPr/>
          <p:nvPr/>
        </p:nvPicPr>
        <p:blipFill>
          <a:blip r:embed="rId7" cstate="print">
            <a:duotone>
              <a:prstClr val="black"/>
              <a:schemeClr val="accent6">
                <a:tint val="45000"/>
                <a:satMod val="400000"/>
              </a:schemeClr>
            </a:duotone>
          </a:blip>
          <a:stretch>
            <a:fillRect/>
          </a:stretch>
        </p:blipFill>
        <p:spPr>
          <a:xfrm>
            <a:off x="2423160" y="2235707"/>
            <a:ext cx="371856" cy="291084"/>
          </a:xfrm>
          <a:prstGeom prst="rect">
            <a:avLst/>
          </a:prstGeom>
        </p:spPr>
      </p:pic>
      <p:pic>
        <p:nvPicPr>
          <p:cNvPr id="57" name="object 42">
            <a:extLst>
              <a:ext uri="{FF2B5EF4-FFF2-40B4-BE49-F238E27FC236}">
                <a16:creationId xmlns:a16="http://schemas.microsoft.com/office/drawing/2014/main" id="{10FC8C95-66E3-37CD-6A27-B00E3BD4120D}"/>
              </a:ext>
            </a:extLst>
          </p:cNvPr>
          <p:cNvPicPr/>
          <p:nvPr/>
        </p:nvPicPr>
        <p:blipFill>
          <a:blip r:embed="rId8" cstate="print">
            <a:duotone>
              <a:prstClr val="black"/>
              <a:schemeClr val="accent6">
                <a:tint val="45000"/>
                <a:satMod val="400000"/>
              </a:schemeClr>
            </a:duotone>
          </a:blip>
          <a:stretch>
            <a:fillRect/>
          </a:stretch>
        </p:blipFill>
        <p:spPr>
          <a:xfrm>
            <a:off x="2439925" y="4209288"/>
            <a:ext cx="336803" cy="336804"/>
          </a:xfrm>
          <a:prstGeom prst="rect">
            <a:avLst/>
          </a:prstGeom>
        </p:spPr>
      </p:pic>
      <p:pic>
        <p:nvPicPr>
          <p:cNvPr id="58" name="object 43">
            <a:extLst>
              <a:ext uri="{FF2B5EF4-FFF2-40B4-BE49-F238E27FC236}">
                <a16:creationId xmlns:a16="http://schemas.microsoft.com/office/drawing/2014/main" id="{75D7416A-318A-BB7E-7364-AA1ADBAA63D9}"/>
              </a:ext>
            </a:extLst>
          </p:cNvPr>
          <p:cNvPicPr/>
          <p:nvPr/>
        </p:nvPicPr>
        <p:blipFill>
          <a:blip r:embed="rId9" cstate="print">
            <a:duotone>
              <a:prstClr val="black"/>
              <a:schemeClr val="accent6">
                <a:tint val="45000"/>
                <a:satMod val="400000"/>
              </a:schemeClr>
            </a:duotone>
          </a:blip>
          <a:stretch>
            <a:fillRect/>
          </a:stretch>
        </p:blipFill>
        <p:spPr>
          <a:xfrm>
            <a:off x="2445054" y="5192302"/>
            <a:ext cx="344424" cy="379475"/>
          </a:xfrm>
          <a:prstGeom prst="rect">
            <a:avLst/>
          </a:prstGeom>
        </p:spPr>
      </p:pic>
      <p:pic>
        <p:nvPicPr>
          <p:cNvPr id="59" name="object 44">
            <a:extLst>
              <a:ext uri="{FF2B5EF4-FFF2-40B4-BE49-F238E27FC236}">
                <a16:creationId xmlns:a16="http://schemas.microsoft.com/office/drawing/2014/main" id="{75E3E399-6742-09AA-6BD3-A3A4134F973E}"/>
              </a:ext>
            </a:extLst>
          </p:cNvPr>
          <p:cNvPicPr/>
          <p:nvPr/>
        </p:nvPicPr>
        <p:blipFill>
          <a:blip r:embed="rId10" cstate="print">
            <a:duotone>
              <a:prstClr val="black"/>
              <a:schemeClr val="accent6">
                <a:tint val="45000"/>
                <a:satMod val="400000"/>
              </a:schemeClr>
            </a:duotone>
          </a:blip>
          <a:stretch>
            <a:fillRect/>
          </a:stretch>
        </p:blipFill>
        <p:spPr>
          <a:xfrm>
            <a:off x="2452116" y="3226308"/>
            <a:ext cx="313944" cy="318515"/>
          </a:xfrm>
          <a:prstGeom prst="rect">
            <a:avLst/>
          </a:prstGeom>
        </p:spPr>
      </p:pic>
      <p:sp>
        <p:nvSpPr>
          <p:cNvPr id="60" name="object 45">
            <a:extLst>
              <a:ext uri="{FF2B5EF4-FFF2-40B4-BE49-F238E27FC236}">
                <a16:creationId xmlns:a16="http://schemas.microsoft.com/office/drawing/2014/main" id="{C9FCC0B8-1AE1-14FE-1762-745B991539A7}"/>
              </a:ext>
            </a:extLst>
          </p:cNvPr>
          <p:cNvSpPr txBox="1"/>
          <p:nvPr/>
        </p:nvSpPr>
        <p:spPr>
          <a:xfrm>
            <a:off x="3550795" y="2393204"/>
            <a:ext cx="899160" cy="228909"/>
          </a:xfrm>
          <a:prstGeom prst="rect">
            <a:avLst/>
          </a:prstGeom>
        </p:spPr>
        <p:txBody>
          <a:bodyPr vert="horz" wrap="square" lIns="0" tIns="13335" rIns="0" bIns="0" rtlCol="0">
            <a:spAutoFit/>
          </a:bodyPr>
          <a:lstStyle/>
          <a:p>
            <a:pPr marL="12700">
              <a:spcBef>
                <a:spcPts val="105"/>
              </a:spcBef>
            </a:pPr>
            <a:r>
              <a:rPr lang="ar-SA" sz="1400" spc="-10" dirty="0">
                <a:solidFill>
                  <a:srgbClr val="FFFFFF"/>
                </a:solidFill>
                <a:latin typeface="Tahoma"/>
                <a:cs typeface="Tahoma"/>
              </a:rPr>
              <a:t>الهدف 1</a:t>
            </a:r>
          </a:p>
        </p:txBody>
      </p:sp>
      <p:sp>
        <p:nvSpPr>
          <p:cNvPr id="61" name="object 46">
            <a:extLst>
              <a:ext uri="{FF2B5EF4-FFF2-40B4-BE49-F238E27FC236}">
                <a16:creationId xmlns:a16="http://schemas.microsoft.com/office/drawing/2014/main" id="{0195048C-9A98-6267-802A-461A44B3BABE}"/>
              </a:ext>
            </a:extLst>
          </p:cNvPr>
          <p:cNvSpPr/>
          <p:nvPr/>
        </p:nvSpPr>
        <p:spPr>
          <a:xfrm>
            <a:off x="6934200" y="2336293"/>
            <a:ext cx="1188720" cy="337185"/>
          </a:xfrm>
          <a:custGeom>
            <a:avLst/>
            <a:gdLst/>
            <a:ahLst/>
            <a:cxnLst/>
            <a:rect l="l" t="t" r="r" b="b"/>
            <a:pathLst>
              <a:path w="1188720" h="337185">
                <a:moveTo>
                  <a:pt x="1132585" y="0"/>
                </a:moveTo>
                <a:lnTo>
                  <a:pt x="56134" y="0"/>
                </a:lnTo>
                <a:lnTo>
                  <a:pt x="34290" y="4413"/>
                </a:lnTo>
                <a:lnTo>
                  <a:pt x="16446" y="16446"/>
                </a:lnTo>
                <a:lnTo>
                  <a:pt x="4413" y="34289"/>
                </a:lnTo>
                <a:lnTo>
                  <a:pt x="0" y="56134"/>
                </a:lnTo>
                <a:lnTo>
                  <a:pt x="0" y="280670"/>
                </a:lnTo>
                <a:lnTo>
                  <a:pt x="4413" y="302513"/>
                </a:lnTo>
                <a:lnTo>
                  <a:pt x="16446" y="320357"/>
                </a:lnTo>
                <a:lnTo>
                  <a:pt x="34289" y="332390"/>
                </a:lnTo>
                <a:lnTo>
                  <a:pt x="56134" y="336804"/>
                </a:lnTo>
                <a:lnTo>
                  <a:pt x="1132585" y="336804"/>
                </a:lnTo>
                <a:lnTo>
                  <a:pt x="1154430" y="332390"/>
                </a:lnTo>
                <a:lnTo>
                  <a:pt x="1172273" y="320357"/>
                </a:lnTo>
                <a:lnTo>
                  <a:pt x="1184306" y="302514"/>
                </a:lnTo>
                <a:lnTo>
                  <a:pt x="1188720" y="280670"/>
                </a:lnTo>
                <a:lnTo>
                  <a:pt x="1188720" y="56134"/>
                </a:lnTo>
                <a:lnTo>
                  <a:pt x="1184306" y="34290"/>
                </a:lnTo>
                <a:lnTo>
                  <a:pt x="1172273" y="16446"/>
                </a:lnTo>
                <a:lnTo>
                  <a:pt x="1154429" y="4413"/>
                </a:lnTo>
                <a:lnTo>
                  <a:pt x="1132585" y="0"/>
                </a:lnTo>
                <a:close/>
              </a:path>
            </a:pathLst>
          </a:custGeom>
          <a:solidFill>
            <a:srgbClr val="BEBEBE"/>
          </a:solidFill>
        </p:spPr>
        <p:txBody>
          <a:bodyPr wrap="square" lIns="0" tIns="0" rIns="0" bIns="0" rtlCol="0"/>
          <a:lstStyle/>
          <a:p>
            <a:endParaRPr/>
          </a:p>
        </p:txBody>
      </p:sp>
      <p:sp>
        <p:nvSpPr>
          <p:cNvPr id="62" name="object 47">
            <a:extLst>
              <a:ext uri="{FF2B5EF4-FFF2-40B4-BE49-F238E27FC236}">
                <a16:creationId xmlns:a16="http://schemas.microsoft.com/office/drawing/2014/main" id="{9003A625-463C-DF3A-E3D3-C227999AB3D3}"/>
              </a:ext>
            </a:extLst>
          </p:cNvPr>
          <p:cNvSpPr txBox="1"/>
          <p:nvPr/>
        </p:nvSpPr>
        <p:spPr>
          <a:xfrm>
            <a:off x="6944867" y="2363581"/>
            <a:ext cx="899160" cy="228909"/>
          </a:xfrm>
          <a:prstGeom prst="rect">
            <a:avLst/>
          </a:prstGeom>
        </p:spPr>
        <p:txBody>
          <a:bodyPr vert="horz" wrap="square" lIns="0" tIns="13335" rIns="0" bIns="0" rtlCol="0">
            <a:spAutoFit/>
          </a:bodyPr>
          <a:lstStyle/>
          <a:p>
            <a:pPr marL="12700">
              <a:spcBef>
                <a:spcPts val="105"/>
              </a:spcBef>
            </a:pPr>
            <a:r>
              <a:rPr lang="ar-SA" sz="1400" spc="-10" dirty="0">
                <a:solidFill>
                  <a:srgbClr val="FFFFFF"/>
                </a:solidFill>
                <a:latin typeface="Tahoma"/>
                <a:cs typeface="Tahoma"/>
              </a:rPr>
              <a:t>الهدف 2</a:t>
            </a:r>
          </a:p>
        </p:txBody>
      </p:sp>
      <p:sp>
        <p:nvSpPr>
          <p:cNvPr id="64" name="object 48">
            <a:extLst>
              <a:ext uri="{FF2B5EF4-FFF2-40B4-BE49-F238E27FC236}">
                <a16:creationId xmlns:a16="http://schemas.microsoft.com/office/drawing/2014/main" id="{4BED4A97-4FF1-7B7E-950C-84CD87ED8317}"/>
              </a:ext>
            </a:extLst>
          </p:cNvPr>
          <p:cNvSpPr txBox="1"/>
          <p:nvPr/>
        </p:nvSpPr>
        <p:spPr>
          <a:xfrm>
            <a:off x="8491080" y="1302255"/>
            <a:ext cx="2220595" cy="258404"/>
          </a:xfrm>
          <a:prstGeom prst="rect">
            <a:avLst/>
          </a:prstGeom>
        </p:spPr>
        <p:txBody>
          <a:bodyPr vert="horz" wrap="square" lIns="0" tIns="12065" rIns="0" bIns="0" rtlCol="0">
            <a:spAutoFit/>
          </a:bodyPr>
          <a:lstStyle/>
          <a:p>
            <a:pPr marL="12700">
              <a:spcBef>
                <a:spcPts val="95"/>
              </a:spcBef>
            </a:pPr>
            <a:r>
              <a:rPr lang="ar-SA" sz="1600" spc="-40" dirty="0">
                <a:solidFill>
                  <a:srgbClr val="A78B5E"/>
                </a:solidFill>
                <a:latin typeface="Avenir Next Arabic Demi" panose="020B0703020202020204" pitchFamily="34" charset="-78"/>
                <a:cs typeface="Avenir Next Arabic Demi" panose="020B0703020202020204" pitchFamily="34" charset="-78"/>
              </a:rPr>
              <a:t>الهيكل الموصى به:</a:t>
            </a:r>
            <a:endParaRPr sz="1600" dirty="0">
              <a:solidFill>
                <a:srgbClr val="A78B5E"/>
              </a:solidFill>
              <a:latin typeface="Avenir Next Arabic Demi" panose="020B0703020202020204" pitchFamily="34" charset="-78"/>
              <a:cs typeface="Avenir Next Arabic Demi" panose="020B0703020202020204" pitchFamily="34" charset="-78"/>
            </a:endParaRPr>
          </a:p>
        </p:txBody>
      </p:sp>
    </p:spTree>
    <p:extLst>
      <p:ext uri="{BB962C8B-B14F-4D97-AF65-F5344CB8AC3E}">
        <p14:creationId xmlns:p14="http://schemas.microsoft.com/office/powerpoint/2010/main" val="1558556816"/>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78010E-EF1D-7F92-EE62-B2A32ECF695D}"/>
            </a:ext>
          </a:extLst>
        </p:cNvPr>
        <p:cNvGrpSpPr/>
        <p:nvPr/>
      </p:nvGrpSpPr>
      <p:grpSpPr>
        <a:xfrm>
          <a:off x="0" y="0"/>
          <a:ext cx="0" cy="0"/>
          <a:chOff x="0" y="0"/>
          <a:chExt cx="0" cy="0"/>
        </a:xfrm>
      </p:grpSpPr>
      <p:grpSp>
        <p:nvGrpSpPr>
          <p:cNvPr id="3" name="object 2">
            <a:extLst>
              <a:ext uri="{FF2B5EF4-FFF2-40B4-BE49-F238E27FC236}">
                <a16:creationId xmlns:a16="http://schemas.microsoft.com/office/drawing/2014/main" id="{0F6F9CAE-1F12-52DE-06F0-D166FF1E9942}"/>
              </a:ext>
            </a:extLst>
          </p:cNvPr>
          <p:cNvGrpSpPr/>
          <p:nvPr/>
        </p:nvGrpSpPr>
        <p:grpSpPr>
          <a:xfrm>
            <a:off x="1680782" y="1088389"/>
            <a:ext cx="8829675" cy="5469890"/>
            <a:chOff x="156781" y="1088389"/>
            <a:chExt cx="8829675" cy="5469890"/>
          </a:xfrm>
        </p:grpSpPr>
        <p:sp>
          <p:nvSpPr>
            <p:cNvPr id="4" name="object 3">
              <a:extLst>
                <a:ext uri="{FF2B5EF4-FFF2-40B4-BE49-F238E27FC236}">
                  <a16:creationId xmlns:a16="http://schemas.microsoft.com/office/drawing/2014/main" id="{2AF365B4-4CBA-2736-4CE5-4889F062C4F9}"/>
                </a:ext>
              </a:extLst>
            </p:cNvPr>
            <p:cNvSpPr/>
            <p:nvPr/>
          </p:nvSpPr>
          <p:spPr>
            <a:xfrm>
              <a:off x="383285" y="1101089"/>
              <a:ext cx="8336280" cy="5413375"/>
            </a:xfrm>
            <a:custGeom>
              <a:avLst/>
              <a:gdLst/>
              <a:ahLst/>
              <a:cxnLst/>
              <a:rect l="l" t="t" r="r" b="b"/>
              <a:pathLst>
                <a:path w="8336280" h="5413375">
                  <a:moveTo>
                    <a:pt x="8336280" y="0"/>
                  </a:moveTo>
                  <a:lnTo>
                    <a:pt x="0" y="0"/>
                  </a:lnTo>
                  <a:lnTo>
                    <a:pt x="0" y="5413248"/>
                  </a:lnTo>
                  <a:lnTo>
                    <a:pt x="8336280" y="5413248"/>
                  </a:lnTo>
                  <a:lnTo>
                    <a:pt x="8336280" y="0"/>
                  </a:lnTo>
                  <a:close/>
                </a:path>
              </a:pathLst>
            </a:custGeom>
            <a:solidFill>
              <a:srgbClr val="F1F1F1"/>
            </a:solidFill>
          </p:spPr>
          <p:txBody>
            <a:bodyPr wrap="square" lIns="0" tIns="0" rIns="0" bIns="0" rtlCol="0"/>
            <a:lstStyle/>
            <a:p>
              <a:endParaRPr/>
            </a:p>
          </p:txBody>
        </p:sp>
        <p:sp>
          <p:nvSpPr>
            <p:cNvPr id="6" name="object 4">
              <a:extLst>
                <a:ext uri="{FF2B5EF4-FFF2-40B4-BE49-F238E27FC236}">
                  <a16:creationId xmlns:a16="http://schemas.microsoft.com/office/drawing/2014/main" id="{3AF884CA-657F-D6E0-2DD7-BEA2B11283FE}"/>
                </a:ext>
              </a:extLst>
            </p:cNvPr>
            <p:cNvSpPr/>
            <p:nvPr/>
          </p:nvSpPr>
          <p:spPr>
            <a:xfrm>
              <a:off x="383285" y="1101089"/>
              <a:ext cx="8336280" cy="5413375"/>
            </a:xfrm>
            <a:custGeom>
              <a:avLst/>
              <a:gdLst/>
              <a:ahLst/>
              <a:cxnLst/>
              <a:rect l="l" t="t" r="r" b="b"/>
              <a:pathLst>
                <a:path w="8336280" h="5413375">
                  <a:moveTo>
                    <a:pt x="0" y="5413248"/>
                  </a:moveTo>
                  <a:lnTo>
                    <a:pt x="8336280" y="5413248"/>
                  </a:lnTo>
                  <a:lnTo>
                    <a:pt x="8336280" y="0"/>
                  </a:lnTo>
                  <a:lnTo>
                    <a:pt x="0" y="0"/>
                  </a:lnTo>
                  <a:lnTo>
                    <a:pt x="0" y="5413248"/>
                  </a:lnTo>
                  <a:close/>
                </a:path>
              </a:pathLst>
            </a:custGeom>
            <a:ln w="25400">
              <a:solidFill>
                <a:srgbClr val="F1F1F1"/>
              </a:solidFill>
            </a:ln>
          </p:spPr>
          <p:txBody>
            <a:bodyPr wrap="square" lIns="0" tIns="0" rIns="0" bIns="0" rtlCol="0"/>
            <a:lstStyle/>
            <a:p>
              <a:endParaRPr/>
            </a:p>
          </p:txBody>
        </p:sp>
        <p:pic>
          <p:nvPicPr>
            <p:cNvPr id="8" name="object 5">
              <a:extLst>
                <a:ext uri="{FF2B5EF4-FFF2-40B4-BE49-F238E27FC236}">
                  <a16:creationId xmlns:a16="http://schemas.microsoft.com/office/drawing/2014/main" id="{DFCB1EC4-78EF-10CC-AC5D-04F42410050D}"/>
                </a:ext>
              </a:extLst>
            </p:cNvPr>
            <p:cNvPicPr/>
            <p:nvPr/>
          </p:nvPicPr>
          <p:blipFill>
            <a:blip r:embed="rId3" cstate="print"/>
            <a:stretch>
              <a:fillRect/>
            </a:stretch>
          </p:blipFill>
          <p:spPr>
            <a:xfrm>
              <a:off x="659892" y="4331207"/>
              <a:ext cx="3633216" cy="2093976"/>
            </a:xfrm>
            <a:prstGeom prst="rect">
              <a:avLst/>
            </a:prstGeom>
          </p:spPr>
        </p:pic>
        <p:pic>
          <p:nvPicPr>
            <p:cNvPr id="9" name="object 6">
              <a:extLst>
                <a:ext uri="{FF2B5EF4-FFF2-40B4-BE49-F238E27FC236}">
                  <a16:creationId xmlns:a16="http://schemas.microsoft.com/office/drawing/2014/main" id="{91329337-57C2-5158-335F-9C47EE2FEBB0}"/>
                </a:ext>
              </a:extLst>
            </p:cNvPr>
            <p:cNvPicPr/>
            <p:nvPr/>
          </p:nvPicPr>
          <p:blipFill>
            <a:blip r:embed="rId4" cstate="print"/>
            <a:stretch>
              <a:fillRect/>
            </a:stretch>
          </p:blipFill>
          <p:spPr>
            <a:xfrm>
              <a:off x="659892" y="2104643"/>
              <a:ext cx="3633216" cy="1877567"/>
            </a:xfrm>
            <a:prstGeom prst="rect">
              <a:avLst/>
            </a:prstGeom>
          </p:spPr>
        </p:pic>
      </p:grpSp>
      <p:sp>
        <p:nvSpPr>
          <p:cNvPr id="10" name="object 7">
            <a:extLst>
              <a:ext uri="{FF2B5EF4-FFF2-40B4-BE49-F238E27FC236}">
                <a16:creationId xmlns:a16="http://schemas.microsoft.com/office/drawing/2014/main" id="{42BB0860-6A7A-0516-22EE-943B37F8B984}"/>
              </a:ext>
            </a:extLst>
          </p:cNvPr>
          <p:cNvSpPr txBox="1">
            <a:spLocks/>
          </p:cNvSpPr>
          <p:nvPr/>
        </p:nvSpPr>
        <p:spPr>
          <a:xfrm>
            <a:off x="7391356" y="513771"/>
            <a:ext cx="4645820" cy="382156"/>
          </a:xfrm>
          <a:prstGeom prst="rect">
            <a:avLst/>
          </a:prstGeom>
        </p:spPr>
        <p:txBody>
          <a:bodyPr vert="horz" wrap="square" lIns="0" tIns="12700" rIns="0" bIns="0" rtlCol="0" anchor="ctr">
            <a:sp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12700">
              <a:spcBef>
                <a:spcPts val="100"/>
              </a:spcBef>
            </a:pPr>
            <a:r>
              <a:rPr lang="ar-SA" sz="2400" dirty="0">
                <a:solidFill>
                  <a:srgbClr val="A78B5E"/>
                </a:solidFill>
                <a:latin typeface="Avenir Next Arabic Demi" panose="020B0703020202020204" pitchFamily="34" charset="-78"/>
                <a:cs typeface="Avenir Next Arabic Demi" panose="020B0703020202020204" pitchFamily="34" charset="-78"/>
              </a:rPr>
              <a:t>٥. لوحة مؤشرات الأداء</a:t>
            </a:r>
            <a:endParaRPr lang="ar-SA" sz="2400" spc="150" dirty="0">
              <a:solidFill>
                <a:srgbClr val="A78B5E"/>
              </a:solidFill>
              <a:latin typeface="Avenir Next Arabic Demi" panose="020B0703020202020204" pitchFamily="34" charset="-78"/>
              <a:cs typeface="Avenir Next Arabic Demi" panose="020B0703020202020204" pitchFamily="34" charset="-78"/>
            </a:endParaRPr>
          </a:p>
        </p:txBody>
      </p:sp>
      <p:sp>
        <p:nvSpPr>
          <p:cNvPr id="11" name="object 8">
            <a:extLst>
              <a:ext uri="{FF2B5EF4-FFF2-40B4-BE49-F238E27FC236}">
                <a16:creationId xmlns:a16="http://schemas.microsoft.com/office/drawing/2014/main" id="{920D7EB3-8813-872D-FE3A-FF5D9E8F1512}"/>
              </a:ext>
            </a:extLst>
          </p:cNvPr>
          <p:cNvSpPr txBox="1"/>
          <p:nvPr/>
        </p:nvSpPr>
        <p:spPr>
          <a:xfrm>
            <a:off x="3743898" y="1531340"/>
            <a:ext cx="1677796" cy="445186"/>
          </a:xfrm>
          <a:prstGeom prst="rect">
            <a:avLst/>
          </a:prstGeom>
        </p:spPr>
        <p:txBody>
          <a:bodyPr vert="horz" wrap="square" lIns="0" tIns="12700" rIns="0" bIns="0" rtlCol="0">
            <a:spAutoFit/>
          </a:bodyPr>
          <a:lstStyle/>
          <a:p>
            <a:pPr marL="12700" marR="5080">
              <a:lnSpc>
                <a:spcPct val="146200"/>
              </a:lnSpc>
              <a:spcBef>
                <a:spcPts val="100"/>
              </a:spcBef>
            </a:pPr>
            <a:r>
              <a:rPr sz="1000" spc="-160" dirty="0">
                <a:solidFill>
                  <a:srgbClr val="5F5F5F"/>
                </a:solidFill>
                <a:latin typeface="Tahoma"/>
                <a:cs typeface="Tahoma"/>
              </a:rPr>
              <a:t>#</a:t>
            </a:r>
            <a:r>
              <a:rPr sz="1000" spc="-90" dirty="0">
                <a:solidFill>
                  <a:srgbClr val="5F5F5F"/>
                </a:solidFill>
                <a:latin typeface="Tahoma"/>
                <a:cs typeface="Tahoma"/>
              </a:rPr>
              <a:t> </a:t>
            </a:r>
            <a:r>
              <a:rPr lang="ar-SA" sz="1000" dirty="0">
                <a:solidFill>
                  <a:srgbClr val="5F5F5F"/>
                </a:solidFill>
                <a:latin typeface="Tahoma"/>
                <a:cs typeface="Tahoma"/>
              </a:rPr>
              <a:t>عدد الموظفين الجدد</a:t>
            </a:r>
          </a:p>
          <a:p>
            <a:pPr marL="12700" marR="5080">
              <a:lnSpc>
                <a:spcPct val="146200"/>
              </a:lnSpc>
              <a:spcBef>
                <a:spcPts val="100"/>
              </a:spcBef>
            </a:pPr>
            <a:r>
              <a:rPr sz="1000" spc="-160" dirty="0">
                <a:solidFill>
                  <a:srgbClr val="5F5F5F"/>
                </a:solidFill>
                <a:latin typeface="Tahoma"/>
                <a:cs typeface="Tahoma"/>
              </a:rPr>
              <a:t>#</a:t>
            </a:r>
            <a:r>
              <a:rPr sz="1000" spc="-90" dirty="0">
                <a:solidFill>
                  <a:srgbClr val="5F5F5F"/>
                </a:solidFill>
                <a:latin typeface="Tahoma"/>
                <a:cs typeface="Tahoma"/>
              </a:rPr>
              <a:t> </a:t>
            </a:r>
            <a:r>
              <a:rPr lang="ar-SA" sz="1000" dirty="0">
                <a:solidFill>
                  <a:srgbClr val="5F5F5F"/>
                </a:solidFill>
                <a:latin typeface="Tahoma"/>
                <a:cs typeface="Tahoma"/>
              </a:rPr>
              <a:t>عدد الموظفين الجدد المتاحين</a:t>
            </a:r>
            <a:endParaRPr sz="1000" dirty="0">
              <a:latin typeface="Tahoma"/>
              <a:cs typeface="Tahoma"/>
            </a:endParaRPr>
          </a:p>
        </p:txBody>
      </p:sp>
      <p:sp>
        <p:nvSpPr>
          <p:cNvPr id="14" name="object 9">
            <a:extLst>
              <a:ext uri="{FF2B5EF4-FFF2-40B4-BE49-F238E27FC236}">
                <a16:creationId xmlns:a16="http://schemas.microsoft.com/office/drawing/2014/main" id="{CA1A321C-128E-FBE4-E251-525AF893FD96}"/>
              </a:ext>
            </a:extLst>
          </p:cNvPr>
          <p:cNvSpPr txBox="1"/>
          <p:nvPr/>
        </p:nvSpPr>
        <p:spPr>
          <a:xfrm>
            <a:off x="1948434" y="1764073"/>
            <a:ext cx="1578610" cy="166071"/>
          </a:xfrm>
          <a:prstGeom prst="rect">
            <a:avLst/>
          </a:prstGeom>
        </p:spPr>
        <p:txBody>
          <a:bodyPr vert="horz" wrap="square" lIns="0" tIns="12065" rIns="0" bIns="0" rtlCol="0">
            <a:spAutoFit/>
          </a:bodyPr>
          <a:lstStyle/>
          <a:p>
            <a:pPr marL="12700">
              <a:spcBef>
                <a:spcPts val="95"/>
              </a:spcBef>
            </a:pPr>
            <a:r>
              <a:rPr lang="ar-SA" sz="1000" dirty="0">
                <a:solidFill>
                  <a:srgbClr val="5F5F5F"/>
                </a:solidFill>
                <a:latin typeface="Tahoma"/>
                <a:cs typeface="Tahoma"/>
              </a:rPr>
              <a:t>نسبة التغير السنوي (</a:t>
            </a:r>
            <a:r>
              <a:rPr lang="en-US" sz="1000" dirty="0">
                <a:solidFill>
                  <a:srgbClr val="5F5F5F"/>
                </a:solidFill>
                <a:latin typeface="Tahoma"/>
                <a:cs typeface="Tahoma"/>
              </a:rPr>
              <a:t> (YoY</a:t>
            </a:r>
          </a:p>
        </p:txBody>
      </p:sp>
      <p:pic>
        <p:nvPicPr>
          <p:cNvPr id="15" name="object 11">
            <a:extLst>
              <a:ext uri="{FF2B5EF4-FFF2-40B4-BE49-F238E27FC236}">
                <a16:creationId xmlns:a16="http://schemas.microsoft.com/office/drawing/2014/main" id="{AB938B66-DACB-F3D0-FD2D-DB7EDE989C6C}"/>
              </a:ext>
            </a:extLst>
          </p:cNvPr>
          <p:cNvPicPr/>
          <p:nvPr/>
        </p:nvPicPr>
        <p:blipFill>
          <a:blip r:embed="rId5" cstate="print"/>
          <a:stretch>
            <a:fillRect/>
          </a:stretch>
        </p:blipFill>
        <p:spPr>
          <a:xfrm>
            <a:off x="5445750" y="1592931"/>
            <a:ext cx="142747" cy="148843"/>
          </a:xfrm>
          <a:prstGeom prst="rect">
            <a:avLst/>
          </a:prstGeom>
        </p:spPr>
      </p:pic>
      <p:pic>
        <p:nvPicPr>
          <p:cNvPr id="16" name="object 12">
            <a:extLst>
              <a:ext uri="{FF2B5EF4-FFF2-40B4-BE49-F238E27FC236}">
                <a16:creationId xmlns:a16="http://schemas.microsoft.com/office/drawing/2014/main" id="{F2D70CC9-85C7-F088-E2E4-56F9704D2005}"/>
              </a:ext>
            </a:extLst>
          </p:cNvPr>
          <p:cNvPicPr/>
          <p:nvPr/>
        </p:nvPicPr>
        <p:blipFill>
          <a:blip r:embed="rId6" cstate="print"/>
          <a:stretch>
            <a:fillRect/>
          </a:stretch>
        </p:blipFill>
        <p:spPr>
          <a:xfrm>
            <a:off x="5445750" y="1819830"/>
            <a:ext cx="144272" cy="147319"/>
          </a:xfrm>
          <a:prstGeom prst="rect">
            <a:avLst/>
          </a:prstGeom>
        </p:spPr>
      </p:pic>
      <p:pic>
        <p:nvPicPr>
          <p:cNvPr id="17" name="object 13">
            <a:extLst>
              <a:ext uri="{FF2B5EF4-FFF2-40B4-BE49-F238E27FC236}">
                <a16:creationId xmlns:a16="http://schemas.microsoft.com/office/drawing/2014/main" id="{377D7561-4B56-270E-EBB0-E41171B1E864}"/>
              </a:ext>
            </a:extLst>
          </p:cNvPr>
          <p:cNvPicPr/>
          <p:nvPr/>
        </p:nvPicPr>
        <p:blipFill>
          <a:blip r:embed="rId7" cstate="print"/>
          <a:stretch>
            <a:fillRect/>
          </a:stretch>
        </p:blipFill>
        <p:spPr>
          <a:xfrm>
            <a:off x="3527044" y="1799687"/>
            <a:ext cx="144272" cy="148844"/>
          </a:xfrm>
          <a:prstGeom prst="rect">
            <a:avLst/>
          </a:prstGeom>
        </p:spPr>
      </p:pic>
      <p:pic>
        <p:nvPicPr>
          <p:cNvPr id="18" name="object 14">
            <a:extLst>
              <a:ext uri="{FF2B5EF4-FFF2-40B4-BE49-F238E27FC236}">
                <a16:creationId xmlns:a16="http://schemas.microsoft.com/office/drawing/2014/main" id="{B598CA43-14CF-F792-F22D-F400D7B7B8DF}"/>
              </a:ext>
            </a:extLst>
          </p:cNvPr>
          <p:cNvPicPr/>
          <p:nvPr/>
        </p:nvPicPr>
        <p:blipFill>
          <a:blip r:embed="rId8" cstate="print"/>
          <a:stretch>
            <a:fillRect/>
          </a:stretch>
        </p:blipFill>
        <p:spPr>
          <a:xfrm>
            <a:off x="6443472" y="2065021"/>
            <a:ext cx="3525012" cy="1877567"/>
          </a:xfrm>
          <a:prstGeom prst="rect">
            <a:avLst/>
          </a:prstGeom>
        </p:spPr>
      </p:pic>
      <p:pic>
        <p:nvPicPr>
          <p:cNvPr id="21" name="object 15">
            <a:extLst>
              <a:ext uri="{FF2B5EF4-FFF2-40B4-BE49-F238E27FC236}">
                <a16:creationId xmlns:a16="http://schemas.microsoft.com/office/drawing/2014/main" id="{BCA03ED9-249C-41C5-4CAF-2C7B2DC50E1F}"/>
              </a:ext>
            </a:extLst>
          </p:cNvPr>
          <p:cNvPicPr/>
          <p:nvPr/>
        </p:nvPicPr>
        <p:blipFill>
          <a:blip r:embed="rId9" cstate="print"/>
          <a:stretch>
            <a:fillRect/>
          </a:stretch>
        </p:blipFill>
        <p:spPr>
          <a:xfrm>
            <a:off x="6443472" y="2075689"/>
            <a:ext cx="342900" cy="169163"/>
          </a:xfrm>
          <a:prstGeom prst="rect">
            <a:avLst/>
          </a:prstGeom>
        </p:spPr>
      </p:pic>
      <p:pic>
        <p:nvPicPr>
          <p:cNvPr id="22" name="object 16">
            <a:extLst>
              <a:ext uri="{FF2B5EF4-FFF2-40B4-BE49-F238E27FC236}">
                <a16:creationId xmlns:a16="http://schemas.microsoft.com/office/drawing/2014/main" id="{7789D170-FB00-BD3C-8BF3-4B490939D976}"/>
              </a:ext>
            </a:extLst>
          </p:cNvPr>
          <p:cNvPicPr/>
          <p:nvPr/>
        </p:nvPicPr>
        <p:blipFill>
          <a:blip r:embed="rId10" cstate="print"/>
          <a:stretch>
            <a:fillRect/>
          </a:stretch>
        </p:blipFill>
        <p:spPr>
          <a:xfrm>
            <a:off x="6384036" y="4338828"/>
            <a:ext cx="3584448" cy="2095500"/>
          </a:xfrm>
          <a:prstGeom prst="rect">
            <a:avLst/>
          </a:prstGeom>
        </p:spPr>
      </p:pic>
      <p:pic>
        <p:nvPicPr>
          <p:cNvPr id="23" name="object 17">
            <a:extLst>
              <a:ext uri="{FF2B5EF4-FFF2-40B4-BE49-F238E27FC236}">
                <a16:creationId xmlns:a16="http://schemas.microsoft.com/office/drawing/2014/main" id="{376C2AA6-BB77-CBE8-0BB7-810B5CBBAD7A}"/>
              </a:ext>
            </a:extLst>
          </p:cNvPr>
          <p:cNvPicPr/>
          <p:nvPr/>
        </p:nvPicPr>
        <p:blipFill>
          <a:blip r:embed="rId11" cstate="print"/>
          <a:stretch>
            <a:fillRect/>
          </a:stretch>
        </p:blipFill>
        <p:spPr>
          <a:xfrm>
            <a:off x="6396228" y="4393693"/>
            <a:ext cx="384048" cy="138683"/>
          </a:xfrm>
          <a:prstGeom prst="rect">
            <a:avLst/>
          </a:prstGeom>
        </p:spPr>
      </p:pic>
      <p:sp>
        <p:nvSpPr>
          <p:cNvPr id="63" name="object 18">
            <a:extLst>
              <a:ext uri="{FF2B5EF4-FFF2-40B4-BE49-F238E27FC236}">
                <a16:creationId xmlns:a16="http://schemas.microsoft.com/office/drawing/2014/main" id="{EC11AB15-1775-5F3E-C118-9442D26D4667}"/>
              </a:ext>
            </a:extLst>
          </p:cNvPr>
          <p:cNvSpPr txBox="1"/>
          <p:nvPr/>
        </p:nvSpPr>
        <p:spPr>
          <a:xfrm>
            <a:off x="8448103" y="1810455"/>
            <a:ext cx="1458806" cy="166071"/>
          </a:xfrm>
          <a:prstGeom prst="rect">
            <a:avLst/>
          </a:prstGeom>
        </p:spPr>
        <p:txBody>
          <a:bodyPr vert="horz" wrap="square" lIns="0" tIns="12065" rIns="0" bIns="0" rtlCol="0">
            <a:spAutoFit/>
          </a:bodyPr>
          <a:lstStyle/>
          <a:p>
            <a:pPr marL="12700">
              <a:spcBef>
                <a:spcPts val="95"/>
              </a:spcBef>
            </a:pPr>
            <a:r>
              <a:rPr lang="ar-SA" sz="1000" dirty="0">
                <a:solidFill>
                  <a:srgbClr val="5F5F5F"/>
                </a:solidFill>
                <a:latin typeface="Tahoma"/>
                <a:cs typeface="Tahoma"/>
              </a:rPr>
              <a:t>عدد الموظفين حسب العِرق</a:t>
            </a:r>
          </a:p>
        </p:txBody>
      </p:sp>
      <p:sp>
        <p:nvSpPr>
          <p:cNvPr id="65" name="object 19">
            <a:extLst>
              <a:ext uri="{FF2B5EF4-FFF2-40B4-BE49-F238E27FC236}">
                <a16:creationId xmlns:a16="http://schemas.microsoft.com/office/drawing/2014/main" id="{BDBECD93-19B3-7659-888A-E1E0C548F396}"/>
              </a:ext>
            </a:extLst>
          </p:cNvPr>
          <p:cNvSpPr txBox="1"/>
          <p:nvPr/>
        </p:nvSpPr>
        <p:spPr>
          <a:xfrm>
            <a:off x="4362584" y="4119704"/>
            <a:ext cx="1454525" cy="166071"/>
          </a:xfrm>
          <a:prstGeom prst="rect">
            <a:avLst/>
          </a:prstGeom>
        </p:spPr>
        <p:txBody>
          <a:bodyPr vert="horz" wrap="square" lIns="0" tIns="12065" rIns="0" bIns="0" rtlCol="0">
            <a:spAutoFit/>
          </a:bodyPr>
          <a:lstStyle/>
          <a:p>
            <a:pPr marL="12700">
              <a:spcBef>
                <a:spcPts val="95"/>
              </a:spcBef>
            </a:pPr>
            <a:r>
              <a:rPr lang="ar-SA" sz="1000" dirty="0">
                <a:solidFill>
                  <a:srgbClr val="5F5F5F"/>
                </a:solidFill>
                <a:latin typeface="Tahoma"/>
                <a:cs typeface="Tahoma"/>
              </a:rPr>
              <a:t>عدد التعيينات غير المناسبة</a:t>
            </a:r>
          </a:p>
        </p:txBody>
      </p:sp>
      <p:sp>
        <p:nvSpPr>
          <p:cNvPr id="66" name="object 20">
            <a:extLst>
              <a:ext uri="{FF2B5EF4-FFF2-40B4-BE49-F238E27FC236}">
                <a16:creationId xmlns:a16="http://schemas.microsoft.com/office/drawing/2014/main" id="{058D2AC8-ED77-8A0B-9CFF-3262135E7DFF}"/>
              </a:ext>
            </a:extLst>
          </p:cNvPr>
          <p:cNvSpPr txBox="1"/>
          <p:nvPr/>
        </p:nvSpPr>
        <p:spPr>
          <a:xfrm>
            <a:off x="8340364" y="4050182"/>
            <a:ext cx="1582299" cy="166071"/>
          </a:xfrm>
          <a:prstGeom prst="rect">
            <a:avLst/>
          </a:prstGeom>
        </p:spPr>
        <p:txBody>
          <a:bodyPr vert="horz" wrap="square" lIns="0" tIns="12065" rIns="0" bIns="0" rtlCol="0">
            <a:spAutoFit/>
          </a:bodyPr>
          <a:lstStyle/>
          <a:p>
            <a:pPr marL="12700">
              <a:spcBef>
                <a:spcPts val="95"/>
              </a:spcBef>
            </a:pPr>
            <a:r>
              <a:rPr lang="ar-SA" sz="1000" dirty="0">
                <a:solidFill>
                  <a:srgbClr val="5F5F5F"/>
                </a:solidFill>
                <a:latin typeface="Tahoma"/>
                <a:cs typeface="Tahoma"/>
              </a:rPr>
              <a:t>نسبة الموظفين حسب العِرق</a:t>
            </a:r>
          </a:p>
        </p:txBody>
      </p:sp>
      <p:sp>
        <p:nvSpPr>
          <p:cNvPr id="67" name="object 21">
            <a:extLst>
              <a:ext uri="{FF2B5EF4-FFF2-40B4-BE49-F238E27FC236}">
                <a16:creationId xmlns:a16="http://schemas.microsoft.com/office/drawing/2014/main" id="{D99CD014-961F-CE35-1D1A-6AE90AB1F088}"/>
              </a:ext>
            </a:extLst>
          </p:cNvPr>
          <p:cNvSpPr txBox="1"/>
          <p:nvPr/>
        </p:nvSpPr>
        <p:spPr>
          <a:xfrm>
            <a:off x="6780276" y="1247370"/>
            <a:ext cx="3335654" cy="197490"/>
          </a:xfrm>
          <a:prstGeom prst="rect">
            <a:avLst/>
          </a:prstGeom>
        </p:spPr>
        <p:txBody>
          <a:bodyPr vert="horz" wrap="square" lIns="0" tIns="12700" rIns="0" bIns="0" rtlCol="0">
            <a:spAutoFit/>
          </a:bodyPr>
          <a:lstStyle/>
          <a:p>
            <a:pPr marL="12700">
              <a:spcBef>
                <a:spcPts val="100"/>
              </a:spcBef>
            </a:pPr>
            <a:r>
              <a:rPr lang="ar-SA" sz="1200" spc="85" dirty="0">
                <a:solidFill>
                  <a:srgbClr val="5F5F5F"/>
                </a:solidFill>
                <a:latin typeface="Century Gothic"/>
                <a:cs typeface="Century Gothic"/>
              </a:rPr>
              <a:t>الموارد البشرية – مثال على التوظيف</a:t>
            </a:r>
          </a:p>
        </p:txBody>
      </p:sp>
    </p:spTree>
    <p:extLst>
      <p:ext uri="{BB962C8B-B14F-4D97-AF65-F5344CB8AC3E}">
        <p14:creationId xmlns:p14="http://schemas.microsoft.com/office/powerpoint/2010/main" val="2525592149"/>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2">
            <a:extLst>
              <a:ext uri="{FF2B5EF4-FFF2-40B4-BE49-F238E27FC236}">
                <a16:creationId xmlns:a16="http://schemas.microsoft.com/office/drawing/2014/main" id="{F9ADEAD8-2440-49D5-8FEA-E9C1EF3158AE}"/>
              </a:ext>
            </a:extLst>
          </p:cNvPr>
          <p:cNvSpPr/>
          <p:nvPr/>
        </p:nvSpPr>
        <p:spPr>
          <a:xfrm>
            <a:off x="5692141" y="1485900"/>
            <a:ext cx="4512945" cy="716280"/>
          </a:xfrm>
          <a:custGeom>
            <a:avLst/>
            <a:gdLst/>
            <a:ahLst/>
            <a:cxnLst/>
            <a:rect l="l" t="t" r="r" b="b"/>
            <a:pathLst>
              <a:path w="4512945" h="716280">
                <a:moveTo>
                  <a:pt x="4393184" y="0"/>
                </a:moveTo>
                <a:lnTo>
                  <a:pt x="119380" y="0"/>
                </a:lnTo>
                <a:lnTo>
                  <a:pt x="72919" y="9384"/>
                </a:lnTo>
                <a:lnTo>
                  <a:pt x="34972" y="34972"/>
                </a:lnTo>
                <a:lnTo>
                  <a:pt x="9384" y="72919"/>
                </a:lnTo>
                <a:lnTo>
                  <a:pt x="0" y="119379"/>
                </a:lnTo>
                <a:lnTo>
                  <a:pt x="0" y="596900"/>
                </a:lnTo>
                <a:lnTo>
                  <a:pt x="9384" y="643360"/>
                </a:lnTo>
                <a:lnTo>
                  <a:pt x="34972" y="681307"/>
                </a:lnTo>
                <a:lnTo>
                  <a:pt x="72919" y="706895"/>
                </a:lnTo>
                <a:lnTo>
                  <a:pt x="119380" y="716279"/>
                </a:lnTo>
                <a:lnTo>
                  <a:pt x="4393184" y="716279"/>
                </a:lnTo>
                <a:lnTo>
                  <a:pt x="4439644" y="706895"/>
                </a:lnTo>
                <a:lnTo>
                  <a:pt x="4477591" y="681307"/>
                </a:lnTo>
                <a:lnTo>
                  <a:pt x="4503179" y="643360"/>
                </a:lnTo>
                <a:lnTo>
                  <a:pt x="4512564" y="596900"/>
                </a:lnTo>
                <a:lnTo>
                  <a:pt x="4512564" y="119379"/>
                </a:lnTo>
                <a:lnTo>
                  <a:pt x="4503179" y="72919"/>
                </a:lnTo>
                <a:lnTo>
                  <a:pt x="4477591" y="34972"/>
                </a:lnTo>
                <a:lnTo>
                  <a:pt x="4439644" y="9384"/>
                </a:lnTo>
                <a:lnTo>
                  <a:pt x="4393184" y="0"/>
                </a:lnTo>
                <a:close/>
              </a:path>
            </a:pathLst>
          </a:custGeom>
          <a:solidFill>
            <a:schemeClr val="bg2">
              <a:lumMod val="90000"/>
            </a:schemeClr>
          </a:solidFill>
        </p:spPr>
        <p:txBody>
          <a:bodyPr wrap="square" lIns="0" tIns="0" rIns="0" bIns="0" rtlCol="0"/>
          <a:lstStyle/>
          <a:p>
            <a:endParaRPr kern="0">
              <a:solidFill>
                <a:sysClr val="windowText" lastClr="000000"/>
              </a:solidFill>
            </a:endParaRPr>
          </a:p>
        </p:txBody>
      </p:sp>
      <p:sp>
        <p:nvSpPr>
          <p:cNvPr id="4" name="object 3">
            <a:extLst>
              <a:ext uri="{FF2B5EF4-FFF2-40B4-BE49-F238E27FC236}">
                <a16:creationId xmlns:a16="http://schemas.microsoft.com/office/drawing/2014/main" id="{2A44B622-27FE-31D9-15C1-9412087AE0D4}"/>
              </a:ext>
            </a:extLst>
          </p:cNvPr>
          <p:cNvSpPr/>
          <p:nvPr/>
        </p:nvSpPr>
        <p:spPr>
          <a:xfrm>
            <a:off x="5692141" y="3681984"/>
            <a:ext cx="4512945" cy="715010"/>
          </a:xfrm>
          <a:custGeom>
            <a:avLst/>
            <a:gdLst/>
            <a:ahLst/>
            <a:cxnLst/>
            <a:rect l="l" t="t" r="r" b="b"/>
            <a:pathLst>
              <a:path w="4512945" h="715010">
                <a:moveTo>
                  <a:pt x="4393438" y="0"/>
                </a:moveTo>
                <a:lnTo>
                  <a:pt x="119125" y="0"/>
                </a:lnTo>
                <a:lnTo>
                  <a:pt x="72759" y="9362"/>
                </a:lnTo>
                <a:lnTo>
                  <a:pt x="34893" y="34893"/>
                </a:lnTo>
                <a:lnTo>
                  <a:pt x="9362" y="72759"/>
                </a:lnTo>
                <a:lnTo>
                  <a:pt x="0" y="119126"/>
                </a:lnTo>
                <a:lnTo>
                  <a:pt x="0" y="595630"/>
                </a:lnTo>
                <a:lnTo>
                  <a:pt x="9362" y="641996"/>
                </a:lnTo>
                <a:lnTo>
                  <a:pt x="34893" y="679862"/>
                </a:lnTo>
                <a:lnTo>
                  <a:pt x="72759" y="705393"/>
                </a:lnTo>
                <a:lnTo>
                  <a:pt x="119125" y="714756"/>
                </a:lnTo>
                <a:lnTo>
                  <a:pt x="4393438" y="714756"/>
                </a:lnTo>
                <a:lnTo>
                  <a:pt x="4439804" y="705393"/>
                </a:lnTo>
                <a:lnTo>
                  <a:pt x="4477670" y="679862"/>
                </a:lnTo>
                <a:lnTo>
                  <a:pt x="4503201" y="641996"/>
                </a:lnTo>
                <a:lnTo>
                  <a:pt x="4512564" y="595630"/>
                </a:lnTo>
                <a:lnTo>
                  <a:pt x="4512564" y="119126"/>
                </a:lnTo>
                <a:lnTo>
                  <a:pt x="4503201" y="72759"/>
                </a:lnTo>
                <a:lnTo>
                  <a:pt x="4477670" y="34893"/>
                </a:lnTo>
                <a:lnTo>
                  <a:pt x="4439804" y="9362"/>
                </a:lnTo>
                <a:lnTo>
                  <a:pt x="4393438" y="0"/>
                </a:lnTo>
                <a:close/>
              </a:path>
            </a:pathLst>
          </a:custGeom>
          <a:solidFill>
            <a:schemeClr val="bg2">
              <a:lumMod val="90000"/>
            </a:schemeClr>
          </a:solidFill>
        </p:spPr>
        <p:txBody>
          <a:bodyPr wrap="square" lIns="0" tIns="0" rIns="0" bIns="0" rtlCol="0"/>
          <a:lstStyle/>
          <a:p>
            <a:endParaRPr kern="0">
              <a:solidFill>
                <a:sysClr val="windowText" lastClr="000000"/>
              </a:solidFill>
            </a:endParaRPr>
          </a:p>
        </p:txBody>
      </p:sp>
      <p:sp>
        <p:nvSpPr>
          <p:cNvPr id="5" name="object 4">
            <a:extLst>
              <a:ext uri="{FF2B5EF4-FFF2-40B4-BE49-F238E27FC236}">
                <a16:creationId xmlns:a16="http://schemas.microsoft.com/office/drawing/2014/main" id="{8CB31236-9444-9C6A-E195-CB1C07AA3CBC}"/>
              </a:ext>
            </a:extLst>
          </p:cNvPr>
          <p:cNvSpPr/>
          <p:nvPr/>
        </p:nvSpPr>
        <p:spPr>
          <a:xfrm>
            <a:off x="5692141" y="4514088"/>
            <a:ext cx="4512945" cy="715010"/>
          </a:xfrm>
          <a:custGeom>
            <a:avLst/>
            <a:gdLst/>
            <a:ahLst/>
            <a:cxnLst/>
            <a:rect l="l" t="t" r="r" b="b"/>
            <a:pathLst>
              <a:path w="4512945" h="715010">
                <a:moveTo>
                  <a:pt x="4393438" y="0"/>
                </a:moveTo>
                <a:lnTo>
                  <a:pt x="119125" y="0"/>
                </a:lnTo>
                <a:lnTo>
                  <a:pt x="72759" y="9362"/>
                </a:lnTo>
                <a:lnTo>
                  <a:pt x="34893" y="34893"/>
                </a:lnTo>
                <a:lnTo>
                  <a:pt x="9362" y="72759"/>
                </a:lnTo>
                <a:lnTo>
                  <a:pt x="0" y="119125"/>
                </a:lnTo>
                <a:lnTo>
                  <a:pt x="0" y="595630"/>
                </a:lnTo>
                <a:lnTo>
                  <a:pt x="9362" y="641996"/>
                </a:lnTo>
                <a:lnTo>
                  <a:pt x="34893" y="679862"/>
                </a:lnTo>
                <a:lnTo>
                  <a:pt x="72759" y="705393"/>
                </a:lnTo>
                <a:lnTo>
                  <a:pt x="119125" y="714756"/>
                </a:lnTo>
                <a:lnTo>
                  <a:pt x="4393438" y="714756"/>
                </a:lnTo>
                <a:lnTo>
                  <a:pt x="4439804" y="705393"/>
                </a:lnTo>
                <a:lnTo>
                  <a:pt x="4477670" y="679862"/>
                </a:lnTo>
                <a:lnTo>
                  <a:pt x="4503201" y="641996"/>
                </a:lnTo>
                <a:lnTo>
                  <a:pt x="4512564" y="595630"/>
                </a:lnTo>
                <a:lnTo>
                  <a:pt x="4512564" y="119125"/>
                </a:lnTo>
                <a:lnTo>
                  <a:pt x="4503201" y="72759"/>
                </a:lnTo>
                <a:lnTo>
                  <a:pt x="4477670" y="34893"/>
                </a:lnTo>
                <a:lnTo>
                  <a:pt x="4439804" y="9362"/>
                </a:lnTo>
                <a:lnTo>
                  <a:pt x="4393438" y="0"/>
                </a:lnTo>
                <a:close/>
              </a:path>
            </a:pathLst>
          </a:custGeom>
          <a:solidFill>
            <a:schemeClr val="bg2">
              <a:lumMod val="90000"/>
            </a:schemeClr>
          </a:solidFill>
        </p:spPr>
        <p:txBody>
          <a:bodyPr wrap="square" lIns="0" tIns="0" rIns="0" bIns="0" rtlCol="0"/>
          <a:lstStyle/>
          <a:p>
            <a:endParaRPr kern="0">
              <a:solidFill>
                <a:sysClr val="windowText" lastClr="000000"/>
              </a:solidFill>
            </a:endParaRPr>
          </a:p>
        </p:txBody>
      </p:sp>
      <p:sp>
        <p:nvSpPr>
          <p:cNvPr id="6" name="object 5">
            <a:extLst>
              <a:ext uri="{FF2B5EF4-FFF2-40B4-BE49-F238E27FC236}">
                <a16:creationId xmlns:a16="http://schemas.microsoft.com/office/drawing/2014/main" id="{6B3F8D51-934C-DCAC-0D1F-1F042913B052}"/>
              </a:ext>
            </a:extLst>
          </p:cNvPr>
          <p:cNvSpPr/>
          <p:nvPr/>
        </p:nvSpPr>
        <p:spPr>
          <a:xfrm>
            <a:off x="5692141" y="2311907"/>
            <a:ext cx="4512945" cy="1249680"/>
          </a:xfrm>
          <a:custGeom>
            <a:avLst/>
            <a:gdLst/>
            <a:ahLst/>
            <a:cxnLst/>
            <a:rect l="l" t="t" r="r" b="b"/>
            <a:pathLst>
              <a:path w="4512945" h="1249679">
                <a:moveTo>
                  <a:pt x="4374515" y="0"/>
                </a:moveTo>
                <a:lnTo>
                  <a:pt x="138049" y="0"/>
                </a:lnTo>
                <a:lnTo>
                  <a:pt x="94431" y="7041"/>
                </a:lnTo>
                <a:lnTo>
                  <a:pt x="56537" y="26647"/>
                </a:lnTo>
                <a:lnTo>
                  <a:pt x="26647" y="56537"/>
                </a:lnTo>
                <a:lnTo>
                  <a:pt x="7041" y="94431"/>
                </a:lnTo>
                <a:lnTo>
                  <a:pt x="0" y="138049"/>
                </a:lnTo>
                <a:lnTo>
                  <a:pt x="0" y="1111630"/>
                </a:lnTo>
                <a:lnTo>
                  <a:pt x="7041" y="1155248"/>
                </a:lnTo>
                <a:lnTo>
                  <a:pt x="26647" y="1193142"/>
                </a:lnTo>
                <a:lnTo>
                  <a:pt x="56537" y="1223032"/>
                </a:lnTo>
                <a:lnTo>
                  <a:pt x="94431" y="1242638"/>
                </a:lnTo>
                <a:lnTo>
                  <a:pt x="138049" y="1249679"/>
                </a:lnTo>
                <a:lnTo>
                  <a:pt x="4374515" y="1249679"/>
                </a:lnTo>
                <a:lnTo>
                  <a:pt x="4418132" y="1242638"/>
                </a:lnTo>
                <a:lnTo>
                  <a:pt x="4456026" y="1223032"/>
                </a:lnTo>
                <a:lnTo>
                  <a:pt x="4485916" y="1193142"/>
                </a:lnTo>
                <a:lnTo>
                  <a:pt x="4505522" y="1155248"/>
                </a:lnTo>
                <a:lnTo>
                  <a:pt x="4512564" y="1111630"/>
                </a:lnTo>
                <a:lnTo>
                  <a:pt x="4512564" y="138049"/>
                </a:lnTo>
                <a:lnTo>
                  <a:pt x="4505522" y="94431"/>
                </a:lnTo>
                <a:lnTo>
                  <a:pt x="4485916" y="56537"/>
                </a:lnTo>
                <a:lnTo>
                  <a:pt x="4456026" y="26647"/>
                </a:lnTo>
                <a:lnTo>
                  <a:pt x="4418132" y="7041"/>
                </a:lnTo>
                <a:lnTo>
                  <a:pt x="4374515" y="0"/>
                </a:lnTo>
                <a:close/>
              </a:path>
            </a:pathLst>
          </a:custGeom>
          <a:solidFill>
            <a:schemeClr val="bg2">
              <a:lumMod val="90000"/>
            </a:schemeClr>
          </a:solidFill>
        </p:spPr>
        <p:txBody>
          <a:bodyPr wrap="square" lIns="0" tIns="0" rIns="0" bIns="0" rtlCol="0"/>
          <a:lstStyle/>
          <a:p>
            <a:endParaRPr kern="0">
              <a:solidFill>
                <a:sysClr val="windowText" lastClr="000000"/>
              </a:solidFill>
            </a:endParaRPr>
          </a:p>
        </p:txBody>
      </p:sp>
      <p:pic>
        <p:nvPicPr>
          <p:cNvPr id="7" name="object 7">
            <a:extLst>
              <a:ext uri="{FF2B5EF4-FFF2-40B4-BE49-F238E27FC236}">
                <a16:creationId xmlns:a16="http://schemas.microsoft.com/office/drawing/2014/main" id="{19694B04-1D06-C2A6-E44A-52906B61E62F}"/>
              </a:ext>
            </a:extLst>
          </p:cNvPr>
          <p:cNvPicPr/>
          <p:nvPr/>
        </p:nvPicPr>
        <p:blipFill>
          <a:blip r:embed="rId2" cstate="print"/>
          <a:stretch>
            <a:fillRect/>
          </a:stretch>
        </p:blipFill>
        <p:spPr>
          <a:xfrm>
            <a:off x="1970517" y="1478133"/>
            <a:ext cx="3651534" cy="789647"/>
          </a:xfrm>
          <a:prstGeom prst="rect">
            <a:avLst/>
          </a:prstGeom>
        </p:spPr>
      </p:pic>
      <p:sp>
        <p:nvSpPr>
          <p:cNvPr id="8" name="object 8">
            <a:extLst>
              <a:ext uri="{FF2B5EF4-FFF2-40B4-BE49-F238E27FC236}">
                <a16:creationId xmlns:a16="http://schemas.microsoft.com/office/drawing/2014/main" id="{DAE87A52-919B-3AF0-1EDE-1974ECFA70EE}"/>
              </a:ext>
            </a:extLst>
          </p:cNvPr>
          <p:cNvSpPr/>
          <p:nvPr/>
        </p:nvSpPr>
        <p:spPr>
          <a:xfrm>
            <a:off x="1987296" y="1485901"/>
            <a:ext cx="3568065" cy="715010"/>
          </a:xfrm>
          <a:custGeom>
            <a:avLst/>
            <a:gdLst/>
            <a:ahLst/>
            <a:cxnLst/>
            <a:rect l="l" t="t" r="r" b="b"/>
            <a:pathLst>
              <a:path w="3568065" h="715010">
                <a:moveTo>
                  <a:pt x="3448557" y="0"/>
                </a:moveTo>
                <a:lnTo>
                  <a:pt x="119126" y="0"/>
                </a:lnTo>
                <a:lnTo>
                  <a:pt x="72759" y="9362"/>
                </a:lnTo>
                <a:lnTo>
                  <a:pt x="34893" y="34893"/>
                </a:lnTo>
                <a:lnTo>
                  <a:pt x="9362" y="72759"/>
                </a:lnTo>
                <a:lnTo>
                  <a:pt x="0" y="119125"/>
                </a:lnTo>
                <a:lnTo>
                  <a:pt x="0" y="595629"/>
                </a:lnTo>
                <a:lnTo>
                  <a:pt x="9362" y="641996"/>
                </a:lnTo>
                <a:lnTo>
                  <a:pt x="34893" y="679862"/>
                </a:lnTo>
                <a:lnTo>
                  <a:pt x="72759" y="705393"/>
                </a:lnTo>
                <a:lnTo>
                  <a:pt x="119126" y="714755"/>
                </a:lnTo>
                <a:lnTo>
                  <a:pt x="3448557" y="714755"/>
                </a:lnTo>
                <a:lnTo>
                  <a:pt x="3494924" y="705393"/>
                </a:lnTo>
                <a:lnTo>
                  <a:pt x="3532790" y="679862"/>
                </a:lnTo>
                <a:lnTo>
                  <a:pt x="3558321" y="641996"/>
                </a:lnTo>
                <a:lnTo>
                  <a:pt x="3567683" y="595629"/>
                </a:lnTo>
                <a:lnTo>
                  <a:pt x="3567683" y="119125"/>
                </a:lnTo>
                <a:lnTo>
                  <a:pt x="3558321" y="72759"/>
                </a:lnTo>
                <a:lnTo>
                  <a:pt x="3532790" y="34893"/>
                </a:lnTo>
                <a:lnTo>
                  <a:pt x="3494924" y="9362"/>
                </a:lnTo>
                <a:lnTo>
                  <a:pt x="3448557" y="0"/>
                </a:lnTo>
                <a:close/>
              </a:path>
            </a:pathLst>
          </a:custGeom>
          <a:solidFill>
            <a:srgbClr val="FFFFFF"/>
          </a:solidFill>
        </p:spPr>
        <p:txBody>
          <a:bodyPr wrap="square" lIns="0" tIns="0" rIns="0" bIns="0" rtlCol="0"/>
          <a:lstStyle/>
          <a:p>
            <a:endParaRPr kern="0" dirty="0">
              <a:solidFill>
                <a:sysClr val="windowText" lastClr="000000"/>
              </a:solidFill>
            </a:endParaRPr>
          </a:p>
        </p:txBody>
      </p:sp>
      <p:pic>
        <p:nvPicPr>
          <p:cNvPr id="9" name="object 9">
            <a:extLst>
              <a:ext uri="{FF2B5EF4-FFF2-40B4-BE49-F238E27FC236}">
                <a16:creationId xmlns:a16="http://schemas.microsoft.com/office/drawing/2014/main" id="{B26C5477-541F-E7ED-1F13-35314AFAD223}"/>
              </a:ext>
            </a:extLst>
          </p:cNvPr>
          <p:cNvPicPr/>
          <p:nvPr/>
        </p:nvPicPr>
        <p:blipFill>
          <a:blip r:embed="rId3" cstate="print"/>
          <a:stretch>
            <a:fillRect/>
          </a:stretch>
        </p:blipFill>
        <p:spPr>
          <a:xfrm>
            <a:off x="1970517" y="2302744"/>
            <a:ext cx="3651534" cy="1324386"/>
          </a:xfrm>
          <a:prstGeom prst="rect">
            <a:avLst/>
          </a:prstGeom>
        </p:spPr>
      </p:pic>
      <p:sp>
        <p:nvSpPr>
          <p:cNvPr id="10" name="object 10">
            <a:extLst>
              <a:ext uri="{FF2B5EF4-FFF2-40B4-BE49-F238E27FC236}">
                <a16:creationId xmlns:a16="http://schemas.microsoft.com/office/drawing/2014/main" id="{E22A9508-8E4F-329C-7726-FD3DA48468DF}"/>
              </a:ext>
            </a:extLst>
          </p:cNvPr>
          <p:cNvSpPr/>
          <p:nvPr/>
        </p:nvSpPr>
        <p:spPr>
          <a:xfrm>
            <a:off x="1987296" y="2310385"/>
            <a:ext cx="3568065" cy="1249680"/>
          </a:xfrm>
          <a:custGeom>
            <a:avLst/>
            <a:gdLst/>
            <a:ahLst/>
            <a:cxnLst/>
            <a:rect l="l" t="t" r="r" b="b"/>
            <a:pathLst>
              <a:path w="3568065" h="1249679">
                <a:moveTo>
                  <a:pt x="3429634" y="0"/>
                </a:moveTo>
                <a:lnTo>
                  <a:pt x="138010" y="0"/>
                </a:lnTo>
                <a:lnTo>
                  <a:pt x="94387" y="7041"/>
                </a:lnTo>
                <a:lnTo>
                  <a:pt x="56501" y="26647"/>
                </a:lnTo>
                <a:lnTo>
                  <a:pt x="26626" y="56537"/>
                </a:lnTo>
                <a:lnTo>
                  <a:pt x="7035" y="94431"/>
                </a:lnTo>
                <a:lnTo>
                  <a:pt x="0" y="138049"/>
                </a:lnTo>
                <a:lnTo>
                  <a:pt x="0" y="1111630"/>
                </a:lnTo>
                <a:lnTo>
                  <a:pt x="7035" y="1155248"/>
                </a:lnTo>
                <a:lnTo>
                  <a:pt x="26626" y="1193142"/>
                </a:lnTo>
                <a:lnTo>
                  <a:pt x="56501" y="1223032"/>
                </a:lnTo>
                <a:lnTo>
                  <a:pt x="94387" y="1242638"/>
                </a:lnTo>
                <a:lnTo>
                  <a:pt x="138010" y="1249679"/>
                </a:lnTo>
                <a:lnTo>
                  <a:pt x="3429634" y="1249679"/>
                </a:lnTo>
                <a:lnTo>
                  <a:pt x="3473252" y="1242638"/>
                </a:lnTo>
                <a:lnTo>
                  <a:pt x="3511146" y="1223032"/>
                </a:lnTo>
                <a:lnTo>
                  <a:pt x="3541036" y="1193142"/>
                </a:lnTo>
                <a:lnTo>
                  <a:pt x="3560642" y="1155248"/>
                </a:lnTo>
                <a:lnTo>
                  <a:pt x="3567683" y="1111630"/>
                </a:lnTo>
                <a:lnTo>
                  <a:pt x="3567683" y="138049"/>
                </a:lnTo>
                <a:lnTo>
                  <a:pt x="3560642" y="94431"/>
                </a:lnTo>
                <a:lnTo>
                  <a:pt x="3541036" y="56537"/>
                </a:lnTo>
                <a:lnTo>
                  <a:pt x="3511146" y="26647"/>
                </a:lnTo>
                <a:lnTo>
                  <a:pt x="3473252" y="7041"/>
                </a:lnTo>
                <a:lnTo>
                  <a:pt x="3429634" y="0"/>
                </a:lnTo>
                <a:close/>
              </a:path>
            </a:pathLst>
          </a:custGeom>
          <a:solidFill>
            <a:srgbClr val="FFFFFF"/>
          </a:solidFill>
        </p:spPr>
        <p:txBody>
          <a:bodyPr wrap="square" lIns="0" tIns="0" rIns="0" bIns="0" rtlCol="0"/>
          <a:lstStyle/>
          <a:p>
            <a:endParaRPr kern="0">
              <a:solidFill>
                <a:sysClr val="windowText" lastClr="000000"/>
              </a:solidFill>
            </a:endParaRPr>
          </a:p>
        </p:txBody>
      </p:sp>
      <p:pic>
        <p:nvPicPr>
          <p:cNvPr id="11" name="object 11">
            <a:hlinkClick r:id="rId4"/>
            <a:extLst>
              <a:ext uri="{FF2B5EF4-FFF2-40B4-BE49-F238E27FC236}">
                <a16:creationId xmlns:a16="http://schemas.microsoft.com/office/drawing/2014/main" id="{8DF2854A-E3CA-A9D0-FE96-B0C5D43DA0E0}"/>
              </a:ext>
            </a:extLst>
          </p:cNvPr>
          <p:cNvPicPr/>
          <p:nvPr/>
        </p:nvPicPr>
        <p:blipFill>
          <a:blip r:embed="rId5" cstate="print">
            <a:duotone>
              <a:schemeClr val="accent6">
                <a:shade val="45000"/>
                <a:satMod val="135000"/>
              </a:schemeClr>
              <a:prstClr val="white"/>
            </a:duotone>
          </a:blip>
          <a:stretch>
            <a:fillRect/>
          </a:stretch>
        </p:blipFill>
        <p:spPr>
          <a:xfrm>
            <a:off x="2743201" y="1644397"/>
            <a:ext cx="2074164" cy="437388"/>
          </a:xfrm>
          <a:prstGeom prst="rect">
            <a:avLst/>
          </a:prstGeom>
        </p:spPr>
      </p:pic>
      <p:pic>
        <p:nvPicPr>
          <p:cNvPr id="12" name="object 12">
            <a:hlinkClick r:id="rId6"/>
            <a:extLst>
              <a:ext uri="{FF2B5EF4-FFF2-40B4-BE49-F238E27FC236}">
                <a16:creationId xmlns:a16="http://schemas.microsoft.com/office/drawing/2014/main" id="{22F1B6BC-2C00-509A-80D3-B8352A93564E}"/>
              </a:ext>
            </a:extLst>
          </p:cNvPr>
          <p:cNvPicPr/>
          <p:nvPr/>
        </p:nvPicPr>
        <p:blipFill>
          <a:blip r:embed="rId7" cstate="print">
            <a:duotone>
              <a:schemeClr val="accent6">
                <a:shade val="45000"/>
                <a:satMod val="135000"/>
              </a:schemeClr>
              <a:prstClr val="white"/>
            </a:duotone>
          </a:blip>
          <a:stretch>
            <a:fillRect/>
          </a:stretch>
        </p:blipFill>
        <p:spPr>
          <a:xfrm>
            <a:off x="2072640" y="2709673"/>
            <a:ext cx="3304032" cy="493775"/>
          </a:xfrm>
          <a:prstGeom prst="rect">
            <a:avLst/>
          </a:prstGeom>
        </p:spPr>
      </p:pic>
      <p:pic>
        <p:nvPicPr>
          <p:cNvPr id="13" name="object 14">
            <a:extLst>
              <a:ext uri="{FF2B5EF4-FFF2-40B4-BE49-F238E27FC236}">
                <a16:creationId xmlns:a16="http://schemas.microsoft.com/office/drawing/2014/main" id="{671E6B84-6029-926E-3294-46F99BA0F498}"/>
              </a:ext>
            </a:extLst>
          </p:cNvPr>
          <p:cNvPicPr/>
          <p:nvPr/>
        </p:nvPicPr>
        <p:blipFill>
          <a:blip r:embed="rId8" cstate="print"/>
          <a:stretch>
            <a:fillRect/>
          </a:stretch>
        </p:blipFill>
        <p:spPr>
          <a:xfrm>
            <a:off x="1970517" y="3672738"/>
            <a:ext cx="3651534" cy="791108"/>
          </a:xfrm>
          <a:prstGeom prst="rect">
            <a:avLst/>
          </a:prstGeom>
        </p:spPr>
      </p:pic>
      <p:sp>
        <p:nvSpPr>
          <p:cNvPr id="14" name="object 15">
            <a:extLst>
              <a:ext uri="{FF2B5EF4-FFF2-40B4-BE49-F238E27FC236}">
                <a16:creationId xmlns:a16="http://schemas.microsoft.com/office/drawing/2014/main" id="{88FA57FB-A4D3-BA40-B182-7A420BD9AAC0}"/>
              </a:ext>
            </a:extLst>
          </p:cNvPr>
          <p:cNvSpPr/>
          <p:nvPr/>
        </p:nvSpPr>
        <p:spPr>
          <a:xfrm>
            <a:off x="1987296" y="3680459"/>
            <a:ext cx="3568065" cy="716280"/>
          </a:xfrm>
          <a:custGeom>
            <a:avLst/>
            <a:gdLst/>
            <a:ahLst/>
            <a:cxnLst/>
            <a:rect l="l" t="t" r="r" b="b"/>
            <a:pathLst>
              <a:path w="3568065" h="716279">
                <a:moveTo>
                  <a:pt x="3448304" y="0"/>
                </a:moveTo>
                <a:lnTo>
                  <a:pt x="119380" y="0"/>
                </a:lnTo>
                <a:lnTo>
                  <a:pt x="72914" y="9384"/>
                </a:lnTo>
                <a:lnTo>
                  <a:pt x="34967" y="34972"/>
                </a:lnTo>
                <a:lnTo>
                  <a:pt x="9382" y="72919"/>
                </a:lnTo>
                <a:lnTo>
                  <a:pt x="0" y="119379"/>
                </a:lnTo>
                <a:lnTo>
                  <a:pt x="0" y="596900"/>
                </a:lnTo>
                <a:lnTo>
                  <a:pt x="9382" y="643360"/>
                </a:lnTo>
                <a:lnTo>
                  <a:pt x="34967" y="681307"/>
                </a:lnTo>
                <a:lnTo>
                  <a:pt x="72914" y="706895"/>
                </a:lnTo>
                <a:lnTo>
                  <a:pt x="119380" y="716279"/>
                </a:lnTo>
                <a:lnTo>
                  <a:pt x="3448304" y="716279"/>
                </a:lnTo>
                <a:lnTo>
                  <a:pt x="3494764" y="706895"/>
                </a:lnTo>
                <a:lnTo>
                  <a:pt x="3532711" y="681307"/>
                </a:lnTo>
                <a:lnTo>
                  <a:pt x="3558299" y="643360"/>
                </a:lnTo>
                <a:lnTo>
                  <a:pt x="3567683" y="596900"/>
                </a:lnTo>
                <a:lnTo>
                  <a:pt x="3567683" y="119379"/>
                </a:lnTo>
                <a:lnTo>
                  <a:pt x="3558299" y="72919"/>
                </a:lnTo>
                <a:lnTo>
                  <a:pt x="3532711" y="34972"/>
                </a:lnTo>
                <a:lnTo>
                  <a:pt x="3494764" y="9384"/>
                </a:lnTo>
                <a:lnTo>
                  <a:pt x="3448304" y="0"/>
                </a:lnTo>
                <a:close/>
              </a:path>
            </a:pathLst>
          </a:custGeom>
          <a:solidFill>
            <a:srgbClr val="FFFFFF"/>
          </a:solidFill>
        </p:spPr>
        <p:txBody>
          <a:bodyPr wrap="square" lIns="0" tIns="0" rIns="0" bIns="0" rtlCol="0"/>
          <a:lstStyle/>
          <a:p>
            <a:endParaRPr kern="0">
              <a:solidFill>
                <a:sysClr val="windowText" lastClr="000000"/>
              </a:solidFill>
            </a:endParaRPr>
          </a:p>
        </p:txBody>
      </p:sp>
      <p:pic>
        <p:nvPicPr>
          <p:cNvPr id="15" name="object 16">
            <a:extLst>
              <a:ext uri="{FF2B5EF4-FFF2-40B4-BE49-F238E27FC236}">
                <a16:creationId xmlns:a16="http://schemas.microsoft.com/office/drawing/2014/main" id="{ACED2CD6-8710-E1AD-91BE-F8862D227111}"/>
              </a:ext>
            </a:extLst>
          </p:cNvPr>
          <p:cNvPicPr/>
          <p:nvPr/>
        </p:nvPicPr>
        <p:blipFill>
          <a:blip r:embed="rId2" cstate="print"/>
          <a:stretch>
            <a:fillRect/>
          </a:stretch>
        </p:blipFill>
        <p:spPr>
          <a:xfrm>
            <a:off x="1970517" y="4504795"/>
            <a:ext cx="3651534" cy="789647"/>
          </a:xfrm>
          <a:prstGeom prst="rect">
            <a:avLst/>
          </a:prstGeom>
        </p:spPr>
      </p:pic>
      <p:sp>
        <p:nvSpPr>
          <p:cNvPr id="16" name="object 17">
            <a:extLst>
              <a:ext uri="{FF2B5EF4-FFF2-40B4-BE49-F238E27FC236}">
                <a16:creationId xmlns:a16="http://schemas.microsoft.com/office/drawing/2014/main" id="{BF057BC9-12A4-C104-9AD9-301953DA5335}"/>
              </a:ext>
            </a:extLst>
          </p:cNvPr>
          <p:cNvSpPr/>
          <p:nvPr/>
        </p:nvSpPr>
        <p:spPr>
          <a:xfrm>
            <a:off x="1987296" y="4512563"/>
            <a:ext cx="3568065" cy="715010"/>
          </a:xfrm>
          <a:custGeom>
            <a:avLst/>
            <a:gdLst/>
            <a:ahLst/>
            <a:cxnLst/>
            <a:rect l="l" t="t" r="r" b="b"/>
            <a:pathLst>
              <a:path w="3568065" h="715010">
                <a:moveTo>
                  <a:pt x="3448557" y="0"/>
                </a:moveTo>
                <a:lnTo>
                  <a:pt x="119126" y="0"/>
                </a:lnTo>
                <a:lnTo>
                  <a:pt x="72759" y="9362"/>
                </a:lnTo>
                <a:lnTo>
                  <a:pt x="34893" y="34893"/>
                </a:lnTo>
                <a:lnTo>
                  <a:pt x="9362" y="72759"/>
                </a:lnTo>
                <a:lnTo>
                  <a:pt x="0" y="119125"/>
                </a:lnTo>
                <a:lnTo>
                  <a:pt x="0" y="595630"/>
                </a:lnTo>
                <a:lnTo>
                  <a:pt x="9362" y="641996"/>
                </a:lnTo>
                <a:lnTo>
                  <a:pt x="34893" y="679862"/>
                </a:lnTo>
                <a:lnTo>
                  <a:pt x="72759" y="705393"/>
                </a:lnTo>
                <a:lnTo>
                  <a:pt x="119126" y="714756"/>
                </a:lnTo>
                <a:lnTo>
                  <a:pt x="3448557" y="714756"/>
                </a:lnTo>
                <a:lnTo>
                  <a:pt x="3494924" y="705393"/>
                </a:lnTo>
                <a:lnTo>
                  <a:pt x="3532790" y="679862"/>
                </a:lnTo>
                <a:lnTo>
                  <a:pt x="3558321" y="641996"/>
                </a:lnTo>
                <a:lnTo>
                  <a:pt x="3567683" y="595630"/>
                </a:lnTo>
                <a:lnTo>
                  <a:pt x="3567683" y="119125"/>
                </a:lnTo>
                <a:lnTo>
                  <a:pt x="3558321" y="72759"/>
                </a:lnTo>
                <a:lnTo>
                  <a:pt x="3532790" y="34893"/>
                </a:lnTo>
                <a:lnTo>
                  <a:pt x="3494924" y="9362"/>
                </a:lnTo>
                <a:lnTo>
                  <a:pt x="3448557" y="0"/>
                </a:lnTo>
                <a:close/>
              </a:path>
            </a:pathLst>
          </a:custGeom>
          <a:solidFill>
            <a:srgbClr val="FFFFFF"/>
          </a:solidFill>
        </p:spPr>
        <p:txBody>
          <a:bodyPr wrap="square" lIns="0" tIns="0" rIns="0" bIns="0" rtlCol="0"/>
          <a:lstStyle/>
          <a:p>
            <a:endParaRPr kern="0">
              <a:solidFill>
                <a:sysClr val="windowText" lastClr="000000"/>
              </a:solidFill>
            </a:endParaRPr>
          </a:p>
        </p:txBody>
      </p:sp>
      <p:pic>
        <p:nvPicPr>
          <p:cNvPr id="17" name="object 18">
            <a:hlinkClick r:id="rId9"/>
            <a:extLst>
              <a:ext uri="{FF2B5EF4-FFF2-40B4-BE49-F238E27FC236}">
                <a16:creationId xmlns:a16="http://schemas.microsoft.com/office/drawing/2014/main" id="{017634CD-7823-785F-7999-352EC3AB3E2C}"/>
              </a:ext>
            </a:extLst>
          </p:cNvPr>
          <p:cNvPicPr/>
          <p:nvPr/>
        </p:nvPicPr>
        <p:blipFill>
          <a:blip r:embed="rId10" cstate="print">
            <a:duotone>
              <a:schemeClr val="accent6">
                <a:shade val="45000"/>
                <a:satMod val="135000"/>
              </a:schemeClr>
              <a:prstClr val="white"/>
            </a:duotone>
          </a:blip>
          <a:stretch>
            <a:fillRect/>
          </a:stretch>
        </p:blipFill>
        <p:spPr>
          <a:xfrm>
            <a:off x="2619756" y="4671059"/>
            <a:ext cx="2125980" cy="359663"/>
          </a:xfrm>
          <a:prstGeom prst="rect">
            <a:avLst/>
          </a:prstGeom>
        </p:spPr>
      </p:pic>
      <p:pic>
        <p:nvPicPr>
          <p:cNvPr id="18" name="object 19">
            <a:hlinkClick r:id="rId11"/>
            <a:extLst>
              <a:ext uri="{FF2B5EF4-FFF2-40B4-BE49-F238E27FC236}">
                <a16:creationId xmlns:a16="http://schemas.microsoft.com/office/drawing/2014/main" id="{C4BB1CD8-3E34-BEC4-A6D2-4ED833E517C1}"/>
              </a:ext>
            </a:extLst>
          </p:cNvPr>
          <p:cNvPicPr/>
          <p:nvPr/>
        </p:nvPicPr>
        <p:blipFill>
          <a:blip r:embed="rId12" cstate="print">
            <a:duotone>
              <a:schemeClr val="accent6">
                <a:shade val="45000"/>
                <a:satMod val="135000"/>
              </a:schemeClr>
              <a:prstClr val="white"/>
            </a:duotone>
          </a:blip>
          <a:stretch>
            <a:fillRect/>
          </a:stretch>
        </p:blipFill>
        <p:spPr>
          <a:xfrm>
            <a:off x="2639569" y="3793235"/>
            <a:ext cx="2278380" cy="499871"/>
          </a:xfrm>
          <a:prstGeom prst="rect">
            <a:avLst/>
          </a:prstGeom>
        </p:spPr>
      </p:pic>
      <p:pic>
        <p:nvPicPr>
          <p:cNvPr id="19" name="object 20">
            <a:extLst>
              <a:ext uri="{FF2B5EF4-FFF2-40B4-BE49-F238E27FC236}">
                <a16:creationId xmlns:a16="http://schemas.microsoft.com/office/drawing/2014/main" id="{6CF25F38-4809-3180-7C89-D43FC4FB2971}"/>
              </a:ext>
            </a:extLst>
          </p:cNvPr>
          <p:cNvPicPr/>
          <p:nvPr/>
        </p:nvPicPr>
        <p:blipFill>
          <a:blip r:embed="rId13" cstate="print"/>
          <a:stretch>
            <a:fillRect/>
          </a:stretch>
        </p:blipFill>
        <p:spPr>
          <a:xfrm>
            <a:off x="1970517" y="5335447"/>
            <a:ext cx="3651534" cy="1056247"/>
          </a:xfrm>
          <a:prstGeom prst="rect">
            <a:avLst/>
          </a:prstGeom>
        </p:spPr>
      </p:pic>
      <p:sp>
        <p:nvSpPr>
          <p:cNvPr id="20" name="object 21">
            <a:extLst>
              <a:ext uri="{FF2B5EF4-FFF2-40B4-BE49-F238E27FC236}">
                <a16:creationId xmlns:a16="http://schemas.microsoft.com/office/drawing/2014/main" id="{2457E960-C076-FC07-0908-2D13F6F59ED9}"/>
              </a:ext>
            </a:extLst>
          </p:cNvPr>
          <p:cNvSpPr/>
          <p:nvPr/>
        </p:nvSpPr>
        <p:spPr>
          <a:xfrm>
            <a:off x="1987296" y="5343143"/>
            <a:ext cx="3568065" cy="981710"/>
          </a:xfrm>
          <a:custGeom>
            <a:avLst/>
            <a:gdLst/>
            <a:ahLst/>
            <a:cxnLst/>
            <a:rect l="l" t="t" r="r" b="b"/>
            <a:pathLst>
              <a:path w="3568065" h="981710">
                <a:moveTo>
                  <a:pt x="3404107" y="0"/>
                </a:moveTo>
                <a:lnTo>
                  <a:pt x="163576" y="0"/>
                </a:lnTo>
                <a:lnTo>
                  <a:pt x="120092" y="5846"/>
                </a:lnTo>
                <a:lnTo>
                  <a:pt x="81018" y="22342"/>
                </a:lnTo>
                <a:lnTo>
                  <a:pt x="47912" y="47926"/>
                </a:lnTo>
                <a:lnTo>
                  <a:pt x="22334" y="81035"/>
                </a:lnTo>
                <a:lnTo>
                  <a:pt x="5843" y="120106"/>
                </a:lnTo>
                <a:lnTo>
                  <a:pt x="0" y="163575"/>
                </a:lnTo>
                <a:lnTo>
                  <a:pt x="0" y="817879"/>
                </a:lnTo>
                <a:lnTo>
                  <a:pt x="5843" y="861363"/>
                </a:lnTo>
                <a:lnTo>
                  <a:pt x="22334" y="900437"/>
                </a:lnTo>
                <a:lnTo>
                  <a:pt x="47912" y="933543"/>
                </a:lnTo>
                <a:lnTo>
                  <a:pt x="81018" y="959121"/>
                </a:lnTo>
                <a:lnTo>
                  <a:pt x="120092" y="975612"/>
                </a:lnTo>
                <a:lnTo>
                  <a:pt x="163576" y="981455"/>
                </a:lnTo>
                <a:lnTo>
                  <a:pt x="3404107" y="981455"/>
                </a:lnTo>
                <a:lnTo>
                  <a:pt x="3447577" y="975612"/>
                </a:lnTo>
                <a:lnTo>
                  <a:pt x="3486648" y="959121"/>
                </a:lnTo>
                <a:lnTo>
                  <a:pt x="3519757" y="933543"/>
                </a:lnTo>
                <a:lnTo>
                  <a:pt x="3545341" y="900437"/>
                </a:lnTo>
                <a:lnTo>
                  <a:pt x="3561837" y="861363"/>
                </a:lnTo>
                <a:lnTo>
                  <a:pt x="3567683" y="817879"/>
                </a:lnTo>
                <a:lnTo>
                  <a:pt x="3567683" y="163575"/>
                </a:lnTo>
                <a:lnTo>
                  <a:pt x="3561837" y="120106"/>
                </a:lnTo>
                <a:lnTo>
                  <a:pt x="3545341" y="81035"/>
                </a:lnTo>
                <a:lnTo>
                  <a:pt x="3519757" y="47926"/>
                </a:lnTo>
                <a:lnTo>
                  <a:pt x="3486648" y="22342"/>
                </a:lnTo>
                <a:lnTo>
                  <a:pt x="3447577" y="5846"/>
                </a:lnTo>
                <a:lnTo>
                  <a:pt x="3404107" y="0"/>
                </a:lnTo>
                <a:close/>
              </a:path>
            </a:pathLst>
          </a:custGeom>
          <a:solidFill>
            <a:srgbClr val="FFFFFF"/>
          </a:solidFill>
        </p:spPr>
        <p:txBody>
          <a:bodyPr wrap="square" lIns="0" tIns="0" rIns="0" bIns="0" rtlCol="0"/>
          <a:lstStyle/>
          <a:p>
            <a:endParaRPr kern="0">
              <a:solidFill>
                <a:sysClr val="windowText" lastClr="000000"/>
              </a:solidFill>
            </a:endParaRPr>
          </a:p>
        </p:txBody>
      </p:sp>
      <p:pic>
        <p:nvPicPr>
          <p:cNvPr id="21" name="object 22">
            <a:hlinkClick r:id="rId14"/>
            <a:extLst>
              <a:ext uri="{FF2B5EF4-FFF2-40B4-BE49-F238E27FC236}">
                <a16:creationId xmlns:a16="http://schemas.microsoft.com/office/drawing/2014/main" id="{EC7FDCDF-D781-57F0-451C-37EF5306A3D4}"/>
              </a:ext>
            </a:extLst>
          </p:cNvPr>
          <p:cNvPicPr/>
          <p:nvPr/>
        </p:nvPicPr>
        <p:blipFill>
          <a:blip r:embed="rId15" cstate="print">
            <a:duotone>
              <a:schemeClr val="accent6">
                <a:shade val="45000"/>
                <a:satMod val="135000"/>
              </a:schemeClr>
              <a:prstClr val="white"/>
            </a:duotone>
            <a:extLst>
              <a:ext uri="{BEBA8EAE-BF5A-486C-A8C5-ECC9F3942E4B}">
                <a14:imgProps xmlns:a14="http://schemas.microsoft.com/office/drawing/2010/main">
                  <a14:imgLayer r:embed="rId16">
                    <a14:imgEffect>
                      <a14:brightnessContrast contrast="-40000"/>
                    </a14:imgEffect>
                  </a14:imgLayer>
                </a14:imgProps>
              </a:ext>
            </a:extLst>
          </a:blip>
          <a:stretch>
            <a:fillRect/>
          </a:stretch>
        </p:blipFill>
        <p:spPr>
          <a:xfrm>
            <a:off x="2470405" y="5649467"/>
            <a:ext cx="2424684" cy="458723"/>
          </a:xfrm>
          <a:prstGeom prst="rect">
            <a:avLst/>
          </a:prstGeom>
        </p:spPr>
      </p:pic>
      <p:sp>
        <p:nvSpPr>
          <p:cNvPr id="22" name="object 23">
            <a:extLst>
              <a:ext uri="{FF2B5EF4-FFF2-40B4-BE49-F238E27FC236}">
                <a16:creationId xmlns:a16="http://schemas.microsoft.com/office/drawing/2014/main" id="{0870ED43-C3EE-47A2-37C5-63AEE6187F67}"/>
              </a:ext>
            </a:extLst>
          </p:cNvPr>
          <p:cNvSpPr txBox="1">
            <a:spLocks/>
          </p:cNvSpPr>
          <p:nvPr/>
        </p:nvSpPr>
        <p:spPr>
          <a:xfrm>
            <a:off x="2936653" y="165383"/>
            <a:ext cx="11292772" cy="1565518"/>
          </a:xfrm>
          <a:prstGeom prst="rect">
            <a:avLst/>
          </a:prstGeom>
        </p:spPr>
        <p:txBody>
          <a:bodyPr vert="horz" wrap="square" lIns="0" tIns="209258" rIns="0" bIns="0" rtlCol="0">
            <a:sp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31115">
              <a:spcBef>
                <a:spcPts val="100"/>
              </a:spcBef>
            </a:pPr>
            <a:r>
              <a:rPr lang="ar-SA" b="1" dirty="0">
                <a:solidFill>
                  <a:srgbClr val="A78B5E"/>
                </a:solidFill>
                <a:latin typeface="Avenir Next Arabic Demi" panose="020B0703020202020204" pitchFamily="34" charset="-78"/>
                <a:cs typeface="Avenir Next Arabic Demi" panose="020B0703020202020204" pitchFamily="34" charset="-78"/>
              </a:rPr>
              <a:t>الموارد الرئيسية</a:t>
            </a:r>
            <a:br>
              <a:rPr lang="ar-SA" b="1" dirty="0">
                <a:solidFill>
                  <a:srgbClr val="A78B5E"/>
                </a:solidFill>
                <a:latin typeface="Avenir Next Arabic Demi" panose="020B0703020202020204" pitchFamily="34" charset="-78"/>
                <a:cs typeface="Avenir Next Arabic Demi" panose="020B0703020202020204" pitchFamily="34" charset="-78"/>
              </a:rPr>
            </a:br>
            <a:endParaRPr lang="en-US" b="1" dirty="0">
              <a:solidFill>
                <a:srgbClr val="A78B5E"/>
              </a:solidFill>
              <a:latin typeface="Avenir Next Arabic Demi" panose="020B0703020202020204" pitchFamily="34" charset="-78"/>
              <a:cs typeface="Avenir Next Arabic Demi" panose="020B0703020202020204" pitchFamily="34" charset="-78"/>
            </a:endParaRPr>
          </a:p>
        </p:txBody>
      </p:sp>
      <p:sp>
        <p:nvSpPr>
          <p:cNvPr id="23" name="object 24">
            <a:extLst>
              <a:ext uri="{FF2B5EF4-FFF2-40B4-BE49-F238E27FC236}">
                <a16:creationId xmlns:a16="http://schemas.microsoft.com/office/drawing/2014/main" id="{86E34AA3-9EEB-8E32-D462-48770033910B}"/>
              </a:ext>
            </a:extLst>
          </p:cNvPr>
          <p:cNvSpPr/>
          <p:nvPr/>
        </p:nvSpPr>
        <p:spPr>
          <a:xfrm>
            <a:off x="5692141" y="5344667"/>
            <a:ext cx="4512945" cy="981710"/>
          </a:xfrm>
          <a:custGeom>
            <a:avLst/>
            <a:gdLst/>
            <a:ahLst/>
            <a:cxnLst/>
            <a:rect l="l" t="t" r="r" b="b"/>
            <a:pathLst>
              <a:path w="4512945" h="981710">
                <a:moveTo>
                  <a:pt x="4348988" y="0"/>
                </a:moveTo>
                <a:lnTo>
                  <a:pt x="163575" y="0"/>
                </a:lnTo>
                <a:lnTo>
                  <a:pt x="120106" y="5846"/>
                </a:lnTo>
                <a:lnTo>
                  <a:pt x="81035" y="22342"/>
                </a:lnTo>
                <a:lnTo>
                  <a:pt x="47926" y="47926"/>
                </a:lnTo>
                <a:lnTo>
                  <a:pt x="22342" y="81035"/>
                </a:lnTo>
                <a:lnTo>
                  <a:pt x="5846" y="120106"/>
                </a:lnTo>
                <a:lnTo>
                  <a:pt x="0" y="163575"/>
                </a:lnTo>
                <a:lnTo>
                  <a:pt x="0" y="817879"/>
                </a:lnTo>
                <a:lnTo>
                  <a:pt x="5846" y="861363"/>
                </a:lnTo>
                <a:lnTo>
                  <a:pt x="22342" y="900437"/>
                </a:lnTo>
                <a:lnTo>
                  <a:pt x="47926" y="933543"/>
                </a:lnTo>
                <a:lnTo>
                  <a:pt x="81035" y="959121"/>
                </a:lnTo>
                <a:lnTo>
                  <a:pt x="120106" y="975612"/>
                </a:lnTo>
                <a:lnTo>
                  <a:pt x="163575" y="981455"/>
                </a:lnTo>
                <a:lnTo>
                  <a:pt x="4348988" y="981455"/>
                </a:lnTo>
                <a:lnTo>
                  <a:pt x="4392457" y="975612"/>
                </a:lnTo>
                <a:lnTo>
                  <a:pt x="4431528" y="959121"/>
                </a:lnTo>
                <a:lnTo>
                  <a:pt x="4464637" y="933543"/>
                </a:lnTo>
                <a:lnTo>
                  <a:pt x="4490221" y="900437"/>
                </a:lnTo>
                <a:lnTo>
                  <a:pt x="4506717" y="861363"/>
                </a:lnTo>
                <a:lnTo>
                  <a:pt x="4512564" y="817879"/>
                </a:lnTo>
                <a:lnTo>
                  <a:pt x="4512564" y="163575"/>
                </a:lnTo>
                <a:lnTo>
                  <a:pt x="4506717" y="120106"/>
                </a:lnTo>
                <a:lnTo>
                  <a:pt x="4490221" y="81035"/>
                </a:lnTo>
                <a:lnTo>
                  <a:pt x="4464637" y="47926"/>
                </a:lnTo>
                <a:lnTo>
                  <a:pt x="4431528" y="22342"/>
                </a:lnTo>
                <a:lnTo>
                  <a:pt x="4392457" y="5846"/>
                </a:lnTo>
                <a:lnTo>
                  <a:pt x="4348988" y="0"/>
                </a:lnTo>
                <a:close/>
              </a:path>
            </a:pathLst>
          </a:custGeom>
          <a:solidFill>
            <a:schemeClr val="bg2">
              <a:lumMod val="90000"/>
            </a:schemeClr>
          </a:solidFill>
        </p:spPr>
        <p:txBody>
          <a:bodyPr wrap="square" lIns="0" tIns="0" rIns="0" bIns="0" rtlCol="0"/>
          <a:lstStyle/>
          <a:p>
            <a:endParaRPr kern="0">
              <a:solidFill>
                <a:sysClr val="windowText" lastClr="000000"/>
              </a:solidFill>
            </a:endParaRPr>
          </a:p>
        </p:txBody>
      </p:sp>
      <p:sp>
        <p:nvSpPr>
          <p:cNvPr id="24" name="object 25">
            <a:extLst>
              <a:ext uri="{FF2B5EF4-FFF2-40B4-BE49-F238E27FC236}">
                <a16:creationId xmlns:a16="http://schemas.microsoft.com/office/drawing/2014/main" id="{50DCD60A-4B35-9DF5-2618-ECBE4A7C18A1}"/>
              </a:ext>
            </a:extLst>
          </p:cNvPr>
          <p:cNvSpPr txBox="1"/>
          <p:nvPr/>
        </p:nvSpPr>
        <p:spPr>
          <a:xfrm>
            <a:off x="5729296" y="1599331"/>
            <a:ext cx="4438634" cy="4703211"/>
          </a:xfrm>
          <a:prstGeom prst="rect">
            <a:avLst/>
          </a:prstGeom>
        </p:spPr>
        <p:txBody>
          <a:bodyPr vert="horz" wrap="square" lIns="0" tIns="12065" rIns="0" bIns="0" rtlCol="0">
            <a:spAutoFit/>
          </a:bodyPr>
          <a:lstStyle/>
          <a:p>
            <a:pPr algn="ctr">
              <a:spcBef>
                <a:spcPts val="95"/>
              </a:spcBef>
            </a:pPr>
            <a:r>
              <a:rPr lang="ar-SA" sz="1600" kern="0" spc="-35" dirty="0">
                <a:solidFill>
                  <a:srgbClr val="5F5F5F"/>
                </a:solidFill>
                <a:latin typeface="Avenir Next Arabic Demi" panose="020B0703020202020204" pitchFamily="34" charset="-78"/>
                <a:cs typeface="Avenir Next Arabic Demi" panose="020B0703020202020204" pitchFamily="34" charset="-78"/>
              </a:rPr>
              <a:t>أكثر من 21,300 مؤشر أداء رئيسي تغطي 16 مجالًا وظيفيًا و25 قطاعًا صناعيًا</a:t>
            </a:r>
          </a:p>
          <a:p>
            <a:pPr algn="ctr">
              <a:spcBef>
                <a:spcPts val="95"/>
              </a:spcBef>
            </a:pPr>
            <a:endParaRPr sz="1600" kern="0" dirty="0">
              <a:solidFill>
                <a:sysClr val="windowText" lastClr="000000"/>
              </a:solidFill>
              <a:latin typeface="Avenir Next Arabic Demi" panose="020B0703020202020204" pitchFamily="34" charset="-78"/>
              <a:cs typeface="Avenir Next Arabic Demi" panose="020B0703020202020204" pitchFamily="34" charset="-78"/>
            </a:endParaRPr>
          </a:p>
          <a:p>
            <a:pPr marL="37465" marR="29845" indent="4445" algn="ctr"/>
            <a:r>
              <a:rPr lang="ar-SA" sz="1600" kern="0" spc="-30" dirty="0">
                <a:solidFill>
                  <a:srgbClr val="5F5F5F"/>
                </a:solidFill>
                <a:latin typeface="Avenir Next Arabic Demi" panose="020B0703020202020204" pitchFamily="34" charset="-78"/>
                <a:cs typeface="Avenir Next Arabic Demi" panose="020B0703020202020204" pitchFamily="34" charset="-78"/>
              </a:rPr>
              <a:t>أكثر من 250 إصدارًا في مجال إدارة الأداء، تشمل: سلسلة معاجم مؤشرات الأداء، أفضل 25 مؤشرًا، دراسات بحثية أساسية، وحزم أدوات لإدارة الأداء جاهزة للاستخدام</a:t>
            </a:r>
          </a:p>
          <a:p>
            <a:pPr marL="37465" marR="29845" indent="4445" algn="ctr"/>
            <a:endParaRPr lang="ar-SA" sz="1600" kern="0" spc="-30" dirty="0">
              <a:solidFill>
                <a:srgbClr val="5F5F5F"/>
              </a:solidFill>
              <a:latin typeface="Avenir Next Arabic Demi" panose="020B0703020202020204" pitchFamily="34" charset="-78"/>
              <a:cs typeface="Avenir Next Arabic Demi" panose="020B0703020202020204" pitchFamily="34" charset="-78"/>
            </a:endParaRPr>
          </a:p>
          <a:p>
            <a:pPr marL="37465" marR="29845" indent="4445" algn="ctr"/>
            <a:endParaRPr sz="1600" kern="0" dirty="0">
              <a:solidFill>
                <a:sysClr val="windowText" lastClr="000000"/>
              </a:solidFill>
              <a:latin typeface="Avenir Next Arabic Demi" panose="020B0703020202020204" pitchFamily="34" charset="-78"/>
              <a:cs typeface="Avenir Next Arabic Demi" panose="020B0703020202020204" pitchFamily="34" charset="-78"/>
            </a:endParaRPr>
          </a:p>
          <a:p>
            <a:pPr marL="134620" marR="134620" algn="ctr"/>
            <a:r>
              <a:rPr lang="ar-SA" sz="1600" kern="0" dirty="0">
                <a:solidFill>
                  <a:srgbClr val="5F5F5F"/>
                </a:solidFill>
                <a:latin typeface="Avenir Next Arabic Demi" panose="020B0703020202020204" pitchFamily="34" charset="-78"/>
                <a:cs typeface="Avenir Next Arabic Demi" panose="020B0703020202020204" pitchFamily="34" charset="-78"/>
              </a:rPr>
              <a:t>منصة واحدة تتيح لك الوصول إلى مواد الدورة التدريبية وامتحان الشهادة</a:t>
            </a:r>
          </a:p>
          <a:p>
            <a:pPr marL="134620" marR="134620" algn="ctr"/>
            <a:endParaRPr lang="ar-SA" sz="1600" kern="0" dirty="0">
              <a:solidFill>
                <a:srgbClr val="5F5F5F"/>
              </a:solidFill>
              <a:latin typeface="Avenir Next Arabic Demi" panose="020B0703020202020204" pitchFamily="34" charset="-78"/>
              <a:cs typeface="Avenir Next Arabic Demi" panose="020B0703020202020204" pitchFamily="34" charset="-78"/>
            </a:endParaRPr>
          </a:p>
          <a:p>
            <a:pPr marL="134620" marR="134620" algn="ctr"/>
            <a:endParaRPr sz="1600" kern="0" dirty="0">
              <a:solidFill>
                <a:sysClr val="windowText" lastClr="000000"/>
              </a:solidFill>
              <a:latin typeface="Avenir Next Arabic Demi" panose="020B0703020202020204" pitchFamily="34" charset="-78"/>
              <a:cs typeface="Avenir Next Arabic Demi" panose="020B0703020202020204" pitchFamily="34" charset="-78"/>
            </a:endParaRPr>
          </a:p>
          <a:p>
            <a:pPr marL="436245" marR="432434" algn="ctr"/>
            <a:r>
              <a:rPr lang="ar-SA" sz="1600" kern="0" spc="-45" dirty="0">
                <a:solidFill>
                  <a:srgbClr val="5F5F5F"/>
                </a:solidFill>
                <a:latin typeface="Avenir Next Arabic Demi" panose="020B0703020202020204" pitchFamily="34" charset="-78"/>
                <a:cs typeface="Avenir Next Arabic Demi" panose="020B0703020202020204" pitchFamily="34" charset="-78"/>
              </a:rPr>
              <a:t>أكثر من 2,500 مقال وأكثر من 20 مقابلة مع خبراء متخصصين في المجال</a:t>
            </a:r>
          </a:p>
          <a:p>
            <a:pPr marL="436245" marR="432434" algn="ctr"/>
            <a:endParaRPr sz="1600" kern="0" dirty="0">
              <a:solidFill>
                <a:sysClr val="windowText" lastClr="000000"/>
              </a:solidFill>
              <a:latin typeface="Avenir Next Arabic Demi" panose="020B0703020202020204" pitchFamily="34" charset="-78"/>
              <a:cs typeface="Avenir Next Arabic Demi" panose="020B0703020202020204" pitchFamily="34" charset="-78"/>
            </a:endParaRPr>
          </a:p>
          <a:p>
            <a:pPr marL="36195" marR="33655" indent="38100" algn="ctr"/>
            <a:r>
              <a:rPr lang="ar-SA" sz="1600" kern="0" spc="-30" dirty="0">
                <a:solidFill>
                  <a:srgbClr val="5F5F5F"/>
                </a:solidFill>
                <a:latin typeface="Avenir Next Arabic Demi" panose="020B0703020202020204" pitchFamily="34" charset="-78"/>
                <a:cs typeface="Avenir Next Arabic Demi" panose="020B0703020202020204" pitchFamily="34" charset="-78"/>
              </a:rPr>
              <a:t>أكثر من 800 منتج، تتنوع بين الإصدارات والدورات التدريبية المجدولة، والتعليم الإلكتروني، والندوات المباشرة، والتقارير المجانية، وملصقات مؤشرات الأداء</a:t>
            </a:r>
            <a:endParaRPr sz="1600" kern="0" dirty="0">
              <a:solidFill>
                <a:sysClr val="windowText" lastClr="000000"/>
              </a:solidFill>
              <a:latin typeface="Avenir Next Arabic Demi" panose="020B0703020202020204" pitchFamily="34" charset="-78"/>
              <a:cs typeface="Avenir Next Arabic Demi" panose="020B0703020202020204" pitchFamily="34" charset="-78"/>
            </a:endParaRPr>
          </a:p>
        </p:txBody>
      </p:sp>
      <p:sp>
        <p:nvSpPr>
          <p:cNvPr id="25" name="object 26">
            <a:extLst>
              <a:ext uri="{FF2B5EF4-FFF2-40B4-BE49-F238E27FC236}">
                <a16:creationId xmlns:a16="http://schemas.microsoft.com/office/drawing/2014/main" id="{DAD0B972-EADF-42D2-4FAE-25513BC4A0F9}"/>
              </a:ext>
            </a:extLst>
          </p:cNvPr>
          <p:cNvSpPr txBox="1">
            <a:spLocks/>
          </p:cNvSpPr>
          <p:nvPr/>
        </p:nvSpPr>
        <p:spPr>
          <a:xfrm>
            <a:off x="9970008" y="6349048"/>
            <a:ext cx="3692143" cy="415432"/>
          </a:xfrm>
          <a:prstGeom prst="rect">
            <a:avLst/>
          </a:prstGeom>
        </p:spPr>
        <p:txBody>
          <a:bodyPr vert="horz" wrap="square" lIns="0" tIns="256347" rIns="0" bIns="0" rtlCol="0">
            <a:spAutoFit/>
          </a:bodyPr>
          <a:ls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pPr marL="2459355">
              <a:lnSpc>
                <a:spcPts val="1250"/>
              </a:lnSpc>
            </a:pPr>
            <a:fld id="{81D60167-4931-47E6-BA6A-407CBD079E47}" type="slidenum">
              <a:rPr lang="en-US" kern="0" spc="-25" smtClean="0"/>
              <a:pPr marL="2459355">
                <a:lnSpc>
                  <a:spcPts val="1250"/>
                </a:lnSpc>
              </a:pPr>
              <a:t>2</a:t>
            </a:fld>
            <a:endParaRPr lang="en-US" kern="0" spc="-25" dirty="0"/>
          </a:p>
        </p:txBody>
      </p:sp>
    </p:spTree>
    <p:extLst>
      <p:ext uri="{BB962C8B-B14F-4D97-AF65-F5344CB8AC3E}">
        <p14:creationId xmlns:p14="http://schemas.microsoft.com/office/powerpoint/2010/main" val="2066803412"/>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CDA5A5-5B12-F507-6E13-60B13CC96868}"/>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0FD6BDBC-90BF-42AF-5D85-73A8DBA427C9}"/>
              </a:ext>
            </a:extLst>
          </p:cNvPr>
          <p:cNvSpPr txBox="1">
            <a:spLocks/>
          </p:cNvSpPr>
          <p:nvPr/>
        </p:nvSpPr>
        <p:spPr>
          <a:xfrm>
            <a:off x="2454693" y="320217"/>
            <a:ext cx="10515600" cy="580633"/>
          </a:xfrm>
          <a:prstGeom prst="rect">
            <a:avLst/>
          </a:prstGeom>
        </p:spPr>
        <p:txBody>
          <a:bodyPr vert="horz" wrap="square" lIns="0" tIns="209258" rIns="0" bIns="0" rtlCol="0" anchor="ctr">
            <a:sp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31115">
              <a:spcBef>
                <a:spcPts val="100"/>
              </a:spcBef>
            </a:pPr>
            <a:r>
              <a:rPr lang="ar-SA" sz="2400">
                <a:solidFill>
                  <a:srgbClr val="A78B5E"/>
                </a:solidFill>
                <a:latin typeface="Avenir Next Arabic Demi" panose="020B0703020202020204" pitchFamily="34" charset="-78"/>
                <a:cs typeface="Avenir Next Arabic Demi" panose="020B0703020202020204" pitchFamily="34" charset="-78"/>
              </a:rPr>
              <a:t>معايير اختيار مؤشرات الأداء الرئيسية في التطبيق العملي</a:t>
            </a:r>
            <a:endParaRPr lang="ar-SA" sz="2400" dirty="0">
              <a:solidFill>
                <a:srgbClr val="A78B5E"/>
              </a:solidFill>
              <a:latin typeface="Avenir Next Arabic Demi" panose="020B0703020202020204" pitchFamily="34" charset="-78"/>
              <a:cs typeface="Avenir Next Arabic Demi" panose="020B0703020202020204" pitchFamily="34" charset="-78"/>
            </a:endParaRPr>
          </a:p>
        </p:txBody>
      </p:sp>
      <p:pic>
        <p:nvPicPr>
          <p:cNvPr id="140" name="صورة 139">
            <a:extLst>
              <a:ext uri="{FF2B5EF4-FFF2-40B4-BE49-F238E27FC236}">
                <a16:creationId xmlns:a16="http://schemas.microsoft.com/office/drawing/2014/main" id="{35A6C529-CF89-6EFB-0046-5657D7993842}"/>
              </a:ext>
            </a:extLst>
          </p:cNvPr>
          <p:cNvPicPr>
            <a:picLocks noChangeAspect="1"/>
          </p:cNvPicPr>
          <p:nvPr/>
        </p:nvPicPr>
        <p:blipFill>
          <a:blip r:embed="rId3">
            <a:duotone>
              <a:prstClr val="black"/>
              <a:schemeClr val="accent6">
                <a:tint val="45000"/>
                <a:satMod val="400000"/>
              </a:schemeClr>
            </a:duotone>
          </a:blip>
          <a:stretch>
            <a:fillRect/>
          </a:stretch>
        </p:blipFill>
        <p:spPr>
          <a:xfrm>
            <a:off x="2014374" y="2017653"/>
            <a:ext cx="8163252" cy="2822693"/>
          </a:xfrm>
          <a:prstGeom prst="rect">
            <a:avLst/>
          </a:prstGeom>
        </p:spPr>
      </p:pic>
    </p:spTree>
    <p:extLst>
      <p:ext uri="{BB962C8B-B14F-4D97-AF65-F5344CB8AC3E}">
        <p14:creationId xmlns:p14="http://schemas.microsoft.com/office/powerpoint/2010/main" val="4062239106"/>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E8462F-4D6B-F075-1635-345DBC27D4A1}"/>
            </a:ext>
          </a:extLst>
        </p:cNvPr>
        <p:cNvGrpSpPr/>
        <p:nvPr/>
      </p:nvGrpSpPr>
      <p:grpSpPr>
        <a:xfrm>
          <a:off x="0" y="0"/>
          <a:ext cx="0" cy="0"/>
          <a:chOff x="0" y="0"/>
          <a:chExt cx="0" cy="0"/>
        </a:xfrm>
      </p:grpSpPr>
      <p:sp>
        <p:nvSpPr>
          <p:cNvPr id="8" name="عنوان 1">
            <a:extLst>
              <a:ext uri="{FF2B5EF4-FFF2-40B4-BE49-F238E27FC236}">
                <a16:creationId xmlns:a16="http://schemas.microsoft.com/office/drawing/2014/main" id="{320E912A-3A10-E77A-4114-A16D62044183}"/>
              </a:ext>
            </a:extLst>
          </p:cNvPr>
          <p:cNvSpPr txBox="1">
            <a:spLocks/>
          </p:cNvSpPr>
          <p:nvPr/>
        </p:nvSpPr>
        <p:spPr>
          <a:xfrm>
            <a:off x="1137037" y="741082"/>
            <a:ext cx="9274512" cy="949606"/>
          </a:xfrm>
          <a:prstGeom prst="rect">
            <a:avLst/>
          </a:prstGeom>
        </p:spPr>
        <p:txBody>
          <a:bodyP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defTabSz="914400" rtl="1" eaLnBrk="0" fontAlgn="base" hangingPunct="0">
              <a:lnSpc>
                <a:spcPct val="90000"/>
              </a:lnSpc>
              <a:spcAft>
                <a:spcPct val="0"/>
              </a:spcAft>
            </a:pPr>
            <a:r>
              <a:rPr lang="ar-SA" altLang="en-US" sz="1800">
                <a:ln w="0"/>
                <a:solidFill>
                  <a:srgbClr val="A78B5E"/>
                </a:solidFill>
                <a:effectLst>
                  <a:outerShdw blurRad="50800" dist="38100" dir="5400000" algn="t" rotWithShape="0">
                    <a:prstClr val="black">
                      <a:alpha val="40000"/>
                    </a:prstClr>
                  </a:outerShdw>
                </a:effectLst>
                <a:latin typeface="Avenir Next Arabic Demi" panose="020B0703020202020204" pitchFamily="34" charset="-78"/>
                <a:ea typeface="MS Gothic" panose="020B0609070205080204" pitchFamily="49" charset="-128"/>
                <a:cs typeface="Avenir Next Arabic Demi" panose="020B0703020202020204" pitchFamily="34" charset="-78"/>
              </a:rPr>
              <a:t>هذا الجدول يحتوي على مقارنة مرتبة بين خطة </a:t>
            </a:r>
            <a:r>
              <a:rPr lang="en-US" altLang="en-US" sz="1800">
                <a:ln w="0"/>
                <a:solidFill>
                  <a:srgbClr val="A78B5E"/>
                </a:solidFill>
                <a:effectLst>
                  <a:outerShdw blurRad="50800" dist="38100" dir="5400000" algn="t" rotWithShape="0">
                    <a:prstClr val="black">
                      <a:alpha val="40000"/>
                    </a:prstClr>
                  </a:outerShdw>
                </a:effectLst>
                <a:latin typeface="Avenir Next Arabic Demi" panose="020B0703020202020204" pitchFamily="34" charset="-78"/>
                <a:ea typeface="MS Gothic" panose="020B0609070205080204" pitchFamily="49" charset="-128"/>
                <a:cs typeface="Avenir Next Arabic Demi" panose="020B0703020202020204" pitchFamily="34" charset="-78"/>
              </a:rPr>
              <a:t>KIDANA</a:t>
            </a:r>
            <a:r>
              <a:rPr lang="ar-SA" altLang="en-US" sz="1800">
                <a:ln w="0"/>
                <a:solidFill>
                  <a:srgbClr val="A78B5E"/>
                </a:solidFill>
                <a:effectLst>
                  <a:outerShdw blurRad="50800" dist="38100" dir="5400000" algn="t" rotWithShape="0">
                    <a:prstClr val="black">
                      <a:alpha val="40000"/>
                    </a:prstClr>
                  </a:outerShdw>
                </a:effectLst>
                <a:latin typeface="Avenir Next Arabic Demi" panose="020B0703020202020204" pitchFamily="34" charset="-78"/>
                <a:ea typeface="MS Gothic" panose="020B0609070205080204" pitchFamily="49" charset="-128"/>
                <a:cs typeface="Avenir Next Arabic Demi" panose="020B0703020202020204" pitchFamily="34" charset="-78"/>
              </a:rPr>
              <a:t> ومحتوى ملف </a:t>
            </a:r>
            <a:r>
              <a:rPr lang="en-US" altLang="en-US" sz="1800">
                <a:ln w="0"/>
                <a:solidFill>
                  <a:srgbClr val="A78B5E"/>
                </a:solidFill>
                <a:effectLst>
                  <a:outerShdw blurRad="50800" dist="38100" dir="5400000" algn="t" rotWithShape="0">
                    <a:prstClr val="black">
                      <a:alpha val="40000"/>
                    </a:prstClr>
                  </a:outerShdw>
                </a:effectLst>
                <a:latin typeface="Avenir Next Arabic Demi" panose="020B0703020202020204" pitchFamily="34" charset="-78"/>
                <a:ea typeface="MS Gothic" panose="020B0609070205080204" pitchFamily="49" charset="-128"/>
                <a:cs typeface="Avenir Next Arabic Demi" panose="020B0703020202020204" pitchFamily="34" charset="-78"/>
              </a:rPr>
              <a:t>KPI</a:t>
            </a:r>
            <a:r>
              <a:rPr lang="ar-SA" altLang="en-US" sz="1800">
                <a:ln w="0"/>
                <a:solidFill>
                  <a:srgbClr val="A78B5E"/>
                </a:solidFill>
                <a:effectLst>
                  <a:outerShdw blurRad="50800" dist="38100" dir="5400000" algn="t" rotWithShape="0">
                    <a:prstClr val="black">
                      <a:alpha val="40000"/>
                    </a:prstClr>
                  </a:outerShdw>
                </a:effectLst>
                <a:latin typeface="Avenir Next Arabic Demi" panose="020B0703020202020204" pitchFamily="34" charset="-78"/>
                <a:ea typeface="MS Gothic" panose="020B0609070205080204" pitchFamily="49" charset="-128"/>
                <a:cs typeface="Avenir Next Arabic Demi" panose="020B0703020202020204" pitchFamily="34" charset="-78"/>
              </a:rPr>
              <a:t>المستنبط منه</a:t>
            </a:r>
            <a:r>
              <a:rPr lang="en-US" altLang="en-US" sz="1800">
                <a:ln w="0"/>
                <a:solidFill>
                  <a:srgbClr val="A78B5E"/>
                </a:solidFill>
                <a:effectLst>
                  <a:outerShdw blurRad="50800" dist="38100" dir="5400000" algn="t" rotWithShape="0">
                    <a:prstClr val="black">
                      <a:alpha val="40000"/>
                    </a:prstClr>
                  </a:outerShdw>
                </a:effectLst>
                <a:latin typeface="Avenir Next Arabic Demi" panose="020B0703020202020204" pitchFamily="34" charset="-78"/>
                <a:ea typeface="MS Gothic" panose="020B0609070205080204" pitchFamily="49" charset="-128"/>
                <a:cs typeface="Avenir Next Arabic Demi" panose="020B0703020202020204" pitchFamily="34" charset="-78"/>
              </a:rPr>
              <a:t> </a:t>
            </a:r>
            <a:r>
              <a:rPr lang="ar-SA" altLang="en-US" sz="1800">
                <a:ln w="0"/>
                <a:solidFill>
                  <a:srgbClr val="A78B5E"/>
                </a:solidFill>
                <a:effectLst>
                  <a:outerShdw blurRad="50800" dist="38100" dir="5400000" algn="t" rotWithShape="0">
                    <a:prstClr val="black">
                      <a:alpha val="40000"/>
                    </a:prstClr>
                  </a:outerShdw>
                </a:effectLst>
                <a:latin typeface="Avenir Next Arabic Demi" panose="020B0703020202020204" pitchFamily="34" charset="-78"/>
                <a:ea typeface="MS Gothic" panose="020B0609070205080204" pitchFamily="49" charset="-128"/>
                <a:cs typeface="Avenir Next Arabic Demi" panose="020B0703020202020204" pitchFamily="34" charset="-78"/>
              </a:rPr>
              <a:t>مع الشرائح الداعمة والتوصيات لكل محور.</a:t>
            </a:r>
            <a:br>
              <a:rPr lang="ar-SA" altLang="en-US" sz="1800">
                <a:ln w="0"/>
                <a:solidFill>
                  <a:srgbClr val="A78B5E"/>
                </a:solidFill>
                <a:effectLst>
                  <a:outerShdw blurRad="50800" dist="38100" dir="5400000" algn="t" rotWithShape="0">
                    <a:prstClr val="black">
                      <a:alpha val="40000"/>
                    </a:prstClr>
                  </a:outerShdw>
                </a:effectLst>
                <a:latin typeface="Avenir Next Arabic Demi" panose="020B0703020202020204" pitchFamily="34" charset="-78"/>
                <a:ea typeface="MS Gothic" panose="020B0609070205080204" pitchFamily="49" charset="-128"/>
                <a:cs typeface="Avenir Next Arabic Demi" panose="020B0703020202020204" pitchFamily="34" charset="-78"/>
              </a:rPr>
            </a:br>
            <a:endParaRPr lang="en-US" altLang="en-US" sz="1800">
              <a:ln w="0"/>
              <a:solidFill>
                <a:srgbClr val="A78B5E"/>
              </a:solidFill>
              <a:effectLst>
                <a:outerShdw blurRad="50800" dist="38100" dir="5400000" algn="t" rotWithShape="0">
                  <a:prstClr val="black">
                    <a:alpha val="40000"/>
                  </a:prstClr>
                </a:outerShdw>
              </a:effectLst>
              <a:latin typeface="Avenir Next Arabic Demi" panose="020B0703020202020204" pitchFamily="34" charset="-78"/>
              <a:cs typeface="Avenir Next Arabic Demi" panose="020B0703020202020204" pitchFamily="34" charset="-78"/>
            </a:endParaRPr>
          </a:p>
        </p:txBody>
      </p:sp>
      <p:graphicFrame>
        <p:nvGraphicFramePr>
          <p:cNvPr id="9" name="عنصر نائب للمحتوى 3">
            <a:extLst>
              <a:ext uri="{FF2B5EF4-FFF2-40B4-BE49-F238E27FC236}">
                <a16:creationId xmlns:a16="http://schemas.microsoft.com/office/drawing/2014/main" id="{DCABB15B-BB4C-BED0-4C95-EBFEDE91CDE0}"/>
              </a:ext>
            </a:extLst>
          </p:cNvPr>
          <p:cNvGraphicFramePr>
            <a:graphicFrameLocks/>
          </p:cNvGraphicFramePr>
          <p:nvPr>
            <p:extLst>
              <p:ext uri="{D42A27DB-BD31-4B8C-83A1-F6EECF244321}">
                <p14:modId xmlns:p14="http://schemas.microsoft.com/office/powerpoint/2010/main" val="197020309"/>
              </p:ext>
            </p:extLst>
          </p:nvPr>
        </p:nvGraphicFramePr>
        <p:xfrm>
          <a:off x="1085296" y="2007704"/>
          <a:ext cx="9742010" cy="4247048"/>
        </p:xfrm>
        <a:graphic>
          <a:graphicData uri="http://schemas.openxmlformats.org/drawingml/2006/table">
            <a:tbl>
              <a:tblPr firstRow="1" firstCol="1" bandRow="1">
                <a:tableStyleId>{9D7B26C5-4107-4FEC-AEDC-1716B250A1EF}</a:tableStyleId>
              </a:tblPr>
              <a:tblGrid>
                <a:gridCol w="2181694">
                  <a:extLst>
                    <a:ext uri="{9D8B030D-6E8A-4147-A177-3AD203B41FA5}">
                      <a16:colId xmlns:a16="http://schemas.microsoft.com/office/drawing/2014/main" val="3742560976"/>
                    </a:ext>
                  </a:extLst>
                </a:gridCol>
                <a:gridCol w="3528265">
                  <a:extLst>
                    <a:ext uri="{9D8B030D-6E8A-4147-A177-3AD203B41FA5}">
                      <a16:colId xmlns:a16="http://schemas.microsoft.com/office/drawing/2014/main" val="236393898"/>
                    </a:ext>
                  </a:extLst>
                </a:gridCol>
                <a:gridCol w="4032051">
                  <a:extLst>
                    <a:ext uri="{9D8B030D-6E8A-4147-A177-3AD203B41FA5}">
                      <a16:colId xmlns:a16="http://schemas.microsoft.com/office/drawing/2014/main" val="4096103170"/>
                    </a:ext>
                  </a:extLst>
                </a:gridCol>
              </a:tblGrid>
              <a:tr h="258015">
                <a:tc>
                  <a:txBody>
                    <a:bodyPr/>
                    <a:lstStyle/>
                    <a:p>
                      <a:pPr algn="ctr" rtl="1">
                        <a:lnSpc>
                          <a:spcPct val="115000"/>
                        </a:lnSpc>
                        <a:spcAft>
                          <a:spcPts val="1000"/>
                        </a:spcAft>
                        <a:buNone/>
                      </a:pPr>
                      <a:r>
                        <a:rPr lang="en-US" sz="1300" dirty="0" err="1">
                          <a:effectLst/>
                        </a:rPr>
                        <a:t>محور</a:t>
                      </a:r>
                      <a:r>
                        <a:rPr lang="en-US" sz="1300" dirty="0">
                          <a:effectLst/>
                        </a:rPr>
                        <a:t> </a:t>
                      </a:r>
                      <a:r>
                        <a:rPr lang="en-US" sz="1300" dirty="0" err="1">
                          <a:effectLst/>
                        </a:rPr>
                        <a:t>خطة</a:t>
                      </a:r>
                      <a:r>
                        <a:rPr lang="en-US" sz="1300" dirty="0">
                          <a:effectLst/>
                        </a:rPr>
                        <a:t> </a:t>
                      </a:r>
                      <a:r>
                        <a:rPr lang="en-US" sz="1300" dirty="0" err="1">
                          <a:effectLst/>
                        </a:rPr>
                        <a:t>كدانة</a:t>
                      </a:r>
                      <a:endParaRPr lang="en-US" sz="1300" dirty="0">
                        <a:effectLst/>
                        <a:latin typeface="Cambria" panose="02040503050406030204" pitchFamily="18" charset="0"/>
                        <a:ea typeface="MS Mincho" panose="02020609040205080304" pitchFamily="49" charset="-128"/>
                        <a:cs typeface="Arial" panose="020B0604020202020204" pitchFamily="34" charset="0"/>
                      </a:endParaRPr>
                    </a:p>
                  </a:txBody>
                  <a:tcPr marL="71771" marR="71771" marT="0" marB="0">
                    <a:solidFill>
                      <a:srgbClr val="A78B5E"/>
                    </a:solidFill>
                  </a:tcPr>
                </a:tc>
                <a:tc>
                  <a:txBody>
                    <a:bodyPr/>
                    <a:lstStyle/>
                    <a:p>
                      <a:pPr algn="ctr" rtl="1">
                        <a:lnSpc>
                          <a:spcPct val="115000"/>
                        </a:lnSpc>
                        <a:spcAft>
                          <a:spcPts val="1000"/>
                        </a:spcAft>
                        <a:buNone/>
                      </a:pPr>
                      <a:r>
                        <a:rPr lang="en-US" sz="1300" dirty="0" err="1">
                          <a:effectLst/>
                        </a:rPr>
                        <a:t>الوضع</a:t>
                      </a:r>
                      <a:r>
                        <a:rPr lang="en-US" sz="1300" dirty="0">
                          <a:effectLst/>
                        </a:rPr>
                        <a:t> </a:t>
                      </a:r>
                      <a:r>
                        <a:rPr lang="en-US" sz="1300" dirty="0" err="1">
                          <a:effectLst/>
                        </a:rPr>
                        <a:t>الحالي</a:t>
                      </a:r>
                      <a:r>
                        <a:rPr lang="en-US" sz="1300" dirty="0">
                          <a:effectLst/>
                        </a:rPr>
                        <a:t> </a:t>
                      </a:r>
                      <a:r>
                        <a:rPr lang="en-US" sz="1300" dirty="0" err="1">
                          <a:effectLst/>
                        </a:rPr>
                        <a:t>في</a:t>
                      </a:r>
                      <a:r>
                        <a:rPr lang="en-US" sz="1300" dirty="0">
                          <a:effectLst/>
                        </a:rPr>
                        <a:t> </a:t>
                      </a:r>
                      <a:r>
                        <a:rPr lang="en-US" sz="1300" dirty="0" err="1">
                          <a:effectLst/>
                        </a:rPr>
                        <a:t>الشريحة</a:t>
                      </a:r>
                      <a:r>
                        <a:rPr lang="en-US" sz="1300" dirty="0">
                          <a:effectLst/>
                        </a:rPr>
                        <a:t> </a:t>
                      </a:r>
                      <a:r>
                        <a:rPr lang="en-US" sz="1300" dirty="0" err="1">
                          <a:effectLst/>
                        </a:rPr>
                        <a:t>المرفقة</a:t>
                      </a:r>
                      <a:endParaRPr lang="en-US" sz="1300" dirty="0">
                        <a:effectLst/>
                        <a:latin typeface="Cambria" panose="02040503050406030204" pitchFamily="18" charset="0"/>
                        <a:ea typeface="MS Mincho" panose="02020609040205080304" pitchFamily="49" charset="-128"/>
                        <a:cs typeface="Arial" panose="020B0604020202020204" pitchFamily="34" charset="0"/>
                      </a:endParaRPr>
                    </a:p>
                  </a:txBody>
                  <a:tcPr marL="71771" marR="71771" marT="0" marB="0">
                    <a:solidFill>
                      <a:srgbClr val="A78B5E"/>
                    </a:solidFill>
                  </a:tcPr>
                </a:tc>
                <a:tc>
                  <a:txBody>
                    <a:bodyPr/>
                    <a:lstStyle/>
                    <a:p>
                      <a:pPr algn="r" rtl="1">
                        <a:lnSpc>
                          <a:spcPct val="115000"/>
                        </a:lnSpc>
                        <a:spcAft>
                          <a:spcPts val="1000"/>
                        </a:spcAft>
                        <a:buNone/>
                      </a:pPr>
                      <a:r>
                        <a:rPr lang="en-US" sz="1300" dirty="0" err="1">
                          <a:effectLst/>
                        </a:rPr>
                        <a:t>شرائح</a:t>
                      </a:r>
                      <a:r>
                        <a:rPr lang="en-US" sz="1300" dirty="0">
                          <a:effectLst/>
                        </a:rPr>
                        <a:t> </a:t>
                      </a:r>
                      <a:r>
                        <a:rPr lang="en-US" sz="1300" dirty="0" err="1">
                          <a:effectLst/>
                        </a:rPr>
                        <a:t>داعمة</a:t>
                      </a:r>
                      <a:r>
                        <a:rPr lang="en-US" sz="1300" dirty="0">
                          <a:effectLst/>
                        </a:rPr>
                        <a:t> </a:t>
                      </a:r>
                      <a:r>
                        <a:rPr lang="en-US" sz="1300" dirty="0" err="1">
                          <a:effectLst/>
                        </a:rPr>
                        <a:t>من</a:t>
                      </a:r>
                      <a:r>
                        <a:rPr lang="en-US" sz="1300" dirty="0">
                          <a:effectLst/>
                        </a:rPr>
                        <a:t> </a:t>
                      </a:r>
                      <a:r>
                        <a:rPr lang="en-US" sz="1300" dirty="0" err="1">
                          <a:effectLst/>
                        </a:rPr>
                        <a:t>ملف</a:t>
                      </a:r>
                      <a:r>
                        <a:rPr lang="en-US" sz="1300" dirty="0">
                          <a:effectLst/>
                        </a:rPr>
                        <a:t> KPI </a:t>
                      </a:r>
                      <a:r>
                        <a:rPr lang="ar-SA" sz="1300" dirty="0">
                          <a:effectLst/>
                        </a:rPr>
                        <a:t>(</a:t>
                      </a:r>
                      <a:r>
                        <a:rPr lang="en-US" sz="1300" dirty="0" err="1">
                          <a:effectLst/>
                        </a:rPr>
                        <a:t>للتفصيل</a:t>
                      </a:r>
                      <a:r>
                        <a:rPr lang="en-US" sz="1300" dirty="0">
                          <a:effectLst/>
                        </a:rPr>
                        <a:t> </a:t>
                      </a:r>
                      <a:r>
                        <a:rPr lang="en-US" sz="1300" dirty="0" err="1">
                          <a:effectLst/>
                        </a:rPr>
                        <a:t>والتحسين</a:t>
                      </a:r>
                      <a:r>
                        <a:rPr lang="ar-SA" sz="1300" dirty="0">
                          <a:effectLst/>
                        </a:rPr>
                        <a:t>)</a:t>
                      </a:r>
                      <a:endParaRPr lang="en-US" sz="1300" dirty="0">
                        <a:effectLst/>
                        <a:latin typeface="Cambria" panose="02040503050406030204" pitchFamily="18" charset="0"/>
                        <a:ea typeface="MS Mincho" panose="02020609040205080304" pitchFamily="49" charset="-128"/>
                        <a:cs typeface="Arial" panose="020B0604020202020204" pitchFamily="34" charset="0"/>
                      </a:endParaRPr>
                    </a:p>
                  </a:txBody>
                  <a:tcPr marL="71771" marR="71771" marT="0" marB="0">
                    <a:solidFill>
                      <a:srgbClr val="A78B5E"/>
                    </a:solidFill>
                  </a:tcPr>
                </a:tc>
                <a:extLst>
                  <a:ext uri="{0D108BD9-81ED-4DB2-BD59-A6C34878D82A}">
                    <a16:rowId xmlns:a16="http://schemas.microsoft.com/office/drawing/2014/main" val="2369850488"/>
                  </a:ext>
                </a:extLst>
              </a:tr>
              <a:tr h="1406225">
                <a:tc>
                  <a:txBody>
                    <a:bodyPr/>
                    <a:lstStyle/>
                    <a:p>
                      <a:pPr algn="ctr" rtl="1">
                        <a:lnSpc>
                          <a:spcPct val="115000"/>
                        </a:lnSpc>
                        <a:spcAft>
                          <a:spcPts val="1000"/>
                        </a:spcAft>
                        <a:buNone/>
                      </a:pPr>
                      <a:r>
                        <a:rPr lang="en-US" sz="1800" b="0" dirty="0" err="1">
                          <a:effectLst/>
                        </a:rPr>
                        <a:t>تطوير</a:t>
                      </a:r>
                      <a:r>
                        <a:rPr lang="en-US" sz="1800" b="0" dirty="0">
                          <a:effectLst/>
                        </a:rPr>
                        <a:t> </a:t>
                      </a:r>
                      <a:r>
                        <a:rPr lang="en-US" sz="1800" b="0" dirty="0" err="1">
                          <a:effectLst/>
                        </a:rPr>
                        <a:t>حوكمة</a:t>
                      </a:r>
                      <a:r>
                        <a:rPr lang="en-US" sz="1800" b="0" dirty="0">
                          <a:effectLst/>
                        </a:rPr>
                        <a:t> </a:t>
                      </a:r>
                      <a:r>
                        <a:rPr lang="en-US" sz="1800" b="0" dirty="0" err="1">
                          <a:effectLst/>
                        </a:rPr>
                        <a:t>إدارة</a:t>
                      </a:r>
                      <a:r>
                        <a:rPr lang="en-US" sz="1800" b="0" dirty="0">
                          <a:effectLst/>
                        </a:rPr>
                        <a:t> </a:t>
                      </a:r>
                      <a:r>
                        <a:rPr lang="en-US" sz="1800" b="0" dirty="0" err="1">
                          <a:effectLst/>
                        </a:rPr>
                        <a:t>الأداء</a:t>
                      </a:r>
                      <a:endParaRPr lang="en-US" sz="1800" b="0" dirty="0">
                        <a:effectLst/>
                        <a:latin typeface="Cambria" panose="02040503050406030204" pitchFamily="18" charset="0"/>
                        <a:ea typeface="MS Mincho" panose="02020609040205080304" pitchFamily="49" charset="-128"/>
                        <a:cs typeface="Arial" panose="020B0604020202020204" pitchFamily="34" charset="0"/>
                      </a:endParaRPr>
                    </a:p>
                  </a:txBody>
                  <a:tcPr marL="71771" marR="71771" marT="0" marB="0">
                    <a:solidFill>
                      <a:srgbClr val="A78B5E">
                        <a:alpha val="20000"/>
                      </a:srgbClr>
                    </a:solidFill>
                  </a:tcPr>
                </a:tc>
                <a:tc>
                  <a:txBody>
                    <a:bodyPr/>
                    <a:lstStyle/>
                    <a:p>
                      <a:pPr algn="ctr" rtl="1">
                        <a:lnSpc>
                          <a:spcPct val="115000"/>
                        </a:lnSpc>
                        <a:spcAft>
                          <a:spcPts val="1000"/>
                        </a:spcAft>
                        <a:buNone/>
                      </a:pPr>
                      <a:r>
                        <a:rPr lang="en-US" sz="1800" b="0" dirty="0">
                          <a:effectLst/>
                        </a:rPr>
                        <a:t>تم </a:t>
                      </a:r>
                      <a:r>
                        <a:rPr lang="en-US" sz="1800" b="0" dirty="0" err="1">
                          <a:effectLst/>
                        </a:rPr>
                        <a:t>تفعيل</a:t>
                      </a:r>
                      <a:r>
                        <a:rPr lang="en-US" sz="1800" b="0" dirty="0">
                          <a:effectLst/>
                        </a:rPr>
                        <a:t> نموذج </a:t>
                      </a:r>
                      <a:r>
                        <a:rPr lang="en-US" sz="1800" b="0" dirty="0" err="1">
                          <a:effectLst/>
                        </a:rPr>
                        <a:t>الحوكمة</a:t>
                      </a:r>
                      <a:r>
                        <a:rPr lang="en-US" sz="1800" b="0" dirty="0">
                          <a:effectLst/>
                        </a:rPr>
                        <a:t> </a:t>
                      </a:r>
                      <a:r>
                        <a:rPr lang="en-US" sz="1800" b="0" dirty="0" err="1">
                          <a:effectLst/>
                        </a:rPr>
                        <a:t>وربطها</a:t>
                      </a:r>
                      <a:r>
                        <a:rPr lang="en-US" sz="1800" b="0" dirty="0">
                          <a:effectLst/>
                        </a:rPr>
                        <a:t> </a:t>
                      </a:r>
                      <a:r>
                        <a:rPr lang="en-US" sz="1800" b="0" dirty="0" err="1">
                          <a:effectLst/>
                        </a:rPr>
                        <a:t>بإدارة</a:t>
                      </a:r>
                      <a:r>
                        <a:rPr lang="en-US" sz="1800" b="0" dirty="0">
                          <a:effectLst/>
                        </a:rPr>
                        <a:t> </a:t>
                      </a:r>
                      <a:r>
                        <a:rPr lang="en-US" sz="1800" b="0" dirty="0" err="1">
                          <a:effectLst/>
                        </a:rPr>
                        <a:t>الأداء</a:t>
                      </a:r>
                      <a:endParaRPr lang="en-US" sz="1800" b="0" dirty="0">
                        <a:effectLst/>
                        <a:latin typeface="Cambria" panose="02040503050406030204" pitchFamily="18" charset="0"/>
                        <a:ea typeface="MS Mincho" panose="02020609040205080304" pitchFamily="49" charset="-128"/>
                        <a:cs typeface="Arial" panose="020B0604020202020204" pitchFamily="34" charset="0"/>
                      </a:endParaRPr>
                    </a:p>
                  </a:txBody>
                  <a:tcPr marL="71771" marR="71771" marT="0" marB="0">
                    <a:solidFill>
                      <a:srgbClr val="A78B5E">
                        <a:alpha val="20000"/>
                      </a:srgbClr>
                    </a:solidFill>
                  </a:tcPr>
                </a:tc>
                <a:tc>
                  <a:txBody>
                    <a:bodyPr/>
                    <a:lstStyle/>
                    <a:p>
                      <a:pPr>
                        <a:lnSpc>
                          <a:spcPct val="115000"/>
                        </a:lnSpc>
                        <a:spcAft>
                          <a:spcPts val="1000"/>
                        </a:spcAft>
                        <a:buNone/>
                      </a:pPr>
                      <a:r>
                        <a:rPr lang="en-US" sz="1300" dirty="0">
                          <a:effectLst/>
                        </a:rPr>
                        <a:t>Slide 4 – Performance vs Management</a:t>
                      </a:r>
                      <a:br>
                        <a:rPr lang="en-US" sz="1300" dirty="0">
                          <a:effectLst/>
                        </a:rPr>
                      </a:br>
                      <a:r>
                        <a:rPr lang="en-US" sz="1300" dirty="0">
                          <a:effectLst/>
                        </a:rPr>
                        <a:t>Slide 6 – Added value of KPIs</a:t>
                      </a:r>
                      <a:br>
                        <a:rPr lang="en-US" sz="1300" dirty="0">
                          <a:effectLst/>
                        </a:rPr>
                      </a:br>
                      <a:r>
                        <a:rPr lang="en-US" sz="1300" dirty="0">
                          <a:effectLst/>
                        </a:rPr>
                        <a:t>Slide 17 – KPI Governance Structure</a:t>
                      </a:r>
                      <a:br>
                        <a:rPr lang="en-US" sz="1300" dirty="0">
                          <a:effectLst/>
                        </a:rPr>
                      </a:br>
                      <a:r>
                        <a:rPr lang="en-US" sz="1300" dirty="0">
                          <a:effectLst/>
                        </a:rPr>
                        <a:t>Slide 21 – Performance System Map</a:t>
                      </a:r>
                      <a:br>
                        <a:rPr lang="en-US" sz="1300" dirty="0">
                          <a:effectLst/>
                        </a:rPr>
                      </a:br>
                      <a:r>
                        <a:rPr lang="en-US" sz="1300" dirty="0">
                          <a:effectLst/>
                        </a:rPr>
                        <a:t>Slide 25 – Integration of Tools</a:t>
                      </a:r>
                      <a:br>
                        <a:rPr lang="en-US" sz="1300" dirty="0">
                          <a:effectLst/>
                        </a:rPr>
                      </a:br>
                      <a:r>
                        <a:rPr lang="en-US" sz="1300" dirty="0">
                          <a:effectLst/>
                        </a:rPr>
                        <a:t>Slide 29 – PDCA Cycle</a:t>
                      </a:r>
                      <a:endParaRPr lang="en-US" sz="1300" dirty="0">
                        <a:effectLst/>
                        <a:latin typeface="Cambria" panose="02040503050406030204" pitchFamily="18" charset="0"/>
                        <a:ea typeface="MS Mincho" panose="02020609040205080304" pitchFamily="49" charset="-128"/>
                        <a:cs typeface="Arial" panose="020B0604020202020204" pitchFamily="34" charset="0"/>
                      </a:endParaRPr>
                    </a:p>
                  </a:txBody>
                  <a:tcPr marL="71771" marR="71771" marT="0" marB="0">
                    <a:solidFill>
                      <a:srgbClr val="A78B5E">
                        <a:alpha val="20000"/>
                      </a:srgbClr>
                    </a:solidFill>
                  </a:tcPr>
                </a:tc>
                <a:extLst>
                  <a:ext uri="{0D108BD9-81ED-4DB2-BD59-A6C34878D82A}">
                    <a16:rowId xmlns:a16="http://schemas.microsoft.com/office/drawing/2014/main" val="1086211702"/>
                  </a:ext>
                </a:extLst>
              </a:tr>
              <a:tr h="1176583">
                <a:tc>
                  <a:txBody>
                    <a:bodyPr/>
                    <a:lstStyle/>
                    <a:p>
                      <a:pPr algn="ctr" rtl="1">
                        <a:lnSpc>
                          <a:spcPct val="115000"/>
                        </a:lnSpc>
                        <a:spcAft>
                          <a:spcPts val="1000"/>
                        </a:spcAft>
                        <a:buNone/>
                      </a:pPr>
                      <a:r>
                        <a:rPr lang="en-US" sz="1800" b="0" dirty="0" err="1">
                          <a:effectLst/>
                        </a:rPr>
                        <a:t>تطوير</a:t>
                      </a:r>
                      <a:r>
                        <a:rPr lang="en-US" sz="1800" b="0" dirty="0">
                          <a:effectLst/>
                        </a:rPr>
                        <a:t> </a:t>
                      </a:r>
                      <a:r>
                        <a:rPr lang="en-US" sz="1800" b="0" dirty="0" err="1">
                          <a:effectLst/>
                        </a:rPr>
                        <a:t>مؤشرات</a:t>
                      </a:r>
                      <a:r>
                        <a:rPr lang="en-US" sz="1800" b="0" dirty="0">
                          <a:effectLst/>
                        </a:rPr>
                        <a:t> </a:t>
                      </a:r>
                      <a:r>
                        <a:rPr lang="en-US" sz="1800" b="0" dirty="0" err="1">
                          <a:effectLst/>
                        </a:rPr>
                        <a:t>الأداء</a:t>
                      </a:r>
                      <a:r>
                        <a:rPr lang="en-US" sz="1800" b="0" dirty="0">
                          <a:effectLst/>
                        </a:rPr>
                        <a:t> </a:t>
                      </a:r>
                      <a:r>
                        <a:rPr lang="en-US" sz="1800" b="0" dirty="0" err="1">
                          <a:effectLst/>
                        </a:rPr>
                        <a:t>الرئيسية</a:t>
                      </a:r>
                      <a:endParaRPr lang="en-US" sz="1800" b="0" dirty="0">
                        <a:effectLst/>
                        <a:latin typeface="Cambria" panose="02040503050406030204" pitchFamily="18" charset="0"/>
                        <a:ea typeface="MS Mincho" panose="02020609040205080304" pitchFamily="49" charset="-128"/>
                        <a:cs typeface="Arial" panose="020B0604020202020204" pitchFamily="34" charset="0"/>
                      </a:endParaRPr>
                    </a:p>
                  </a:txBody>
                  <a:tcPr marL="71771" marR="71771" marT="0" marB="0">
                    <a:solidFill>
                      <a:srgbClr val="A78B5E"/>
                    </a:solidFill>
                  </a:tcPr>
                </a:tc>
                <a:tc>
                  <a:txBody>
                    <a:bodyPr/>
                    <a:lstStyle/>
                    <a:p>
                      <a:pPr algn="ctr">
                        <a:lnSpc>
                          <a:spcPct val="115000"/>
                        </a:lnSpc>
                        <a:spcAft>
                          <a:spcPts val="1000"/>
                        </a:spcAft>
                        <a:buNone/>
                      </a:pPr>
                      <a:r>
                        <a:rPr lang="en-US" sz="1800" dirty="0">
                          <a:effectLst/>
                        </a:rPr>
                        <a:t>تم </a:t>
                      </a:r>
                      <a:r>
                        <a:rPr lang="en-US" sz="1800" dirty="0" err="1">
                          <a:effectLst/>
                        </a:rPr>
                        <a:t>بناء</a:t>
                      </a:r>
                      <a:r>
                        <a:rPr lang="en-US" sz="1800" dirty="0">
                          <a:effectLst/>
                        </a:rPr>
                        <a:t> </a:t>
                      </a:r>
                      <a:r>
                        <a:rPr lang="en-US" sz="1800" dirty="0" err="1">
                          <a:effectLst/>
                        </a:rPr>
                        <a:t>مؤشرات</a:t>
                      </a:r>
                      <a:r>
                        <a:rPr lang="en-US" sz="1800" dirty="0">
                          <a:effectLst/>
                        </a:rPr>
                        <a:t> </a:t>
                      </a:r>
                      <a:r>
                        <a:rPr lang="en-US" sz="1800" dirty="0" err="1">
                          <a:effectLst/>
                        </a:rPr>
                        <a:t>ورفع</a:t>
                      </a:r>
                      <a:r>
                        <a:rPr lang="en-US" sz="1800" dirty="0">
                          <a:effectLst/>
                        </a:rPr>
                        <a:t> </a:t>
                      </a:r>
                      <a:r>
                        <a:rPr lang="en-US" sz="1800" dirty="0" err="1">
                          <a:effectLst/>
                        </a:rPr>
                        <a:t>كفاءتها</a:t>
                      </a:r>
                      <a:endParaRPr lang="en-US" sz="1800" dirty="0">
                        <a:effectLst/>
                        <a:latin typeface="Cambria" panose="02040503050406030204" pitchFamily="18" charset="0"/>
                        <a:ea typeface="MS Mincho" panose="02020609040205080304" pitchFamily="49" charset="-128"/>
                        <a:cs typeface="Arial" panose="020B0604020202020204" pitchFamily="34" charset="0"/>
                      </a:endParaRPr>
                    </a:p>
                  </a:txBody>
                  <a:tcPr marL="71771" marR="71771" marT="0" marB="0">
                    <a:solidFill>
                      <a:srgbClr val="A78B5E"/>
                    </a:solidFill>
                  </a:tcPr>
                </a:tc>
                <a:tc>
                  <a:txBody>
                    <a:bodyPr/>
                    <a:lstStyle/>
                    <a:p>
                      <a:pPr>
                        <a:lnSpc>
                          <a:spcPct val="115000"/>
                        </a:lnSpc>
                        <a:spcAft>
                          <a:spcPts val="1000"/>
                        </a:spcAft>
                        <a:buNone/>
                      </a:pPr>
                      <a:r>
                        <a:rPr lang="en-US" sz="1300" dirty="0">
                          <a:effectLst/>
                        </a:rPr>
                        <a:t>Slide 45 – KPI Selection Sources</a:t>
                      </a:r>
                      <a:br>
                        <a:rPr lang="en-US" sz="1300" dirty="0">
                          <a:effectLst/>
                        </a:rPr>
                      </a:br>
                      <a:r>
                        <a:rPr lang="en-US" sz="1300" dirty="0">
                          <a:effectLst/>
                        </a:rPr>
                        <a:t>Slide 47 – KPI Selection Process</a:t>
                      </a:r>
                      <a:br>
                        <a:rPr lang="en-US" sz="1300" dirty="0">
                          <a:effectLst/>
                        </a:rPr>
                      </a:br>
                      <a:r>
                        <a:rPr lang="en-US" sz="1300" dirty="0">
                          <a:effectLst/>
                        </a:rPr>
                        <a:t>Slide 50 – KPI Clustering</a:t>
                      </a:r>
                      <a:br>
                        <a:rPr lang="en-US" sz="1300" dirty="0">
                          <a:effectLst/>
                        </a:rPr>
                      </a:br>
                      <a:r>
                        <a:rPr lang="en-US" sz="1300" dirty="0">
                          <a:effectLst/>
                        </a:rPr>
                        <a:t>Slide 51 – KPI Workshop</a:t>
                      </a:r>
                      <a:br>
                        <a:rPr lang="en-US" sz="1300" dirty="0">
                          <a:effectLst/>
                        </a:rPr>
                      </a:br>
                      <a:r>
                        <a:rPr lang="en-US" sz="1300" dirty="0">
                          <a:effectLst/>
                        </a:rPr>
                        <a:t>Slide 65 – Value Flow Analysis</a:t>
                      </a:r>
                      <a:endParaRPr lang="en-US" sz="1300" dirty="0">
                        <a:effectLst/>
                        <a:latin typeface="Cambria" panose="02040503050406030204" pitchFamily="18" charset="0"/>
                        <a:ea typeface="MS Mincho" panose="02020609040205080304" pitchFamily="49" charset="-128"/>
                        <a:cs typeface="Arial" panose="020B0604020202020204" pitchFamily="34" charset="0"/>
                      </a:endParaRPr>
                    </a:p>
                  </a:txBody>
                  <a:tcPr marL="71771" marR="71771" marT="0" marB="0">
                    <a:solidFill>
                      <a:srgbClr val="A78B5E"/>
                    </a:solidFill>
                  </a:tcPr>
                </a:tc>
                <a:extLst>
                  <a:ext uri="{0D108BD9-81ED-4DB2-BD59-A6C34878D82A}">
                    <a16:rowId xmlns:a16="http://schemas.microsoft.com/office/drawing/2014/main" val="2641586040"/>
                  </a:ext>
                </a:extLst>
              </a:tr>
              <a:tr h="1406225">
                <a:tc>
                  <a:txBody>
                    <a:bodyPr/>
                    <a:lstStyle/>
                    <a:p>
                      <a:pPr algn="ctr" rtl="1">
                        <a:lnSpc>
                          <a:spcPct val="115000"/>
                        </a:lnSpc>
                        <a:spcAft>
                          <a:spcPts val="1000"/>
                        </a:spcAft>
                        <a:buNone/>
                      </a:pPr>
                      <a:r>
                        <a:rPr lang="en-US" sz="1800" b="0" dirty="0" err="1">
                          <a:effectLst/>
                        </a:rPr>
                        <a:t>تفعيل</a:t>
                      </a:r>
                      <a:r>
                        <a:rPr lang="en-US" sz="1800" b="0" dirty="0">
                          <a:effectLst/>
                        </a:rPr>
                        <a:t> </a:t>
                      </a:r>
                      <a:r>
                        <a:rPr lang="en-US" sz="1800" b="0" dirty="0" err="1">
                          <a:effectLst/>
                        </a:rPr>
                        <a:t>إدارة</a:t>
                      </a:r>
                      <a:r>
                        <a:rPr lang="en-US" sz="1800" b="0" dirty="0">
                          <a:effectLst/>
                        </a:rPr>
                        <a:t> </a:t>
                      </a:r>
                      <a:r>
                        <a:rPr lang="en-US" sz="1800" b="0" dirty="0" err="1">
                          <a:effectLst/>
                        </a:rPr>
                        <a:t>الأداء</a:t>
                      </a:r>
                      <a:endParaRPr lang="en-US" sz="1800" b="0" dirty="0">
                        <a:effectLst/>
                        <a:latin typeface="Cambria" panose="02040503050406030204" pitchFamily="18" charset="0"/>
                        <a:ea typeface="MS Mincho" panose="02020609040205080304" pitchFamily="49" charset="-128"/>
                        <a:cs typeface="Arial" panose="020B0604020202020204" pitchFamily="34" charset="0"/>
                      </a:endParaRPr>
                    </a:p>
                  </a:txBody>
                  <a:tcPr marL="71771" marR="71771" marT="0" marB="0">
                    <a:solidFill>
                      <a:srgbClr val="A78B5E">
                        <a:alpha val="20000"/>
                      </a:srgbClr>
                    </a:solidFill>
                  </a:tcPr>
                </a:tc>
                <a:tc>
                  <a:txBody>
                    <a:bodyPr/>
                    <a:lstStyle/>
                    <a:p>
                      <a:pPr algn="ctr">
                        <a:lnSpc>
                          <a:spcPct val="115000"/>
                        </a:lnSpc>
                        <a:spcAft>
                          <a:spcPts val="1000"/>
                        </a:spcAft>
                        <a:buNone/>
                      </a:pPr>
                      <a:r>
                        <a:rPr lang="en-US" sz="1800" b="0" dirty="0">
                          <a:effectLst/>
                        </a:rPr>
                        <a:t>تم </a:t>
                      </a:r>
                      <a:r>
                        <a:rPr lang="en-US" sz="1800" b="0" dirty="0" err="1">
                          <a:effectLst/>
                        </a:rPr>
                        <a:t>تنفيذ</a:t>
                      </a:r>
                      <a:r>
                        <a:rPr lang="en-US" sz="1800" b="0" dirty="0">
                          <a:effectLst/>
                        </a:rPr>
                        <a:t> </a:t>
                      </a:r>
                      <a:r>
                        <a:rPr lang="en-US" sz="1800" b="0" dirty="0" err="1">
                          <a:effectLst/>
                        </a:rPr>
                        <a:t>آليات</a:t>
                      </a:r>
                      <a:r>
                        <a:rPr lang="en-US" sz="1800" b="0" dirty="0">
                          <a:effectLst/>
                        </a:rPr>
                        <a:t> </a:t>
                      </a:r>
                      <a:r>
                        <a:rPr lang="en-US" sz="1800" b="0" dirty="0" err="1">
                          <a:effectLst/>
                        </a:rPr>
                        <a:t>تفعيل</a:t>
                      </a:r>
                      <a:r>
                        <a:rPr lang="en-US" sz="1800" b="0" dirty="0">
                          <a:effectLst/>
                        </a:rPr>
                        <a:t> </a:t>
                      </a:r>
                      <a:r>
                        <a:rPr lang="en-US" sz="1800" b="0" dirty="0" err="1">
                          <a:effectLst/>
                        </a:rPr>
                        <a:t>وربط</a:t>
                      </a:r>
                      <a:r>
                        <a:rPr lang="en-US" sz="1800" b="0" dirty="0">
                          <a:effectLst/>
                        </a:rPr>
                        <a:t> </a:t>
                      </a:r>
                      <a:r>
                        <a:rPr lang="en-US" sz="1800" b="0" dirty="0" err="1">
                          <a:effectLst/>
                        </a:rPr>
                        <a:t>الخطط</a:t>
                      </a:r>
                      <a:r>
                        <a:rPr lang="en-US" sz="1800" b="0" dirty="0">
                          <a:effectLst/>
                        </a:rPr>
                        <a:t> </a:t>
                      </a:r>
                      <a:r>
                        <a:rPr lang="en-US" sz="1800" b="0" dirty="0" err="1">
                          <a:effectLst/>
                        </a:rPr>
                        <a:t>التشغيلية</a:t>
                      </a:r>
                      <a:r>
                        <a:rPr lang="en-US" sz="1800" b="0" dirty="0">
                          <a:effectLst/>
                        </a:rPr>
                        <a:t> </a:t>
                      </a:r>
                      <a:r>
                        <a:rPr lang="en-US" sz="1800" b="0" dirty="0" err="1">
                          <a:effectLst/>
                        </a:rPr>
                        <a:t>بالمؤشرات</a:t>
                      </a:r>
                      <a:endParaRPr lang="en-US" sz="1800" b="0" dirty="0">
                        <a:effectLst/>
                        <a:latin typeface="Cambria" panose="02040503050406030204" pitchFamily="18" charset="0"/>
                        <a:ea typeface="MS Mincho" panose="02020609040205080304" pitchFamily="49" charset="-128"/>
                        <a:cs typeface="Arial" panose="020B0604020202020204" pitchFamily="34" charset="0"/>
                      </a:endParaRPr>
                    </a:p>
                  </a:txBody>
                  <a:tcPr marL="71771" marR="71771" marT="0" marB="0">
                    <a:solidFill>
                      <a:srgbClr val="A78B5E">
                        <a:alpha val="20000"/>
                      </a:srgbClr>
                    </a:solidFill>
                  </a:tcPr>
                </a:tc>
                <a:tc>
                  <a:txBody>
                    <a:bodyPr/>
                    <a:lstStyle/>
                    <a:p>
                      <a:pPr algn="l" rtl="1">
                        <a:lnSpc>
                          <a:spcPct val="115000"/>
                        </a:lnSpc>
                        <a:spcAft>
                          <a:spcPts val="1000"/>
                        </a:spcAft>
                        <a:buNone/>
                      </a:pPr>
                      <a:r>
                        <a:rPr lang="en-US" sz="1300" dirty="0">
                          <a:effectLst/>
                        </a:rPr>
                        <a:t>Slide 27 – Strategy Map</a:t>
                      </a:r>
                      <a:br>
                        <a:rPr lang="en-US" sz="1300" dirty="0">
                          <a:effectLst/>
                        </a:rPr>
                      </a:br>
                      <a:r>
                        <a:rPr lang="en-US" sz="1300" dirty="0">
                          <a:effectLst/>
                        </a:rPr>
                        <a:t>Slide 28 – Scorecard</a:t>
                      </a:r>
                      <a:br>
                        <a:rPr lang="en-US" sz="1300" dirty="0">
                          <a:effectLst/>
                        </a:rPr>
                      </a:br>
                      <a:r>
                        <a:rPr lang="en-US" sz="1300" dirty="0">
                          <a:effectLst/>
                        </a:rPr>
                        <a:t>Slide 31 – Dashboard Example</a:t>
                      </a:r>
                      <a:br>
                        <a:rPr lang="en-US" sz="1300" dirty="0">
                          <a:effectLst/>
                        </a:rPr>
                      </a:br>
                      <a:r>
                        <a:rPr lang="en-US" sz="1300" dirty="0">
                          <a:effectLst/>
                        </a:rPr>
                        <a:t>Slide 36 – KPI Lifecycle</a:t>
                      </a:r>
                      <a:br>
                        <a:rPr lang="en-US" sz="1300" dirty="0">
                          <a:effectLst/>
                        </a:rPr>
                      </a:br>
                      <a:r>
                        <a:rPr lang="en-US" sz="1300" dirty="0">
                          <a:effectLst/>
                        </a:rPr>
                        <a:t>Slide 40 – Performance Review</a:t>
                      </a:r>
                      <a:br>
                        <a:rPr lang="en-US" sz="1300" dirty="0">
                          <a:effectLst/>
                        </a:rPr>
                      </a:br>
                      <a:r>
                        <a:rPr lang="en-US" sz="1300" dirty="0">
                          <a:effectLst/>
                        </a:rPr>
                        <a:t>Slide 139 – KPI DNA Example (Customer Service)</a:t>
                      </a:r>
                      <a:endParaRPr lang="en-US" sz="1300" dirty="0">
                        <a:effectLst/>
                        <a:latin typeface="Cambria" panose="02040503050406030204" pitchFamily="18" charset="0"/>
                        <a:ea typeface="MS Mincho" panose="02020609040205080304" pitchFamily="49" charset="-128"/>
                        <a:cs typeface="Arial" panose="020B0604020202020204" pitchFamily="34" charset="0"/>
                      </a:endParaRPr>
                    </a:p>
                  </a:txBody>
                  <a:tcPr marL="71771" marR="71771" marT="0" marB="0">
                    <a:solidFill>
                      <a:srgbClr val="A78B5E">
                        <a:alpha val="20000"/>
                      </a:srgbClr>
                    </a:solidFill>
                  </a:tcPr>
                </a:tc>
                <a:extLst>
                  <a:ext uri="{0D108BD9-81ED-4DB2-BD59-A6C34878D82A}">
                    <a16:rowId xmlns:a16="http://schemas.microsoft.com/office/drawing/2014/main" val="22058480"/>
                  </a:ext>
                </a:extLst>
              </a:tr>
            </a:tbl>
          </a:graphicData>
        </a:graphic>
      </p:graphicFrame>
    </p:spTree>
    <p:extLst>
      <p:ext uri="{BB962C8B-B14F-4D97-AF65-F5344CB8AC3E}">
        <p14:creationId xmlns:p14="http://schemas.microsoft.com/office/powerpoint/2010/main" val="3880534264"/>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A62787-BE0F-13A7-3AA7-82B1B564B548}"/>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891AE26-8223-D812-9B5E-332477DF698A}"/>
              </a:ext>
            </a:extLst>
          </p:cNvPr>
          <p:cNvGraphicFramePr>
            <a:graphicFrameLocks noChangeAspect="1"/>
          </p:cNvGraphicFramePr>
          <p:nvPr>
            <p:custDataLst>
              <p:tags r:id="rId1"/>
            </p:custDataLst>
          </p:nvPr>
        </p:nvGraphicFramePr>
        <p:xfrm>
          <a:off x="3969" y="2580"/>
          <a:ext cx="794" cy="794"/>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0" name="think-cell data - do not delete" hidden="1">
                        <a:extLst>
                          <a:ext uri="{FF2B5EF4-FFF2-40B4-BE49-F238E27FC236}">
                            <a16:creationId xmlns:a16="http://schemas.microsoft.com/office/drawing/2014/main" id="{0891AE26-8223-D812-9B5E-332477DF698A}"/>
                          </a:ext>
                        </a:extLst>
                      </p:cNvPr>
                      <p:cNvPicPr/>
                      <p:nvPr/>
                    </p:nvPicPr>
                    <p:blipFill>
                      <a:blip r:embed="rId5"/>
                      <a:stretch>
                        <a:fillRect/>
                      </a:stretch>
                    </p:blipFill>
                    <p:spPr>
                      <a:xfrm>
                        <a:off x="3969" y="2580"/>
                        <a:ext cx="794" cy="794"/>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1DCAA9DE-6121-81DA-5701-592C67BF4F71}"/>
              </a:ext>
            </a:extLst>
          </p:cNvPr>
          <p:cNvCxnSpPr/>
          <p:nvPr/>
        </p:nvCxnSpPr>
        <p:spPr>
          <a:xfrm>
            <a:off x="3175" y="1786"/>
            <a:ext cx="456962" cy="0"/>
          </a:xfrm>
          <a:prstGeom prst="line">
            <a:avLst/>
          </a:prstGeom>
          <a:noFill/>
          <a:ln w="0" cap="flat" cmpd="sng" algn="ctr">
            <a:solidFill>
              <a:srgbClr val="FBFFFF"/>
            </a:solidFill>
            <a:prstDash val="solid"/>
            <a:miter lim="4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cxnSp>
      <p:sp>
        <p:nvSpPr>
          <p:cNvPr id="3" name="Title 2">
            <a:extLst>
              <a:ext uri="{FF2B5EF4-FFF2-40B4-BE49-F238E27FC236}">
                <a16:creationId xmlns:a16="http://schemas.microsoft.com/office/drawing/2014/main" id="{FE712512-A588-225C-CD96-C1106C4B9E6D}"/>
              </a:ext>
            </a:extLst>
          </p:cNvPr>
          <p:cNvSpPr>
            <a:spLocks noGrp="1"/>
          </p:cNvSpPr>
          <p:nvPr>
            <p:ph type="title"/>
          </p:nvPr>
        </p:nvSpPr>
        <p:spPr>
          <a:xfrm>
            <a:off x="2041525" y="2505857"/>
            <a:ext cx="2854261" cy="1599419"/>
          </a:xfrm>
        </p:spPr>
        <p:txBody>
          <a:bodyPr vert="horz">
            <a:normAutofit/>
          </a:bodyPr>
          <a:lstStyle/>
          <a:p>
            <a:pPr algn="ctr" rtl="1">
              <a:lnSpc>
                <a:spcPct val="150000"/>
              </a:lnSpc>
            </a:pPr>
            <a:r>
              <a:rPr lang="ar-SA" sz="4400" b="1" spc="0" dirty="0">
                <a:solidFill>
                  <a:schemeClr val="bg2">
                    <a:lumMod val="50000"/>
                  </a:schemeClr>
                </a:solidFill>
                <a:ea typeface="+mn-ea"/>
              </a:rPr>
              <a:t>شكرًا</a:t>
            </a:r>
            <a:endParaRPr lang="en-SA" sz="4400" b="1" spc="0" dirty="0">
              <a:solidFill>
                <a:schemeClr val="bg2">
                  <a:lumMod val="50000"/>
                </a:schemeClr>
              </a:solidFill>
              <a:ea typeface="+mn-ea"/>
            </a:endParaRPr>
          </a:p>
        </p:txBody>
      </p:sp>
    </p:spTree>
    <p:extLst>
      <p:ext uri="{BB962C8B-B14F-4D97-AF65-F5344CB8AC3E}">
        <p14:creationId xmlns:p14="http://schemas.microsoft.com/office/powerpoint/2010/main" val="1363971038"/>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652486-D27E-13EB-0178-AC1D33B0D9C0}"/>
            </a:ext>
          </a:extLst>
        </p:cNvPr>
        <p:cNvGrpSpPr/>
        <p:nvPr/>
      </p:nvGrpSpPr>
      <p:grpSpPr>
        <a:xfrm>
          <a:off x="0" y="0"/>
          <a:ext cx="0" cy="0"/>
          <a:chOff x="0" y="0"/>
          <a:chExt cx="0" cy="0"/>
        </a:xfrm>
      </p:grpSpPr>
      <p:pic>
        <p:nvPicPr>
          <p:cNvPr id="2" name="object 2">
            <a:extLst>
              <a:ext uri="{FF2B5EF4-FFF2-40B4-BE49-F238E27FC236}">
                <a16:creationId xmlns:a16="http://schemas.microsoft.com/office/drawing/2014/main" id="{231A858C-F197-086D-3A27-9C9D1B3F6782}"/>
              </a:ext>
            </a:extLst>
          </p:cNvPr>
          <p:cNvPicPr/>
          <p:nvPr/>
        </p:nvPicPr>
        <p:blipFill>
          <a:blip r:embed="rId2" cstate="print">
            <a:duotone>
              <a:prstClr val="black"/>
              <a:srgbClr val="D9C3A5">
                <a:tint val="50000"/>
                <a:satMod val="180000"/>
              </a:srgbClr>
            </a:duotone>
          </a:blip>
          <a:stretch>
            <a:fillRect/>
          </a:stretch>
        </p:blipFill>
        <p:spPr>
          <a:xfrm>
            <a:off x="2094623" y="2972157"/>
            <a:ext cx="5248117" cy="3451764"/>
          </a:xfrm>
          <a:prstGeom prst="rect">
            <a:avLst/>
          </a:prstGeom>
        </p:spPr>
      </p:pic>
      <p:sp>
        <p:nvSpPr>
          <p:cNvPr id="26" name="object 3">
            <a:extLst>
              <a:ext uri="{FF2B5EF4-FFF2-40B4-BE49-F238E27FC236}">
                <a16:creationId xmlns:a16="http://schemas.microsoft.com/office/drawing/2014/main" id="{1DE578F6-388E-1C82-E3EB-65FAB6330A77}"/>
              </a:ext>
            </a:extLst>
          </p:cNvPr>
          <p:cNvSpPr txBox="1">
            <a:spLocks/>
          </p:cNvSpPr>
          <p:nvPr/>
        </p:nvSpPr>
        <p:spPr>
          <a:xfrm>
            <a:off x="1973614" y="465239"/>
            <a:ext cx="11292772" cy="703744"/>
          </a:xfrm>
          <a:prstGeom prst="rect">
            <a:avLst/>
          </a:prstGeom>
        </p:spPr>
        <p:txBody>
          <a:bodyPr vert="horz" wrap="square" lIns="0" tIns="209258" rIns="0" bIns="0" rtlCol="0">
            <a:sp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31115">
              <a:spcBef>
                <a:spcPts val="100"/>
              </a:spcBef>
            </a:pPr>
            <a:r>
              <a:rPr lang="ar-SA" sz="3200" b="1" dirty="0">
                <a:solidFill>
                  <a:srgbClr val="A36C3F"/>
                </a:solidFill>
                <a:latin typeface="Avenir Next Arabic Demi" panose="020B0703020202020204" pitchFamily="34" charset="-78"/>
                <a:cs typeface="Avenir Next Arabic Demi" panose="020B0703020202020204" pitchFamily="34" charset="-78"/>
              </a:rPr>
              <a:t>الإصدارات</a:t>
            </a:r>
          </a:p>
        </p:txBody>
      </p:sp>
      <p:sp>
        <p:nvSpPr>
          <p:cNvPr id="27" name="object 4">
            <a:extLst>
              <a:ext uri="{FF2B5EF4-FFF2-40B4-BE49-F238E27FC236}">
                <a16:creationId xmlns:a16="http://schemas.microsoft.com/office/drawing/2014/main" id="{C84149A4-A56D-2D10-1563-810F2D751F92}"/>
              </a:ext>
            </a:extLst>
          </p:cNvPr>
          <p:cNvSpPr txBox="1"/>
          <p:nvPr/>
        </p:nvSpPr>
        <p:spPr>
          <a:xfrm>
            <a:off x="1961489" y="1489277"/>
            <a:ext cx="7383780" cy="811761"/>
          </a:xfrm>
          <a:prstGeom prst="rect">
            <a:avLst/>
          </a:prstGeom>
        </p:spPr>
        <p:txBody>
          <a:bodyPr vert="horz" wrap="square" lIns="0" tIns="128270" rIns="0" bIns="0" rtlCol="0">
            <a:spAutoFit/>
          </a:bodyPr>
          <a:lstStyle/>
          <a:p>
            <a:pPr marL="12700">
              <a:spcBef>
                <a:spcPts val="1010"/>
              </a:spcBef>
            </a:pPr>
            <a:r>
              <a:rPr lang="ar-SA" b="1" kern="0" dirty="0">
                <a:solidFill>
                  <a:srgbClr val="A78B5E"/>
                </a:solidFill>
                <a:latin typeface="Century Gothic"/>
                <a:cs typeface="Century Gothic"/>
              </a:rPr>
              <a:t>الدراسات البحثية</a:t>
            </a:r>
          </a:p>
          <a:p>
            <a:pPr marL="12700">
              <a:spcBef>
                <a:spcPts val="1010"/>
              </a:spcBef>
            </a:pPr>
            <a:r>
              <a:rPr lang="ar-SA" kern="0" dirty="0">
                <a:solidFill>
                  <a:srgbClr val="A78B5E"/>
                </a:solidFill>
                <a:latin typeface="Century Gothic"/>
                <a:cs typeface="Century Gothic"/>
              </a:rPr>
              <a:t>دراسات بحثية أولية وثانوية تكشف عن التوجهات والممارسات في مجالي الاستراتيجية وإدارة الأداء.</a:t>
            </a:r>
          </a:p>
        </p:txBody>
      </p:sp>
      <p:pic>
        <p:nvPicPr>
          <p:cNvPr id="28" name="object 7">
            <a:extLst>
              <a:ext uri="{FF2B5EF4-FFF2-40B4-BE49-F238E27FC236}">
                <a16:creationId xmlns:a16="http://schemas.microsoft.com/office/drawing/2014/main" id="{29F7B9D3-7C40-8B40-07A3-4A95345DB040}"/>
              </a:ext>
            </a:extLst>
          </p:cNvPr>
          <p:cNvPicPr/>
          <p:nvPr/>
        </p:nvPicPr>
        <p:blipFill>
          <a:blip r:embed="rId3" cstate="print">
            <a:duotone>
              <a:prstClr val="black"/>
              <a:schemeClr val="accent6">
                <a:tint val="45000"/>
                <a:satMod val="400000"/>
              </a:schemeClr>
            </a:duotone>
          </a:blip>
          <a:stretch>
            <a:fillRect/>
          </a:stretch>
        </p:blipFill>
        <p:spPr>
          <a:xfrm>
            <a:off x="7170420" y="2534411"/>
            <a:ext cx="2493264" cy="3514344"/>
          </a:xfrm>
          <a:prstGeom prst="rect">
            <a:avLst/>
          </a:prstGeom>
        </p:spPr>
      </p:pic>
    </p:spTree>
    <p:extLst>
      <p:ext uri="{BB962C8B-B14F-4D97-AF65-F5344CB8AC3E}">
        <p14:creationId xmlns:p14="http://schemas.microsoft.com/office/powerpoint/2010/main" val="1005248434"/>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039656-A9DC-BA1D-CCF0-89E222C41793}"/>
            </a:ext>
          </a:extLst>
        </p:cNvPr>
        <p:cNvGrpSpPr/>
        <p:nvPr/>
      </p:nvGrpSpPr>
      <p:grpSpPr>
        <a:xfrm>
          <a:off x="0" y="0"/>
          <a:ext cx="0" cy="0"/>
          <a:chOff x="0" y="0"/>
          <a:chExt cx="0" cy="0"/>
        </a:xfrm>
      </p:grpSpPr>
      <p:pic>
        <p:nvPicPr>
          <p:cNvPr id="43" name="object 5">
            <a:extLst>
              <a:ext uri="{FF2B5EF4-FFF2-40B4-BE49-F238E27FC236}">
                <a16:creationId xmlns:a16="http://schemas.microsoft.com/office/drawing/2014/main" id="{74DC643C-5EFF-4134-B069-6479481596E9}"/>
              </a:ext>
            </a:extLst>
          </p:cNvPr>
          <p:cNvPicPr/>
          <p:nvPr/>
        </p:nvPicPr>
        <p:blipFill>
          <a:blip r:embed="rId2" cstate="print"/>
          <a:stretch>
            <a:fillRect/>
          </a:stretch>
        </p:blipFill>
        <p:spPr>
          <a:xfrm>
            <a:off x="1602740" y="0"/>
            <a:ext cx="3665219" cy="6858000"/>
          </a:xfrm>
          <a:prstGeom prst="rect">
            <a:avLst/>
          </a:prstGeom>
        </p:spPr>
      </p:pic>
      <p:grpSp>
        <p:nvGrpSpPr>
          <p:cNvPr id="44" name="object 3">
            <a:extLst>
              <a:ext uri="{FF2B5EF4-FFF2-40B4-BE49-F238E27FC236}">
                <a16:creationId xmlns:a16="http://schemas.microsoft.com/office/drawing/2014/main" id="{4E88A065-E066-79F7-BA2A-E9B1AC1F0432}"/>
              </a:ext>
            </a:extLst>
          </p:cNvPr>
          <p:cNvGrpSpPr/>
          <p:nvPr/>
        </p:nvGrpSpPr>
        <p:grpSpPr>
          <a:xfrm>
            <a:off x="1602740" y="0"/>
            <a:ext cx="3665219" cy="6858000"/>
            <a:chOff x="0" y="0"/>
            <a:chExt cx="3665219" cy="6858000"/>
          </a:xfrm>
        </p:grpSpPr>
        <p:sp>
          <p:nvSpPr>
            <p:cNvPr id="45" name="object 4">
              <a:extLst>
                <a:ext uri="{FF2B5EF4-FFF2-40B4-BE49-F238E27FC236}">
                  <a16:creationId xmlns:a16="http://schemas.microsoft.com/office/drawing/2014/main" id="{484BE877-70BF-FF6D-4CE4-B4D43A0A60E3}"/>
                </a:ext>
              </a:extLst>
            </p:cNvPr>
            <p:cNvSpPr/>
            <p:nvPr/>
          </p:nvSpPr>
          <p:spPr>
            <a:xfrm>
              <a:off x="321563" y="2072639"/>
              <a:ext cx="3086100" cy="0"/>
            </a:xfrm>
            <a:custGeom>
              <a:avLst/>
              <a:gdLst/>
              <a:ahLst/>
              <a:cxnLst/>
              <a:rect l="l" t="t" r="r" b="b"/>
              <a:pathLst>
                <a:path w="3086100">
                  <a:moveTo>
                    <a:pt x="0" y="0"/>
                  </a:moveTo>
                  <a:lnTo>
                    <a:pt x="3086100" y="0"/>
                  </a:lnTo>
                </a:path>
              </a:pathLst>
            </a:custGeom>
            <a:ln w="9525">
              <a:solidFill>
                <a:srgbClr val="FFFFFF"/>
              </a:solidFill>
            </a:ln>
          </p:spPr>
          <p:txBody>
            <a:bodyPr wrap="square" lIns="0" tIns="0" rIns="0" bIns="0" rtlCol="0"/>
            <a:lstStyle/>
            <a:p>
              <a:endParaRPr kern="0">
                <a:solidFill>
                  <a:sysClr val="windowText" lastClr="000000"/>
                </a:solidFill>
              </a:endParaRPr>
            </a:p>
          </p:txBody>
        </p:sp>
        <p:pic>
          <p:nvPicPr>
            <p:cNvPr id="46" name="object 5">
              <a:extLst>
                <a:ext uri="{FF2B5EF4-FFF2-40B4-BE49-F238E27FC236}">
                  <a16:creationId xmlns:a16="http://schemas.microsoft.com/office/drawing/2014/main" id="{77F748CA-D665-1131-71EB-A9DE2DEBCFA5}"/>
                </a:ext>
              </a:extLst>
            </p:cNvPr>
            <p:cNvPicPr/>
            <p:nvPr/>
          </p:nvPicPr>
          <p:blipFill>
            <a:blip r:embed="rId2" cstate="print"/>
            <a:stretch>
              <a:fillRect/>
            </a:stretch>
          </p:blipFill>
          <p:spPr>
            <a:xfrm>
              <a:off x="0" y="0"/>
              <a:ext cx="3665219" cy="6858000"/>
            </a:xfrm>
            <a:prstGeom prst="rect">
              <a:avLst/>
            </a:prstGeom>
          </p:spPr>
        </p:pic>
        <p:sp>
          <p:nvSpPr>
            <p:cNvPr id="47" name="object 6">
              <a:extLst>
                <a:ext uri="{FF2B5EF4-FFF2-40B4-BE49-F238E27FC236}">
                  <a16:creationId xmlns:a16="http://schemas.microsoft.com/office/drawing/2014/main" id="{612B248E-3D3E-6414-53A9-7DB6EAC1F197}"/>
                </a:ext>
              </a:extLst>
            </p:cNvPr>
            <p:cNvSpPr/>
            <p:nvPr/>
          </p:nvSpPr>
          <p:spPr>
            <a:xfrm>
              <a:off x="0" y="0"/>
              <a:ext cx="3589020" cy="6858000"/>
            </a:xfrm>
            <a:custGeom>
              <a:avLst/>
              <a:gdLst/>
              <a:ahLst/>
              <a:cxnLst/>
              <a:rect l="l" t="t" r="r" b="b"/>
              <a:pathLst>
                <a:path w="3589020" h="6858000">
                  <a:moveTo>
                    <a:pt x="0" y="6858000"/>
                  </a:moveTo>
                  <a:lnTo>
                    <a:pt x="3589020" y="6858000"/>
                  </a:lnTo>
                  <a:lnTo>
                    <a:pt x="3589020" y="0"/>
                  </a:lnTo>
                  <a:lnTo>
                    <a:pt x="0" y="0"/>
                  </a:lnTo>
                  <a:lnTo>
                    <a:pt x="0" y="6858000"/>
                  </a:lnTo>
                  <a:close/>
                </a:path>
              </a:pathLst>
            </a:custGeom>
            <a:solidFill>
              <a:srgbClr val="A78B5E">
                <a:alpha val="65489"/>
              </a:srgbClr>
            </a:solidFill>
          </p:spPr>
          <p:txBody>
            <a:bodyPr wrap="square" lIns="0" tIns="0" rIns="0" bIns="0" rtlCol="0"/>
            <a:lstStyle/>
            <a:p>
              <a:endParaRPr kern="0">
                <a:solidFill>
                  <a:sysClr val="windowText" lastClr="000000"/>
                </a:solidFill>
              </a:endParaRPr>
            </a:p>
          </p:txBody>
        </p:sp>
        <p:sp>
          <p:nvSpPr>
            <p:cNvPr id="48" name="object 7">
              <a:extLst>
                <a:ext uri="{FF2B5EF4-FFF2-40B4-BE49-F238E27FC236}">
                  <a16:creationId xmlns:a16="http://schemas.microsoft.com/office/drawing/2014/main" id="{1786C705-91A8-6EE5-0B2E-9863DEE5ABAB}"/>
                </a:ext>
              </a:extLst>
            </p:cNvPr>
            <p:cNvSpPr/>
            <p:nvPr/>
          </p:nvSpPr>
          <p:spPr>
            <a:xfrm>
              <a:off x="321563" y="2081783"/>
              <a:ext cx="3086100" cy="0"/>
            </a:xfrm>
            <a:custGeom>
              <a:avLst/>
              <a:gdLst/>
              <a:ahLst/>
              <a:cxnLst/>
              <a:rect l="l" t="t" r="r" b="b"/>
              <a:pathLst>
                <a:path w="3086100">
                  <a:moveTo>
                    <a:pt x="0" y="0"/>
                  </a:moveTo>
                  <a:lnTo>
                    <a:pt x="3086100" y="0"/>
                  </a:lnTo>
                </a:path>
              </a:pathLst>
            </a:custGeom>
            <a:ln w="9525">
              <a:solidFill>
                <a:srgbClr val="FFFFFF"/>
              </a:solidFill>
            </a:ln>
          </p:spPr>
          <p:txBody>
            <a:bodyPr wrap="square" lIns="0" tIns="0" rIns="0" bIns="0" rtlCol="0"/>
            <a:lstStyle/>
            <a:p>
              <a:endParaRPr kern="0">
                <a:solidFill>
                  <a:sysClr val="windowText" lastClr="000000"/>
                </a:solidFill>
              </a:endParaRPr>
            </a:p>
          </p:txBody>
        </p:sp>
      </p:grpSp>
      <p:sp>
        <p:nvSpPr>
          <p:cNvPr id="50" name="object 9">
            <a:extLst>
              <a:ext uri="{FF2B5EF4-FFF2-40B4-BE49-F238E27FC236}">
                <a16:creationId xmlns:a16="http://schemas.microsoft.com/office/drawing/2014/main" id="{C3B266D2-FB8C-2A96-6DF0-FD4793DCCCEE}"/>
              </a:ext>
            </a:extLst>
          </p:cNvPr>
          <p:cNvSpPr txBox="1">
            <a:spLocks/>
          </p:cNvSpPr>
          <p:nvPr/>
        </p:nvSpPr>
        <p:spPr>
          <a:xfrm>
            <a:off x="2531237" y="1351018"/>
            <a:ext cx="2186534" cy="443070"/>
          </a:xfrm>
          <a:prstGeom prst="rect">
            <a:avLst/>
          </a:prstGeom>
        </p:spPr>
        <p:txBody>
          <a:bodyPr vert="horz" wrap="square" lIns="0" tIns="12065" rIns="0" bIns="0" rtlCol="0">
            <a:sp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12700" algn="l" rtl="1">
              <a:spcBef>
                <a:spcPts val="95"/>
              </a:spcBef>
            </a:pPr>
            <a:r>
              <a:rPr lang="ar-SA" sz="2800">
                <a:solidFill>
                  <a:srgbClr val="FFFFFF"/>
                </a:solidFill>
              </a:rPr>
              <a:t>الوحدة الأولى</a:t>
            </a:r>
            <a:endParaRPr lang="ar-SA" sz="2800" dirty="0">
              <a:solidFill>
                <a:srgbClr val="FFFFFF"/>
              </a:solidFill>
            </a:endParaRPr>
          </a:p>
        </p:txBody>
      </p:sp>
      <p:sp>
        <p:nvSpPr>
          <p:cNvPr id="51" name="object 10">
            <a:extLst>
              <a:ext uri="{FF2B5EF4-FFF2-40B4-BE49-F238E27FC236}">
                <a16:creationId xmlns:a16="http://schemas.microsoft.com/office/drawing/2014/main" id="{E549C2DB-AA78-0842-7D54-58F572E2314D}"/>
              </a:ext>
            </a:extLst>
          </p:cNvPr>
          <p:cNvSpPr txBox="1"/>
          <p:nvPr/>
        </p:nvSpPr>
        <p:spPr>
          <a:xfrm>
            <a:off x="1454426" y="2251792"/>
            <a:ext cx="3475383" cy="406971"/>
          </a:xfrm>
          <a:prstGeom prst="rect">
            <a:avLst/>
          </a:prstGeom>
        </p:spPr>
        <p:txBody>
          <a:bodyPr vert="horz" wrap="square" lIns="0" tIns="60960" rIns="0" bIns="0" rtlCol="0">
            <a:spAutoFit/>
          </a:bodyPr>
          <a:lstStyle/>
          <a:p>
            <a:pPr marL="12700" marR="5080" algn="r">
              <a:lnSpc>
                <a:spcPts val="3020"/>
              </a:lnSpc>
              <a:spcBef>
                <a:spcPts val="480"/>
              </a:spcBef>
            </a:pPr>
            <a:r>
              <a:rPr lang="ar-SA" sz="2000" b="1" kern="0" dirty="0">
                <a:solidFill>
                  <a:srgbClr val="FFFFFF"/>
                </a:solidFill>
                <a:latin typeface="Century Gothic"/>
                <a:cs typeface="Century Gothic"/>
              </a:rPr>
              <a:t>عالم مؤشرات الأداء الرئيسية (</a:t>
            </a:r>
            <a:r>
              <a:rPr lang="en-US" sz="2000" b="1" kern="0" dirty="0">
                <a:solidFill>
                  <a:srgbClr val="FFFFFF"/>
                </a:solidFill>
                <a:latin typeface="Century Gothic"/>
                <a:cs typeface="Century Gothic"/>
              </a:rPr>
              <a:t>(KPIs</a:t>
            </a:r>
          </a:p>
        </p:txBody>
      </p:sp>
      <p:sp>
        <p:nvSpPr>
          <p:cNvPr id="54" name="object 11">
            <a:extLst>
              <a:ext uri="{FF2B5EF4-FFF2-40B4-BE49-F238E27FC236}">
                <a16:creationId xmlns:a16="http://schemas.microsoft.com/office/drawing/2014/main" id="{CFC6756C-38C9-F345-1913-ECF1058706C9}"/>
              </a:ext>
            </a:extLst>
          </p:cNvPr>
          <p:cNvSpPr/>
          <p:nvPr/>
        </p:nvSpPr>
        <p:spPr>
          <a:xfrm>
            <a:off x="10777408" y="2314305"/>
            <a:ext cx="300355" cy="300355"/>
          </a:xfrm>
          <a:custGeom>
            <a:avLst/>
            <a:gdLst/>
            <a:ahLst/>
            <a:cxnLst/>
            <a:rect l="l" t="t" r="r" b="b"/>
            <a:pathLst>
              <a:path w="300354" h="300355">
                <a:moveTo>
                  <a:pt x="0" y="150113"/>
                </a:moveTo>
                <a:lnTo>
                  <a:pt x="7650" y="102656"/>
                </a:lnTo>
                <a:lnTo>
                  <a:pt x="28955" y="61447"/>
                </a:lnTo>
                <a:lnTo>
                  <a:pt x="61447" y="28955"/>
                </a:lnTo>
                <a:lnTo>
                  <a:pt x="102656" y="7650"/>
                </a:lnTo>
                <a:lnTo>
                  <a:pt x="150113" y="0"/>
                </a:lnTo>
                <a:lnTo>
                  <a:pt x="197571" y="7650"/>
                </a:lnTo>
                <a:lnTo>
                  <a:pt x="238780" y="28955"/>
                </a:lnTo>
                <a:lnTo>
                  <a:pt x="271272" y="61447"/>
                </a:lnTo>
                <a:lnTo>
                  <a:pt x="292577" y="102656"/>
                </a:lnTo>
                <a:lnTo>
                  <a:pt x="300227" y="150113"/>
                </a:lnTo>
                <a:lnTo>
                  <a:pt x="292577" y="197571"/>
                </a:lnTo>
                <a:lnTo>
                  <a:pt x="271272" y="238780"/>
                </a:lnTo>
                <a:lnTo>
                  <a:pt x="238780" y="271272"/>
                </a:lnTo>
                <a:lnTo>
                  <a:pt x="197571" y="292577"/>
                </a:lnTo>
                <a:lnTo>
                  <a:pt x="150113" y="300227"/>
                </a:lnTo>
                <a:lnTo>
                  <a:pt x="102656" y="292577"/>
                </a:lnTo>
                <a:lnTo>
                  <a:pt x="61447" y="271272"/>
                </a:lnTo>
                <a:lnTo>
                  <a:pt x="28955" y="238780"/>
                </a:lnTo>
                <a:lnTo>
                  <a:pt x="7650" y="197571"/>
                </a:lnTo>
                <a:lnTo>
                  <a:pt x="0" y="150113"/>
                </a:lnTo>
                <a:close/>
              </a:path>
            </a:pathLst>
          </a:custGeom>
          <a:ln w="12700">
            <a:solidFill>
              <a:srgbClr val="A78B5E"/>
            </a:solidFill>
          </a:ln>
        </p:spPr>
        <p:txBody>
          <a:bodyPr wrap="square" lIns="0" tIns="0" rIns="0" bIns="0" rtlCol="0"/>
          <a:lstStyle/>
          <a:p>
            <a:endParaRPr kern="0" dirty="0">
              <a:solidFill>
                <a:sysClr val="windowText" lastClr="000000"/>
              </a:solidFill>
            </a:endParaRPr>
          </a:p>
        </p:txBody>
      </p:sp>
      <p:sp>
        <p:nvSpPr>
          <p:cNvPr id="55" name="object 12">
            <a:extLst>
              <a:ext uri="{FF2B5EF4-FFF2-40B4-BE49-F238E27FC236}">
                <a16:creationId xmlns:a16="http://schemas.microsoft.com/office/drawing/2014/main" id="{C4AC9EB2-8DA5-0D20-FBFD-F38221E7DCA2}"/>
              </a:ext>
            </a:extLst>
          </p:cNvPr>
          <p:cNvSpPr txBox="1"/>
          <p:nvPr/>
        </p:nvSpPr>
        <p:spPr>
          <a:xfrm>
            <a:off x="10863514" y="2332737"/>
            <a:ext cx="128905" cy="228909"/>
          </a:xfrm>
          <a:prstGeom prst="rect">
            <a:avLst/>
          </a:prstGeom>
        </p:spPr>
        <p:txBody>
          <a:bodyPr vert="horz" wrap="square" lIns="0" tIns="13335" rIns="0" bIns="0" rtlCol="0">
            <a:spAutoFit/>
          </a:bodyPr>
          <a:lstStyle/>
          <a:p>
            <a:pPr marL="12700">
              <a:spcBef>
                <a:spcPts val="105"/>
              </a:spcBef>
            </a:pPr>
            <a:r>
              <a:rPr sz="1400" kern="0" spc="-50" dirty="0">
                <a:solidFill>
                  <a:srgbClr val="A78B5E"/>
                </a:solidFill>
                <a:latin typeface="Tahoma"/>
                <a:cs typeface="Tahoma"/>
              </a:rPr>
              <a:t>1</a:t>
            </a:r>
            <a:endParaRPr sz="1400" kern="0" dirty="0">
              <a:solidFill>
                <a:srgbClr val="A78B5E"/>
              </a:solidFill>
              <a:latin typeface="Tahoma"/>
              <a:cs typeface="Tahoma"/>
            </a:endParaRPr>
          </a:p>
        </p:txBody>
      </p:sp>
      <p:sp>
        <p:nvSpPr>
          <p:cNvPr id="56" name="object 13">
            <a:extLst>
              <a:ext uri="{FF2B5EF4-FFF2-40B4-BE49-F238E27FC236}">
                <a16:creationId xmlns:a16="http://schemas.microsoft.com/office/drawing/2014/main" id="{027BD338-8D07-A262-CC3D-1DEECFA71720}"/>
              </a:ext>
            </a:extLst>
          </p:cNvPr>
          <p:cNvSpPr/>
          <p:nvPr/>
        </p:nvSpPr>
        <p:spPr>
          <a:xfrm>
            <a:off x="10777408" y="2856849"/>
            <a:ext cx="300355" cy="300355"/>
          </a:xfrm>
          <a:custGeom>
            <a:avLst/>
            <a:gdLst/>
            <a:ahLst/>
            <a:cxnLst/>
            <a:rect l="l" t="t" r="r" b="b"/>
            <a:pathLst>
              <a:path w="300354" h="300355">
                <a:moveTo>
                  <a:pt x="0" y="150114"/>
                </a:moveTo>
                <a:lnTo>
                  <a:pt x="7650" y="102656"/>
                </a:lnTo>
                <a:lnTo>
                  <a:pt x="28955" y="61447"/>
                </a:lnTo>
                <a:lnTo>
                  <a:pt x="61447" y="28956"/>
                </a:lnTo>
                <a:lnTo>
                  <a:pt x="102656" y="7650"/>
                </a:lnTo>
                <a:lnTo>
                  <a:pt x="150113" y="0"/>
                </a:lnTo>
                <a:lnTo>
                  <a:pt x="197571" y="7650"/>
                </a:lnTo>
                <a:lnTo>
                  <a:pt x="238780" y="28955"/>
                </a:lnTo>
                <a:lnTo>
                  <a:pt x="271272" y="61447"/>
                </a:lnTo>
                <a:lnTo>
                  <a:pt x="292577" y="102656"/>
                </a:lnTo>
                <a:lnTo>
                  <a:pt x="300227" y="150114"/>
                </a:lnTo>
                <a:lnTo>
                  <a:pt x="292577" y="197571"/>
                </a:lnTo>
                <a:lnTo>
                  <a:pt x="271272" y="238780"/>
                </a:lnTo>
                <a:lnTo>
                  <a:pt x="238780" y="271272"/>
                </a:lnTo>
                <a:lnTo>
                  <a:pt x="197571" y="292577"/>
                </a:lnTo>
                <a:lnTo>
                  <a:pt x="150113" y="300228"/>
                </a:lnTo>
                <a:lnTo>
                  <a:pt x="102656" y="292577"/>
                </a:lnTo>
                <a:lnTo>
                  <a:pt x="61447" y="271272"/>
                </a:lnTo>
                <a:lnTo>
                  <a:pt x="28955" y="238780"/>
                </a:lnTo>
                <a:lnTo>
                  <a:pt x="7650" y="197571"/>
                </a:lnTo>
                <a:lnTo>
                  <a:pt x="0" y="150114"/>
                </a:lnTo>
                <a:close/>
              </a:path>
            </a:pathLst>
          </a:custGeom>
          <a:ln w="12700">
            <a:solidFill>
              <a:srgbClr val="A78B5E"/>
            </a:solidFill>
          </a:ln>
        </p:spPr>
        <p:txBody>
          <a:bodyPr wrap="square" lIns="0" tIns="0" rIns="0" bIns="0" rtlCol="0"/>
          <a:lstStyle/>
          <a:p>
            <a:endParaRPr kern="0">
              <a:solidFill>
                <a:sysClr val="windowText" lastClr="000000"/>
              </a:solidFill>
            </a:endParaRPr>
          </a:p>
        </p:txBody>
      </p:sp>
      <p:sp>
        <p:nvSpPr>
          <p:cNvPr id="57" name="object 14">
            <a:extLst>
              <a:ext uri="{FF2B5EF4-FFF2-40B4-BE49-F238E27FC236}">
                <a16:creationId xmlns:a16="http://schemas.microsoft.com/office/drawing/2014/main" id="{6858856D-DF79-0E5F-1583-4A9913D491FE}"/>
              </a:ext>
            </a:extLst>
          </p:cNvPr>
          <p:cNvSpPr txBox="1"/>
          <p:nvPr/>
        </p:nvSpPr>
        <p:spPr>
          <a:xfrm>
            <a:off x="10863514" y="2876246"/>
            <a:ext cx="129539" cy="228909"/>
          </a:xfrm>
          <a:prstGeom prst="rect">
            <a:avLst/>
          </a:prstGeom>
        </p:spPr>
        <p:txBody>
          <a:bodyPr vert="horz" wrap="square" lIns="0" tIns="13335" rIns="0" bIns="0" rtlCol="0">
            <a:spAutoFit/>
          </a:bodyPr>
          <a:lstStyle/>
          <a:p>
            <a:pPr marL="12700">
              <a:spcBef>
                <a:spcPts val="105"/>
              </a:spcBef>
            </a:pPr>
            <a:r>
              <a:rPr sz="1400" kern="0" spc="-50" dirty="0">
                <a:solidFill>
                  <a:srgbClr val="A78B5E"/>
                </a:solidFill>
                <a:latin typeface="Tahoma"/>
                <a:cs typeface="Tahoma"/>
              </a:rPr>
              <a:t>2</a:t>
            </a:r>
            <a:endParaRPr sz="1400" kern="0" dirty="0">
              <a:solidFill>
                <a:srgbClr val="A78B5E"/>
              </a:solidFill>
              <a:latin typeface="Tahoma"/>
              <a:cs typeface="Tahoma"/>
            </a:endParaRPr>
          </a:p>
        </p:txBody>
      </p:sp>
      <p:sp>
        <p:nvSpPr>
          <p:cNvPr id="58" name="object 15">
            <a:extLst>
              <a:ext uri="{FF2B5EF4-FFF2-40B4-BE49-F238E27FC236}">
                <a16:creationId xmlns:a16="http://schemas.microsoft.com/office/drawing/2014/main" id="{03B55C6D-671F-313D-AA73-85AA69D8F6AB}"/>
              </a:ext>
            </a:extLst>
          </p:cNvPr>
          <p:cNvSpPr/>
          <p:nvPr/>
        </p:nvSpPr>
        <p:spPr>
          <a:xfrm>
            <a:off x="10777408" y="3405490"/>
            <a:ext cx="300355" cy="300355"/>
          </a:xfrm>
          <a:custGeom>
            <a:avLst/>
            <a:gdLst/>
            <a:ahLst/>
            <a:cxnLst/>
            <a:rect l="l" t="t" r="r" b="b"/>
            <a:pathLst>
              <a:path w="300354" h="300354">
                <a:moveTo>
                  <a:pt x="0" y="150113"/>
                </a:moveTo>
                <a:lnTo>
                  <a:pt x="7650" y="102656"/>
                </a:lnTo>
                <a:lnTo>
                  <a:pt x="28955" y="61447"/>
                </a:lnTo>
                <a:lnTo>
                  <a:pt x="61447" y="28955"/>
                </a:lnTo>
                <a:lnTo>
                  <a:pt x="102656" y="7650"/>
                </a:lnTo>
                <a:lnTo>
                  <a:pt x="150113" y="0"/>
                </a:lnTo>
                <a:lnTo>
                  <a:pt x="197571" y="7650"/>
                </a:lnTo>
                <a:lnTo>
                  <a:pt x="238780" y="28955"/>
                </a:lnTo>
                <a:lnTo>
                  <a:pt x="271272" y="61447"/>
                </a:lnTo>
                <a:lnTo>
                  <a:pt x="292577" y="102656"/>
                </a:lnTo>
                <a:lnTo>
                  <a:pt x="300227" y="150113"/>
                </a:lnTo>
                <a:lnTo>
                  <a:pt x="292577" y="197571"/>
                </a:lnTo>
                <a:lnTo>
                  <a:pt x="271272" y="238780"/>
                </a:lnTo>
                <a:lnTo>
                  <a:pt x="238780" y="271272"/>
                </a:lnTo>
                <a:lnTo>
                  <a:pt x="197571" y="292577"/>
                </a:lnTo>
                <a:lnTo>
                  <a:pt x="150113" y="300227"/>
                </a:lnTo>
                <a:lnTo>
                  <a:pt x="102656" y="292577"/>
                </a:lnTo>
                <a:lnTo>
                  <a:pt x="61447" y="271272"/>
                </a:lnTo>
                <a:lnTo>
                  <a:pt x="28955" y="238780"/>
                </a:lnTo>
                <a:lnTo>
                  <a:pt x="7650" y="197571"/>
                </a:lnTo>
                <a:lnTo>
                  <a:pt x="0" y="150113"/>
                </a:lnTo>
                <a:close/>
              </a:path>
            </a:pathLst>
          </a:custGeom>
          <a:ln w="12700">
            <a:solidFill>
              <a:srgbClr val="A78B5E"/>
            </a:solidFill>
          </a:ln>
        </p:spPr>
        <p:txBody>
          <a:bodyPr wrap="square" lIns="0" tIns="0" rIns="0" bIns="0" rtlCol="0"/>
          <a:lstStyle/>
          <a:p>
            <a:endParaRPr kern="0">
              <a:solidFill>
                <a:sysClr val="windowText" lastClr="000000"/>
              </a:solidFill>
            </a:endParaRPr>
          </a:p>
        </p:txBody>
      </p:sp>
      <p:sp>
        <p:nvSpPr>
          <p:cNvPr id="59" name="object 16">
            <a:extLst>
              <a:ext uri="{FF2B5EF4-FFF2-40B4-BE49-F238E27FC236}">
                <a16:creationId xmlns:a16="http://schemas.microsoft.com/office/drawing/2014/main" id="{00A465F5-1E33-A63B-9D9E-D9B0B4F51C92}"/>
              </a:ext>
            </a:extLst>
          </p:cNvPr>
          <p:cNvSpPr txBox="1"/>
          <p:nvPr/>
        </p:nvSpPr>
        <p:spPr>
          <a:xfrm>
            <a:off x="10863514" y="3433938"/>
            <a:ext cx="128905" cy="228909"/>
          </a:xfrm>
          <a:prstGeom prst="rect">
            <a:avLst/>
          </a:prstGeom>
        </p:spPr>
        <p:txBody>
          <a:bodyPr vert="horz" wrap="square" lIns="0" tIns="13335" rIns="0" bIns="0" rtlCol="0">
            <a:spAutoFit/>
          </a:bodyPr>
          <a:lstStyle/>
          <a:p>
            <a:pPr marL="12700">
              <a:spcBef>
                <a:spcPts val="105"/>
              </a:spcBef>
            </a:pPr>
            <a:r>
              <a:rPr sz="1400" kern="0" spc="-50" dirty="0">
                <a:solidFill>
                  <a:srgbClr val="A78B5E"/>
                </a:solidFill>
                <a:latin typeface="Tahoma"/>
                <a:cs typeface="Tahoma"/>
              </a:rPr>
              <a:t>3</a:t>
            </a:r>
            <a:endParaRPr sz="1400" kern="0" dirty="0">
              <a:solidFill>
                <a:srgbClr val="A78B5E"/>
              </a:solidFill>
              <a:latin typeface="Tahoma"/>
              <a:cs typeface="Tahoma"/>
            </a:endParaRPr>
          </a:p>
        </p:txBody>
      </p:sp>
      <p:sp>
        <p:nvSpPr>
          <p:cNvPr id="60" name="object 17">
            <a:extLst>
              <a:ext uri="{FF2B5EF4-FFF2-40B4-BE49-F238E27FC236}">
                <a16:creationId xmlns:a16="http://schemas.microsoft.com/office/drawing/2014/main" id="{132B7E39-A012-0B17-D95A-D24624515D1F}"/>
              </a:ext>
            </a:extLst>
          </p:cNvPr>
          <p:cNvSpPr/>
          <p:nvPr/>
        </p:nvSpPr>
        <p:spPr>
          <a:xfrm>
            <a:off x="10777408" y="3989833"/>
            <a:ext cx="300355" cy="300355"/>
          </a:xfrm>
          <a:custGeom>
            <a:avLst/>
            <a:gdLst/>
            <a:ahLst/>
            <a:cxnLst/>
            <a:rect l="l" t="t" r="r" b="b"/>
            <a:pathLst>
              <a:path w="300354" h="300354">
                <a:moveTo>
                  <a:pt x="0" y="150114"/>
                </a:moveTo>
                <a:lnTo>
                  <a:pt x="7650" y="102656"/>
                </a:lnTo>
                <a:lnTo>
                  <a:pt x="28955" y="61447"/>
                </a:lnTo>
                <a:lnTo>
                  <a:pt x="61447" y="28956"/>
                </a:lnTo>
                <a:lnTo>
                  <a:pt x="102656" y="7650"/>
                </a:lnTo>
                <a:lnTo>
                  <a:pt x="150113" y="0"/>
                </a:lnTo>
                <a:lnTo>
                  <a:pt x="197571" y="7650"/>
                </a:lnTo>
                <a:lnTo>
                  <a:pt x="238780" y="28956"/>
                </a:lnTo>
                <a:lnTo>
                  <a:pt x="271272" y="61447"/>
                </a:lnTo>
                <a:lnTo>
                  <a:pt x="292577" y="102656"/>
                </a:lnTo>
                <a:lnTo>
                  <a:pt x="300227" y="150114"/>
                </a:lnTo>
                <a:lnTo>
                  <a:pt x="292577" y="197571"/>
                </a:lnTo>
                <a:lnTo>
                  <a:pt x="271272" y="238780"/>
                </a:lnTo>
                <a:lnTo>
                  <a:pt x="238780" y="271272"/>
                </a:lnTo>
                <a:lnTo>
                  <a:pt x="197571" y="292577"/>
                </a:lnTo>
                <a:lnTo>
                  <a:pt x="150113" y="300228"/>
                </a:lnTo>
                <a:lnTo>
                  <a:pt x="102656" y="292577"/>
                </a:lnTo>
                <a:lnTo>
                  <a:pt x="61447" y="271272"/>
                </a:lnTo>
                <a:lnTo>
                  <a:pt x="28955" y="238780"/>
                </a:lnTo>
                <a:lnTo>
                  <a:pt x="7650" y="197571"/>
                </a:lnTo>
                <a:lnTo>
                  <a:pt x="0" y="150114"/>
                </a:lnTo>
                <a:close/>
              </a:path>
            </a:pathLst>
          </a:custGeom>
          <a:ln w="12700">
            <a:solidFill>
              <a:srgbClr val="A78B5E"/>
            </a:solidFill>
          </a:ln>
        </p:spPr>
        <p:txBody>
          <a:bodyPr wrap="square" lIns="0" tIns="0" rIns="0" bIns="0" rtlCol="0"/>
          <a:lstStyle/>
          <a:p>
            <a:endParaRPr kern="0">
              <a:solidFill>
                <a:sysClr val="windowText" lastClr="000000"/>
              </a:solidFill>
            </a:endParaRPr>
          </a:p>
        </p:txBody>
      </p:sp>
      <p:sp>
        <p:nvSpPr>
          <p:cNvPr id="61" name="object 18">
            <a:extLst>
              <a:ext uri="{FF2B5EF4-FFF2-40B4-BE49-F238E27FC236}">
                <a16:creationId xmlns:a16="http://schemas.microsoft.com/office/drawing/2014/main" id="{2B4C90D6-7980-8877-8344-5DDC6139980D}"/>
              </a:ext>
            </a:extLst>
          </p:cNvPr>
          <p:cNvSpPr txBox="1"/>
          <p:nvPr/>
        </p:nvSpPr>
        <p:spPr>
          <a:xfrm>
            <a:off x="10863514" y="4017009"/>
            <a:ext cx="128905" cy="228268"/>
          </a:xfrm>
          <a:prstGeom prst="rect">
            <a:avLst/>
          </a:prstGeom>
        </p:spPr>
        <p:txBody>
          <a:bodyPr vert="horz" wrap="square" lIns="0" tIns="12700" rIns="0" bIns="0" rtlCol="0">
            <a:spAutoFit/>
          </a:bodyPr>
          <a:lstStyle/>
          <a:p>
            <a:pPr marL="12700">
              <a:spcBef>
                <a:spcPts val="100"/>
              </a:spcBef>
            </a:pPr>
            <a:r>
              <a:rPr sz="1400" kern="0" spc="-50" dirty="0">
                <a:solidFill>
                  <a:srgbClr val="A78B5E"/>
                </a:solidFill>
                <a:latin typeface="Tahoma"/>
                <a:cs typeface="Tahoma"/>
              </a:rPr>
              <a:t>4</a:t>
            </a:r>
            <a:endParaRPr sz="1400" kern="0">
              <a:solidFill>
                <a:srgbClr val="A78B5E"/>
              </a:solidFill>
              <a:latin typeface="Tahoma"/>
              <a:cs typeface="Tahoma"/>
            </a:endParaRPr>
          </a:p>
        </p:txBody>
      </p:sp>
      <p:sp>
        <p:nvSpPr>
          <p:cNvPr id="62" name="object 19">
            <a:extLst>
              <a:ext uri="{FF2B5EF4-FFF2-40B4-BE49-F238E27FC236}">
                <a16:creationId xmlns:a16="http://schemas.microsoft.com/office/drawing/2014/main" id="{AF0EE97D-9AF9-B935-3516-DAAB03818A7E}"/>
              </a:ext>
            </a:extLst>
          </p:cNvPr>
          <p:cNvSpPr/>
          <p:nvPr/>
        </p:nvSpPr>
        <p:spPr>
          <a:xfrm>
            <a:off x="10777408" y="4532377"/>
            <a:ext cx="300355" cy="300355"/>
          </a:xfrm>
          <a:custGeom>
            <a:avLst/>
            <a:gdLst/>
            <a:ahLst/>
            <a:cxnLst/>
            <a:rect l="l" t="t" r="r" b="b"/>
            <a:pathLst>
              <a:path w="300354" h="300354">
                <a:moveTo>
                  <a:pt x="0" y="150113"/>
                </a:moveTo>
                <a:lnTo>
                  <a:pt x="7650" y="102656"/>
                </a:lnTo>
                <a:lnTo>
                  <a:pt x="28955" y="61447"/>
                </a:lnTo>
                <a:lnTo>
                  <a:pt x="61447" y="28956"/>
                </a:lnTo>
                <a:lnTo>
                  <a:pt x="102656" y="7650"/>
                </a:lnTo>
                <a:lnTo>
                  <a:pt x="150113" y="0"/>
                </a:lnTo>
                <a:lnTo>
                  <a:pt x="197571" y="7650"/>
                </a:lnTo>
                <a:lnTo>
                  <a:pt x="238780" y="28955"/>
                </a:lnTo>
                <a:lnTo>
                  <a:pt x="271272" y="61447"/>
                </a:lnTo>
                <a:lnTo>
                  <a:pt x="292577" y="102656"/>
                </a:lnTo>
                <a:lnTo>
                  <a:pt x="300227" y="150113"/>
                </a:lnTo>
                <a:lnTo>
                  <a:pt x="292577" y="197571"/>
                </a:lnTo>
                <a:lnTo>
                  <a:pt x="271272" y="238780"/>
                </a:lnTo>
                <a:lnTo>
                  <a:pt x="238780" y="271272"/>
                </a:lnTo>
                <a:lnTo>
                  <a:pt x="197571" y="292577"/>
                </a:lnTo>
                <a:lnTo>
                  <a:pt x="150113" y="300228"/>
                </a:lnTo>
                <a:lnTo>
                  <a:pt x="102656" y="292577"/>
                </a:lnTo>
                <a:lnTo>
                  <a:pt x="61447" y="271272"/>
                </a:lnTo>
                <a:lnTo>
                  <a:pt x="28955" y="238780"/>
                </a:lnTo>
                <a:lnTo>
                  <a:pt x="7650" y="197571"/>
                </a:lnTo>
                <a:lnTo>
                  <a:pt x="0" y="150113"/>
                </a:lnTo>
                <a:close/>
              </a:path>
            </a:pathLst>
          </a:custGeom>
          <a:ln w="12700">
            <a:solidFill>
              <a:srgbClr val="A78B5E"/>
            </a:solidFill>
          </a:ln>
        </p:spPr>
        <p:txBody>
          <a:bodyPr wrap="square" lIns="0" tIns="0" rIns="0" bIns="0" rtlCol="0"/>
          <a:lstStyle/>
          <a:p>
            <a:endParaRPr kern="0">
              <a:solidFill>
                <a:sysClr val="windowText" lastClr="000000"/>
              </a:solidFill>
            </a:endParaRPr>
          </a:p>
        </p:txBody>
      </p:sp>
      <p:sp>
        <p:nvSpPr>
          <p:cNvPr id="63" name="object 20">
            <a:extLst>
              <a:ext uri="{FF2B5EF4-FFF2-40B4-BE49-F238E27FC236}">
                <a16:creationId xmlns:a16="http://schemas.microsoft.com/office/drawing/2014/main" id="{BAE75538-81A3-D140-3527-C14FBB63530D}"/>
              </a:ext>
            </a:extLst>
          </p:cNvPr>
          <p:cNvSpPr txBox="1"/>
          <p:nvPr/>
        </p:nvSpPr>
        <p:spPr>
          <a:xfrm>
            <a:off x="10863514" y="4559553"/>
            <a:ext cx="128905" cy="228268"/>
          </a:xfrm>
          <a:prstGeom prst="rect">
            <a:avLst/>
          </a:prstGeom>
        </p:spPr>
        <p:txBody>
          <a:bodyPr vert="horz" wrap="square" lIns="0" tIns="12700" rIns="0" bIns="0" rtlCol="0">
            <a:spAutoFit/>
          </a:bodyPr>
          <a:lstStyle/>
          <a:p>
            <a:pPr marL="12700">
              <a:spcBef>
                <a:spcPts val="100"/>
              </a:spcBef>
            </a:pPr>
            <a:r>
              <a:rPr sz="1400" kern="0" spc="-50" dirty="0">
                <a:solidFill>
                  <a:srgbClr val="A78B5E"/>
                </a:solidFill>
                <a:latin typeface="Tahoma"/>
                <a:cs typeface="Tahoma"/>
              </a:rPr>
              <a:t>5</a:t>
            </a:r>
            <a:endParaRPr sz="1400" kern="0" dirty="0">
              <a:solidFill>
                <a:srgbClr val="A78B5E"/>
              </a:solidFill>
              <a:latin typeface="Tahoma"/>
              <a:cs typeface="Tahoma"/>
            </a:endParaRPr>
          </a:p>
        </p:txBody>
      </p:sp>
      <p:sp>
        <p:nvSpPr>
          <p:cNvPr id="64" name="object 21">
            <a:extLst>
              <a:ext uri="{FF2B5EF4-FFF2-40B4-BE49-F238E27FC236}">
                <a16:creationId xmlns:a16="http://schemas.microsoft.com/office/drawing/2014/main" id="{4E1FD43D-4EF0-1C4B-D761-DCFCBFD825D2}"/>
              </a:ext>
            </a:extLst>
          </p:cNvPr>
          <p:cNvSpPr txBox="1"/>
          <p:nvPr/>
        </p:nvSpPr>
        <p:spPr>
          <a:xfrm>
            <a:off x="6185638" y="2306601"/>
            <a:ext cx="4462145" cy="321242"/>
          </a:xfrm>
          <a:prstGeom prst="rect">
            <a:avLst/>
          </a:prstGeom>
        </p:spPr>
        <p:txBody>
          <a:bodyPr vert="horz" wrap="square" lIns="0" tIns="13335" rIns="0" bIns="0" rtlCol="0">
            <a:spAutoFit/>
          </a:bodyPr>
          <a:lstStyle/>
          <a:p>
            <a:pPr marL="12700" algn="r">
              <a:spcBef>
                <a:spcPts val="105"/>
              </a:spcBef>
            </a:pPr>
            <a:r>
              <a:rPr lang="ar-SA" sz="2000" kern="0" spc="-20" dirty="0">
                <a:solidFill>
                  <a:srgbClr val="5F5F5F"/>
                </a:solidFill>
                <a:latin typeface="Tahoma"/>
                <a:cs typeface="Tahoma"/>
              </a:rPr>
              <a:t>التحديات في قياس الأداء</a:t>
            </a:r>
            <a:endParaRPr sz="2000" kern="0" dirty="0">
              <a:solidFill>
                <a:sysClr val="windowText" lastClr="000000"/>
              </a:solidFill>
              <a:latin typeface="Tahoma"/>
              <a:cs typeface="Tahoma"/>
            </a:endParaRPr>
          </a:p>
        </p:txBody>
      </p:sp>
      <p:sp>
        <p:nvSpPr>
          <p:cNvPr id="65" name="object 23">
            <a:extLst>
              <a:ext uri="{FF2B5EF4-FFF2-40B4-BE49-F238E27FC236}">
                <a16:creationId xmlns:a16="http://schemas.microsoft.com/office/drawing/2014/main" id="{7094F6B4-E8C9-B49C-F7CE-3C13F2A18DBE}"/>
              </a:ext>
            </a:extLst>
          </p:cNvPr>
          <p:cNvSpPr txBox="1"/>
          <p:nvPr/>
        </p:nvSpPr>
        <p:spPr>
          <a:xfrm>
            <a:off x="9763059" y="1701173"/>
            <a:ext cx="1100455" cy="331470"/>
          </a:xfrm>
          <a:prstGeom prst="rect">
            <a:avLst/>
          </a:prstGeom>
        </p:spPr>
        <p:txBody>
          <a:bodyPr vert="horz" wrap="square" lIns="0" tIns="13335" rIns="0" bIns="0" rtlCol="0">
            <a:spAutoFit/>
          </a:bodyPr>
          <a:lstStyle/>
          <a:p>
            <a:pPr marL="12700">
              <a:spcBef>
                <a:spcPts val="105"/>
              </a:spcBef>
            </a:pPr>
            <a:r>
              <a:rPr lang="ar-SA" sz="2000" b="1" kern="0" spc="-25" dirty="0">
                <a:solidFill>
                  <a:srgbClr val="A78B5E"/>
                </a:solidFill>
                <a:latin typeface="Century Gothic"/>
                <a:cs typeface="Century Gothic"/>
              </a:rPr>
              <a:t>المحاور:</a:t>
            </a:r>
            <a:endParaRPr sz="2000" b="1" kern="0" dirty="0">
              <a:solidFill>
                <a:srgbClr val="A78B5E"/>
              </a:solidFill>
              <a:latin typeface="Century Gothic"/>
              <a:cs typeface="Century Gothic"/>
            </a:endParaRPr>
          </a:p>
        </p:txBody>
      </p:sp>
      <p:sp>
        <p:nvSpPr>
          <p:cNvPr id="66" name="object 21">
            <a:extLst>
              <a:ext uri="{FF2B5EF4-FFF2-40B4-BE49-F238E27FC236}">
                <a16:creationId xmlns:a16="http://schemas.microsoft.com/office/drawing/2014/main" id="{4DDDF005-E6F4-CF2B-385E-44FF6B8DF24F}"/>
              </a:ext>
            </a:extLst>
          </p:cNvPr>
          <p:cNvSpPr txBox="1"/>
          <p:nvPr/>
        </p:nvSpPr>
        <p:spPr>
          <a:xfrm>
            <a:off x="6185638" y="2888189"/>
            <a:ext cx="4462145" cy="321242"/>
          </a:xfrm>
          <a:prstGeom prst="rect">
            <a:avLst/>
          </a:prstGeom>
        </p:spPr>
        <p:txBody>
          <a:bodyPr vert="horz" wrap="square" lIns="0" tIns="13335" rIns="0" bIns="0" rtlCol="0">
            <a:spAutoFit/>
          </a:bodyPr>
          <a:lstStyle/>
          <a:p>
            <a:pPr marL="12700" algn="r">
              <a:spcBef>
                <a:spcPts val="105"/>
              </a:spcBef>
            </a:pPr>
            <a:r>
              <a:rPr lang="ar-SA" sz="2000" kern="0" spc="-20" dirty="0">
                <a:solidFill>
                  <a:srgbClr val="5F5F5F"/>
                </a:solidFill>
                <a:latin typeface="Tahoma"/>
                <a:cs typeface="Tahoma"/>
              </a:rPr>
              <a:t>القيمة المضافة من مؤشرات الأداء (</a:t>
            </a:r>
            <a:r>
              <a:rPr lang="en-US" sz="2000" kern="0" spc="-20" dirty="0">
                <a:solidFill>
                  <a:srgbClr val="5F5F5F"/>
                </a:solidFill>
                <a:latin typeface="Tahoma"/>
                <a:cs typeface="Tahoma"/>
              </a:rPr>
              <a:t>(KPIs</a:t>
            </a:r>
            <a:endParaRPr lang="ar-SA" sz="2000" kern="0" dirty="0">
              <a:solidFill>
                <a:sysClr val="windowText" lastClr="000000"/>
              </a:solidFill>
              <a:latin typeface="Tahoma"/>
              <a:cs typeface="Tahoma"/>
            </a:endParaRPr>
          </a:p>
        </p:txBody>
      </p:sp>
      <p:sp>
        <p:nvSpPr>
          <p:cNvPr id="67" name="object 21">
            <a:extLst>
              <a:ext uri="{FF2B5EF4-FFF2-40B4-BE49-F238E27FC236}">
                <a16:creationId xmlns:a16="http://schemas.microsoft.com/office/drawing/2014/main" id="{91660837-F4BA-6B78-B293-A636D50F89F4}"/>
              </a:ext>
            </a:extLst>
          </p:cNvPr>
          <p:cNvSpPr txBox="1"/>
          <p:nvPr/>
        </p:nvSpPr>
        <p:spPr>
          <a:xfrm>
            <a:off x="6185637" y="3383224"/>
            <a:ext cx="4462145" cy="321242"/>
          </a:xfrm>
          <a:prstGeom prst="rect">
            <a:avLst/>
          </a:prstGeom>
        </p:spPr>
        <p:txBody>
          <a:bodyPr vert="horz" wrap="square" lIns="0" tIns="13335" rIns="0" bIns="0" rtlCol="0">
            <a:spAutoFit/>
          </a:bodyPr>
          <a:lstStyle/>
          <a:p>
            <a:pPr marL="12700" algn="r">
              <a:spcBef>
                <a:spcPts val="105"/>
              </a:spcBef>
            </a:pPr>
            <a:r>
              <a:rPr lang="ar-SA" sz="2000" kern="0" spc="-20" dirty="0">
                <a:solidFill>
                  <a:srgbClr val="5F5F5F"/>
                </a:solidFill>
                <a:latin typeface="Tahoma"/>
                <a:cs typeface="Tahoma"/>
              </a:rPr>
              <a:t>المستويات التنظيمية</a:t>
            </a:r>
            <a:endParaRPr sz="2000" kern="0" dirty="0">
              <a:solidFill>
                <a:sysClr val="windowText" lastClr="000000"/>
              </a:solidFill>
              <a:latin typeface="Tahoma"/>
              <a:cs typeface="Tahoma"/>
            </a:endParaRPr>
          </a:p>
        </p:txBody>
      </p:sp>
      <p:sp>
        <p:nvSpPr>
          <p:cNvPr id="68" name="object 21">
            <a:extLst>
              <a:ext uri="{FF2B5EF4-FFF2-40B4-BE49-F238E27FC236}">
                <a16:creationId xmlns:a16="http://schemas.microsoft.com/office/drawing/2014/main" id="{7CF3576B-34CE-5F41-84C1-FDC4025345ED}"/>
              </a:ext>
            </a:extLst>
          </p:cNvPr>
          <p:cNvSpPr txBox="1"/>
          <p:nvPr/>
        </p:nvSpPr>
        <p:spPr>
          <a:xfrm>
            <a:off x="6185636" y="3924980"/>
            <a:ext cx="4462145" cy="321242"/>
          </a:xfrm>
          <a:prstGeom prst="rect">
            <a:avLst/>
          </a:prstGeom>
        </p:spPr>
        <p:txBody>
          <a:bodyPr vert="horz" wrap="square" lIns="0" tIns="13335" rIns="0" bIns="0" rtlCol="0">
            <a:spAutoFit/>
          </a:bodyPr>
          <a:lstStyle/>
          <a:p>
            <a:pPr marL="12700" algn="r">
              <a:spcBef>
                <a:spcPts val="105"/>
              </a:spcBef>
            </a:pPr>
            <a:r>
              <a:rPr lang="ar-SA" sz="2000" kern="0" spc="-20" dirty="0">
                <a:solidFill>
                  <a:srgbClr val="5F5F5F"/>
                </a:solidFill>
                <a:latin typeface="Tahoma"/>
                <a:cs typeface="Tahoma"/>
              </a:rPr>
              <a:t>خريطة مفاهيم مؤشرات الأداء</a:t>
            </a:r>
            <a:endParaRPr sz="2000" kern="0" dirty="0">
              <a:solidFill>
                <a:sysClr val="windowText" lastClr="000000"/>
              </a:solidFill>
              <a:latin typeface="Tahoma"/>
              <a:cs typeface="Tahoma"/>
            </a:endParaRPr>
          </a:p>
        </p:txBody>
      </p:sp>
      <p:sp>
        <p:nvSpPr>
          <p:cNvPr id="69" name="object 21">
            <a:extLst>
              <a:ext uri="{FF2B5EF4-FFF2-40B4-BE49-F238E27FC236}">
                <a16:creationId xmlns:a16="http://schemas.microsoft.com/office/drawing/2014/main" id="{2615155B-40FE-683E-E843-96851DAF4197}"/>
              </a:ext>
            </a:extLst>
          </p:cNvPr>
          <p:cNvSpPr txBox="1"/>
          <p:nvPr/>
        </p:nvSpPr>
        <p:spPr>
          <a:xfrm>
            <a:off x="6185636" y="4502024"/>
            <a:ext cx="4462145" cy="321242"/>
          </a:xfrm>
          <a:prstGeom prst="rect">
            <a:avLst/>
          </a:prstGeom>
        </p:spPr>
        <p:txBody>
          <a:bodyPr vert="horz" wrap="square" lIns="0" tIns="13335" rIns="0" bIns="0" rtlCol="0">
            <a:spAutoFit/>
          </a:bodyPr>
          <a:lstStyle/>
          <a:p>
            <a:pPr marL="12700" algn="r">
              <a:spcBef>
                <a:spcPts val="105"/>
              </a:spcBef>
            </a:pPr>
            <a:r>
              <a:rPr lang="ar-SA" sz="2000" kern="0" spc="-20" dirty="0">
                <a:solidFill>
                  <a:srgbClr val="5F5F5F"/>
                </a:solidFill>
                <a:latin typeface="Tahoma"/>
                <a:cs typeface="Tahoma"/>
              </a:rPr>
              <a:t>الحوكمة</a:t>
            </a:r>
            <a:endParaRPr sz="2000" kern="0" dirty="0">
              <a:solidFill>
                <a:sysClr val="windowText" lastClr="000000"/>
              </a:solidFill>
              <a:latin typeface="Tahoma"/>
              <a:cs typeface="Tahoma"/>
            </a:endParaRPr>
          </a:p>
        </p:txBody>
      </p:sp>
    </p:spTree>
    <p:extLst>
      <p:ext uri="{BB962C8B-B14F-4D97-AF65-F5344CB8AC3E}">
        <p14:creationId xmlns:p14="http://schemas.microsoft.com/office/powerpoint/2010/main" val="1292511721"/>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47A265-4776-32EE-B067-1AE64A0CA396}"/>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5FFE658B-8CFC-AFF6-A423-AFB9B7176752}"/>
              </a:ext>
            </a:extLst>
          </p:cNvPr>
          <p:cNvSpPr txBox="1">
            <a:spLocks/>
          </p:cNvSpPr>
          <p:nvPr/>
        </p:nvSpPr>
        <p:spPr>
          <a:xfrm>
            <a:off x="7287814" y="429076"/>
            <a:ext cx="7557770" cy="360680"/>
          </a:xfrm>
          <a:prstGeom prst="rect">
            <a:avLst/>
          </a:prstGeom>
        </p:spPr>
        <p:txBody>
          <a:bodyPr vert="horz" wrap="square" lIns="0" tIns="12065" rIns="0" bIns="0" rtlCol="0">
            <a:sp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12700" algn="l">
              <a:spcBef>
                <a:spcPts val="95"/>
              </a:spcBef>
            </a:pPr>
            <a:r>
              <a:rPr lang="ar-SA" sz="2200" b="1" dirty="0">
                <a:solidFill>
                  <a:srgbClr val="A36C3F"/>
                </a:solidFill>
                <a:latin typeface="Avenir Next Arabic Demi" panose="020B0703020202020204" pitchFamily="34" charset="-78"/>
                <a:cs typeface="Avenir Next Arabic Demi" panose="020B0703020202020204" pitchFamily="34" charset="-78"/>
              </a:rPr>
              <a:t>قياس الأداء مقابل الأداء</a:t>
            </a:r>
          </a:p>
        </p:txBody>
      </p:sp>
      <p:sp>
        <p:nvSpPr>
          <p:cNvPr id="3" name="object 3">
            <a:extLst>
              <a:ext uri="{FF2B5EF4-FFF2-40B4-BE49-F238E27FC236}">
                <a16:creationId xmlns:a16="http://schemas.microsoft.com/office/drawing/2014/main" id="{945254A6-7872-FB7F-10E9-AE7BFA22D8BE}"/>
              </a:ext>
            </a:extLst>
          </p:cNvPr>
          <p:cNvSpPr txBox="1"/>
          <p:nvPr/>
        </p:nvSpPr>
        <p:spPr>
          <a:xfrm>
            <a:off x="9284720" y="967822"/>
            <a:ext cx="2174240" cy="360680"/>
          </a:xfrm>
          <a:prstGeom prst="rect">
            <a:avLst/>
          </a:prstGeom>
        </p:spPr>
        <p:txBody>
          <a:bodyPr vert="horz" wrap="square" lIns="0" tIns="12065" rIns="0" bIns="0" rtlCol="0">
            <a:spAutoFit/>
          </a:bodyPr>
          <a:lstStyle/>
          <a:p>
            <a:pPr marL="12700" algn="l">
              <a:spcBef>
                <a:spcPts val="95"/>
              </a:spcBef>
            </a:pPr>
            <a:r>
              <a:rPr lang="ar-SA" sz="2200" b="1" kern="0" spc="100" dirty="0">
                <a:solidFill>
                  <a:srgbClr val="A36C3F"/>
                </a:solidFill>
                <a:latin typeface="Avenir Next Arabic Demi" panose="020B0703020202020204" pitchFamily="34" charset="-78"/>
                <a:cs typeface="Avenir Next Arabic Demi" panose="020B0703020202020204" pitchFamily="34" charset="-78"/>
              </a:rPr>
              <a:t>الإدارة</a:t>
            </a:r>
            <a:endParaRPr sz="2200" b="1" kern="0" dirty="0">
              <a:solidFill>
                <a:srgbClr val="A36C3F"/>
              </a:solidFill>
              <a:latin typeface="Avenir Next Arabic Demi" panose="020B0703020202020204" pitchFamily="34" charset="-78"/>
              <a:cs typeface="Avenir Next Arabic Demi" panose="020B0703020202020204" pitchFamily="34" charset="-78"/>
            </a:endParaRPr>
          </a:p>
        </p:txBody>
      </p:sp>
      <p:sp>
        <p:nvSpPr>
          <p:cNvPr id="4" name="object 4">
            <a:extLst>
              <a:ext uri="{FF2B5EF4-FFF2-40B4-BE49-F238E27FC236}">
                <a16:creationId xmlns:a16="http://schemas.microsoft.com/office/drawing/2014/main" id="{198D5D2D-B03E-1191-216E-72BCA0475849}"/>
              </a:ext>
            </a:extLst>
          </p:cNvPr>
          <p:cNvSpPr/>
          <p:nvPr/>
        </p:nvSpPr>
        <p:spPr>
          <a:xfrm>
            <a:off x="1886711" y="3000755"/>
            <a:ext cx="3735704" cy="586740"/>
          </a:xfrm>
          <a:custGeom>
            <a:avLst/>
            <a:gdLst/>
            <a:ahLst/>
            <a:cxnLst/>
            <a:rect l="l" t="t" r="r" b="b"/>
            <a:pathLst>
              <a:path w="3735704" h="586739">
                <a:moveTo>
                  <a:pt x="0" y="293370"/>
                </a:moveTo>
                <a:lnTo>
                  <a:pt x="3839" y="245777"/>
                </a:lnTo>
                <a:lnTo>
                  <a:pt x="14955" y="200631"/>
                </a:lnTo>
                <a:lnTo>
                  <a:pt x="32744" y="158537"/>
                </a:lnTo>
                <a:lnTo>
                  <a:pt x="56602" y="120097"/>
                </a:lnTo>
                <a:lnTo>
                  <a:pt x="85925" y="85915"/>
                </a:lnTo>
                <a:lnTo>
                  <a:pt x="120108" y="56595"/>
                </a:lnTo>
                <a:lnTo>
                  <a:pt x="158548" y="32740"/>
                </a:lnTo>
                <a:lnTo>
                  <a:pt x="200641" y="14953"/>
                </a:lnTo>
                <a:lnTo>
                  <a:pt x="245783" y="3838"/>
                </a:lnTo>
                <a:lnTo>
                  <a:pt x="293370" y="0"/>
                </a:lnTo>
                <a:lnTo>
                  <a:pt x="3441954" y="0"/>
                </a:lnTo>
                <a:lnTo>
                  <a:pt x="3489546" y="3838"/>
                </a:lnTo>
                <a:lnTo>
                  <a:pt x="3534692" y="14953"/>
                </a:lnTo>
                <a:lnTo>
                  <a:pt x="3576786" y="32740"/>
                </a:lnTo>
                <a:lnTo>
                  <a:pt x="3615226" y="56595"/>
                </a:lnTo>
                <a:lnTo>
                  <a:pt x="3649408" y="85915"/>
                </a:lnTo>
                <a:lnTo>
                  <a:pt x="3678728" y="120097"/>
                </a:lnTo>
                <a:lnTo>
                  <a:pt x="3702583" y="158537"/>
                </a:lnTo>
                <a:lnTo>
                  <a:pt x="3720370" y="200631"/>
                </a:lnTo>
                <a:lnTo>
                  <a:pt x="3731485" y="245777"/>
                </a:lnTo>
                <a:lnTo>
                  <a:pt x="3735324" y="293370"/>
                </a:lnTo>
                <a:lnTo>
                  <a:pt x="3731485" y="340962"/>
                </a:lnTo>
                <a:lnTo>
                  <a:pt x="3720370" y="386108"/>
                </a:lnTo>
                <a:lnTo>
                  <a:pt x="3702583" y="428202"/>
                </a:lnTo>
                <a:lnTo>
                  <a:pt x="3678728" y="466642"/>
                </a:lnTo>
                <a:lnTo>
                  <a:pt x="3649408" y="500824"/>
                </a:lnTo>
                <a:lnTo>
                  <a:pt x="3615226" y="530144"/>
                </a:lnTo>
                <a:lnTo>
                  <a:pt x="3576786" y="553999"/>
                </a:lnTo>
                <a:lnTo>
                  <a:pt x="3534692" y="571786"/>
                </a:lnTo>
                <a:lnTo>
                  <a:pt x="3489546" y="582901"/>
                </a:lnTo>
                <a:lnTo>
                  <a:pt x="3441954" y="586740"/>
                </a:lnTo>
                <a:lnTo>
                  <a:pt x="293370" y="586740"/>
                </a:lnTo>
                <a:lnTo>
                  <a:pt x="245783" y="582901"/>
                </a:lnTo>
                <a:lnTo>
                  <a:pt x="200641" y="571786"/>
                </a:lnTo>
                <a:lnTo>
                  <a:pt x="158548" y="553999"/>
                </a:lnTo>
                <a:lnTo>
                  <a:pt x="120108" y="530144"/>
                </a:lnTo>
                <a:lnTo>
                  <a:pt x="85925" y="500824"/>
                </a:lnTo>
                <a:lnTo>
                  <a:pt x="56602" y="466642"/>
                </a:lnTo>
                <a:lnTo>
                  <a:pt x="32744" y="428202"/>
                </a:lnTo>
                <a:lnTo>
                  <a:pt x="14955" y="386108"/>
                </a:lnTo>
                <a:lnTo>
                  <a:pt x="3839" y="340962"/>
                </a:lnTo>
                <a:lnTo>
                  <a:pt x="0" y="293370"/>
                </a:lnTo>
                <a:close/>
              </a:path>
            </a:pathLst>
          </a:custGeom>
          <a:ln w="9525">
            <a:solidFill>
              <a:srgbClr val="A78B5E"/>
            </a:solidFill>
            <a:prstDash val="sysDash"/>
          </a:ln>
        </p:spPr>
        <p:txBody>
          <a:bodyPr wrap="square" lIns="0" tIns="0" rIns="0" bIns="0" rtlCol="0"/>
          <a:lstStyle/>
          <a:p>
            <a:endParaRPr kern="0">
              <a:solidFill>
                <a:sysClr val="windowText" lastClr="000000"/>
              </a:solidFill>
            </a:endParaRPr>
          </a:p>
        </p:txBody>
      </p:sp>
      <p:sp>
        <p:nvSpPr>
          <p:cNvPr id="5" name="object 5">
            <a:extLst>
              <a:ext uri="{FF2B5EF4-FFF2-40B4-BE49-F238E27FC236}">
                <a16:creationId xmlns:a16="http://schemas.microsoft.com/office/drawing/2014/main" id="{D923D0E2-438A-EBF3-34BD-D5EA6E0AC063}"/>
              </a:ext>
            </a:extLst>
          </p:cNvPr>
          <p:cNvSpPr txBox="1"/>
          <p:nvPr/>
        </p:nvSpPr>
        <p:spPr>
          <a:xfrm>
            <a:off x="1580972" y="3102431"/>
            <a:ext cx="2715260" cy="320601"/>
          </a:xfrm>
          <a:prstGeom prst="rect">
            <a:avLst/>
          </a:prstGeom>
        </p:spPr>
        <p:txBody>
          <a:bodyPr vert="horz" wrap="square" lIns="0" tIns="12700" rIns="0" bIns="0" rtlCol="0">
            <a:spAutoFit/>
          </a:bodyPr>
          <a:lstStyle/>
          <a:p>
            <a:pPr marL="12700">
              <a:spcBef>
                <a:spcPts val="100"/>
              </a:spcBef>
            </a:pPr>
            <a:r>
              <a:rPr lang="ar-SA" sz="2000" kern="0" spc="-10" dirty="0">
                <a:solidFill>
                  <a:srgbClr val="A78B5E"/>
                </a:solidFill>
                <a:latin typeface="Tahoma"/>
                <a:cs typeface="Tahoma"/>
              </a:rPr>
              <a:t>قياس الأداء</a:t>
            </a:r>
          </a:p>
        </p:txBody>
      </p:sp>
      <p:sp>
        <p:nvSpPr>
          <p:cNvPr id="6" name="object 6">
            <a:extLst>
              <a:ext uri="{FF2B5EF4-FFF2-40B4-BE49-F238E27FC236}">
                <a16:creationId xmlns:a16="http://schemas.microsoft.com/office/drawing/2014/main" id="{B8E6AE7F-9E1D-D0C0-6F44-DA0001F05E48}"/>
              </a:ext>
            </a:extLst>
          </p:cNvPr>
          <p:cNvSpPr/>
          <p:nvPr/>
        </p:nvSpPr>
        <p:spPr>
          <a:xfrm>
            <a:off x="6472429" y="2968751"/>
            <a:ext cx="3736975" cy="586740"/>
          </a:xfrm>
          <a:custGeom>
            <a:avLst/>
            <a:gdLst/>
            <a:ahLst/>
            <a:cxnLst/>
            <a:rect l="l" t="t" r="r" b="b"/>
            <a:pathLst>
              <a:path w="3736975" h="586739">
                <a:moveTo>
                  <a:pt x="0" y="293370"/>
                </a:moveTo>
                <a:lnTo>
                  <a:pt x="3838" y="245777"/>
                </a:lnTo>
                <a:lnTo>
                  <a:pt x="14953" y="200631"/>
                </a:lnTo>
                <a:lnTo>
                  <a:pt x="32740" y="158537"/>
                </a:lnTo>
                <a:lnTo>
                  <a:pt x="56595" y="120097"/>
                </a:lnTo>
                <a:lnTo>
                  <a:pt x="85915" y="85915"/>
                </a:lnTo>
                <a:lnTo>
                  <a:pt x="120097" y="56595"/>
                </a:lnTo>
                <a:lnTo>
                  <a:pt x="158537" y="32740"/>
                </a:lnTo>
                <a:lnTo>
                  <a:pt x="200631" y="14953"/>
                </a:lnTo>
                <a:lnTo>
                  <a:pt x="245777" y="3838"/>
                </a:lnTo>
                <a:lnTo>
                  <a:pt x="293370" y="0"/>
                </a:lnTo>
                <a:lnTo>
                  <a:pt x="3443478" y="0"/>
                </a:lnTo>
                <a:lnTo>
                  <a:pt x="3491070" y="3838"/>
                </a:lnTo>
                <a:lnTo>
                  <a:pt x="3536216" y="14953"/>
                </a:lnTo>
                <a:lnTo>
                  <a:pt x="3578310" y="32740"/>
                </a:lnTo>
                <a:lnTo>
                  <a:pt x="3616750" y="56595"/>
                </a:lnTo>
                <a:lnTo>
                  <a:pt x="3650932" y="85915"/>
                </a:lnTo>
                <a:lnTo>
                  <a:pt x="3680252" y="120097"/>
                </a:lnTo>
                <a:lnTo>
                  <a:pt x="3704107" y="158537"/>
                </a:lnTo>
                <a:lnTo>
                  <a:pt x="3721894" y="200631"/>
                </a:lnTo>
                <a:lnTo>
                  <a:pt x="3733009" y="245777"/>
                </a:lnTo>
                <a:lnTo>
                  <a:pt x="3736848" y="293370"/>
                </a:lnTo>
                <a:lnTo>
                  <a:pt x="3733009" y="340962"/>
                </a:lnTo>
                <a:lnTo>
                  <a:pt x="3721894" y="386108"/>
                </a:lnTo>
                <a:lnTo>
                  <a:pt x="3704107" y="428202"/>
                </a:lnTo>
                <a:lnTo>
                  <a:pt x="3680252" y="466642"/>
                </a:lnTo>
                <a:lnTo>
                  <a:pt x="3650932" y="500824"/>
                </a:lnTo>
                <a:lnTo>
                  <a:pt x="3616750" y="530144"/>
                </a:lnTo>
                <a:lnTo>
                  <a:pt x="3578310" y="553999"/>
                </a:lnTo>
                <a:lnTo>
                  <a:pt x="3536216" y="571786"/>
                </a:lnTo>
                <a:lnTo>
                  <a:pt x="3491070" y="582901"/>
                </a:lnTo>
                <a:lnTo>
                  <a:pt x="3443478" y="586739"/>
                </a:lnTo>
                <a:lnTo>
                  <a:pt x="293370" y="586739"/>
                </a:lnTo>
                <a:lnTo>
                  <a:pt x="245777" y="582901"/>
                </a:lnTo>
                <a:lnTo>
                  <a:pt x="200631" y="571786"/>
                </a:lnTo>
                <a:lnTo>
                  <a:pt x="158537" y="553999"/>
                </a:lnTo>
                <a:lnTo>
                  <a:pt x="120097" y="530144"/>
                </a:lnTo>
                <a:lnTo>
                  <a:pt x="85915" y="500824"/>
                </a:lnTo>
                <a:lnTo>
                  <a:pt x="56595" y="466642"/>
                </a:lnTo>
                <a:lnTo>
                  <a:pt x="32740" y="428202"/>
                </a:lnTo>
                <a:lnTo>
                  <a:pt x="14953" y="386108"/>
                </a:lnTo>
                <a:lnTo>
                  <a:pt x="3838" y="340962"/>
                </a:lnTo>
                <a:lnTo>
                  <a:pt x="0" y="293370"/>
                </a:lnTo>
                <a:close/>
              </a:path>
            </a:pathLst>
          </a:custGeom>
          <a:ln w="9524">
            <a:solidFill>
              <a:srgbClr val="A78B5E"/>
            </a:solidFill>
          </a:ln>
        </p:spPr>
        <p:txBody>
          <a:bodyPr wrap="square" lIns="0" tIns="0" rIns="0" bIns="0" rtlCol="0"/>
          <a:lstStyle/>
          <a:p>
            <a:endParaRPr kern="0">
              <a:solidFill>
                <a:sysClr val="windowText" lastClr="000000"/>
              </a:solidFill>
            </a:endParaRPr>
          </a:p>
        </p:txBody>
      </p:sp>
      <p:sp>
        <p:nvSpPr>
          <p:cNvPr id="7" name="object 7">
            <a:extLst>
              <a:ext uri="{FF2B5EF4-FFF2-40B4-BE49-F238E27FC236}">
                <a16:creationId xmlns:a16="http://schemas.microsoft.com/office/drawing/2014/main" id="{1D1F39BB-236F-1AC1-B3CD-3D62AB276594}"/>
              </a:ext>
            </a:extLst>
          </p:cNvPr>
          <p:cNvSpPr txBox="1"/>
          <p:nvPr/>
        </p:nvSpPr>
        <p:spPr>
          <a:xfrm>
            <a:off x="6253482" y="3083552"/>
            <a:ext cx="2637155" cy="320601"/>
          </a:xfrm>
          <a:prstGeom prst="rect">
            <a:avLst/>
          </a:prstGeom>
        </p:spPr>
        <p:txBody>
          <a:bodyPr vert="horz" wrap="square" lIns="0" tIns="12700" rIns="0" bIns="0" rtlCol="0">
            <a:spAutoFit/>
          </a:bodyPr>
          <a:lstStyle/>
          <a:p>
            <a:pPr marL="12700">
              <a:spcBef>
                <a:spcPts val="100"/>
              </a:spcBef>
            </a:pPr>
            <a:r>
              <a:rPr lang="ar-SA" sz="2000" kern="0" spc="-10" dirty="0">
                <a:solidFill>
                  <a:srgbClr val="A78B5E"/>
                </a:solidFill>
                <a:latin typeface="Tahoma"/>
                <a:cs typeface="Tahoma"/>
              </a:rPr>
              <a:t>إدارة الأداء</a:t>
            </a:r>
          </a:p>
        </p:txBody>
      </p:sp>
      <p:sp>
        <p:nvSpPr>
          <p:cNvPr id="8" name="object 8">
            <a:extLst>
              <a:ext uri="{FF2B5EF4-FFF2-40B4-BE49-F238E27FC236}">
                <a16:creationId xmlns:a16="http://schemas.microsoft.com/office/drawing/2014/main" id="{606D7380-D73C-A2F8-4EE3-0542F36400EE}"/>
              </a:ext>
            </a:extLst>
          </p:cNvPr>
          <p:cNvSpPr/>
          <p:nvPr/>
        </p:nvSpPr>
        <p:spPr>
          <a:xfrm>
            <a:off x="5708903" y="3046477"/>
            <a:ext cx="676910" cy="588645"/>
          </a:xfrm>
          <a:custGeom>
            <a:avLst/>
            <a:gdLst/>
            <a:ahLst/>
            <a:cxnLst/>
            <a:rect l="l" t="t" r="r" b="b"/>
            <a:pathLst>
              <a:path w="676910" h="588645">
                <a:moveTo>
                  <a:pt x="382524" y="0"/>
                </a:moveTo>
                <a:lnTo>
                  <a:pt x="294132" y="0"/>
                </a:lnTo>
                <a:lnTo>
                  <a:pt x="246425" y="3850"/>
                </a:lnTo>
                <a:lnTo>
                  <a:pt x="201167" y="14996"/>
                </a:lnTo>
                <a:lnTo>
                  <a:pt x="158966" y="32832"/>
                </a:lnTo>
                <a:lnTo>
                  <a:pt x="120426" y="56753"/>
                </a:lnTo>
                <a:lnTo>
                  <a:pt x="86153" y="86153"/>
                </a:lnTo>
                <a:lnTo>
                  <a:pt x="56753" y="120426"/>
                </a:lnTo>
                <a:lnTo>
                  <a:pt x="32832" y="158966"/>
                </a:lnTo>
                <a:lnTo>
                  <a:pt x="14996" y="201168"/>
                </a:lnTo>
                <a:lnTo>
                  <a:pt x="3850" y="246425"/>
                </a:lnTo>
                <a:lnTo>
                  <a:pt x="0" y="294132"/>
                </a:lnTo>
                <a:lnTo>
                  <a:pt x="3850" y="341838"/>
                </a:lnTo>
                <a:lnTo>
                  <a:pt x="14996" y="387096"/>
                </a:lnTo>
                <a:lnTo>
                  <a:pt x="32832" y="429297"/>
                </a:lnTo>
                <a:lnTo>
                  <a:pt x="56753" y="467837"/>
                </a:lnTo>
                <a:lnTo>
                  <a:pt x="86153" y="502110"/>
                </a:lnTo>
                <a:lnTo>
                  <a:pt x="120426" y="531510"/>
                </a:lnTo>
                <a:lnTo>
                  <a:pt x="158966" y="555431"/>
                </a:lnTo>
                <a:lnTo>
                  <a:pt x="201167" y="573267"/>
                </a:lnTo>
                <a:lnTo>
                  <a:pt x="246425" y="584413"/>
                </a:lnTo>
                <a:lnTo>
                  <a:pt x="294132" y="588263"/>
                </a:lnTo>
                <a:lnTo>
                  <a:pt x="382524" y="588263"/>
                </a:lnTo>
                <a:lnTo>
                  <a:pt x="430230" y="584413"/>
                </a:lnTo>
                <a:lnTo>
                  <a:pt x="475488" y="573267"/>
                </a:lnTo>
                <a:lnTo>
                  <a:pt x="517689" y="555431"/>
                </a:lnTo>
                <a:lnTo>
                  <a:pt x="556229" y="531510"/>
                </a:lnTo>
                <a:lnTo>
                  <a:pt x="590502" y="502110"/>
                </a:lnTo>
                <a:lnTo>
                  <a:pt x="619902" y="467837"/>
                </a:lnTo>
                <a:lnTo>
                  <a:pt x="643823" y="429297"/>
                </a:lnTo>
                <a:lnTo>
                  <a:pt x="661659" y="387096"/>
                </a:lnTo>
                <a:lnTo>
                  <a:pt x="672805" y="341838"/>
                </a:lnTo>
                <a:lnTo>
                  <a:pt x="676656" y="294132"/>
                </a:lnTo>
                <a:lnTo>
                  <a:pt x="672805" y="246425"/>
                </a:lnTo>
                <a:lnTo>
                  <a:pt x="661659" y="201168"/>
                </a:lnTo>
                <a:lnTo>
                  <a:pt x="643823" y="158966"/>
                </a:lnTo>
                <a:lnTo>
                  <a:pt x="619902" y="120426"/>
                </a:lnTo>
                <a:lnTo>
                  <a:pt x="590502" y="86153"/>
                </a:lnTo>
                <a:lnTo>
                  <a:pt x="556229" y="56753"/>
                </a:lnTo>
                <a:lnTo>
                  <a:pt x="517689" y="32832"/>
                </a:lnTo>
                <a:lnTo>
                  <a:pt x="475488" y="14996"/>
                </a:lnTo>
                <a:lnTo>
                  <a:pt x="430230" y="3850"/>
                </a:lnTo>
                <a:lnTo>
                  <a:pt x="382524" y="0"/>
                </a:lnTo>
                <a:close/>
              </a:path>
            </a:pathLst>
          </a:custGeom>
          <a:solidFill>
            <a:srgbClr val="A78B5E"/>
          </a:solidFill>
        </p:spPr>
        <p:txBody>
          <a:bodyPr wrap="square" lIns="0" tIns="0" rIns="0" bIns="0" rtlCol="0"/>
          <a:lstStyle/>
          <a:p>
            <a:endParaRPr kern="0">
              <a:solidFill>
                <a:sysClr val="windowText" lastClr="000000"/>
              </a:solidFill>
            </a:endParaRPr>
          </a:p>
        </p:txBody>
      </p:sp>
      <p:sp>
        <p:nvSpPr>
          <p:cNvPr id="9" name="object 9">
            <a:extLst>
              <a:ext uri="{FF2B5EF4-FFF2-40B4-BE49-F238E27FC236}">
                <a16:creationId xmlns:a16="http://schemas.microsoft.com/office/drawing/2014/main" id="{6B997B56-CD3B-29B3-E333-1F3BAF2340A6}"/>
              </a:ext>
            </a:extLst>
          </p:cNvPr>
          <p:cNvSpPr txBox="1"/>
          <p:nvPr/>
        </p:nvSpPr>
        <p:spPr>
          <a:xfrm>
            <a:off x="5928741" y="3174315"/>
            <a:ext cx="238125" cy="300355"/>
          </a:xfrm>
          <a:prstGeom prst="rect">
            <a:avLst/>
          </a:prstGeom>
        </p:spPr>
        <p:txBody>
          <a:bodyPr vert="horz" wrap="square" lIns="0" tIns="12700" rIns="0" bIns="0" rtlCol="0">
            <a:spAutoFit/>
          </a:bodyPr>
          <a:lstStyle/>
          <a:p>
            <a:pPr marL="12700">
              <a:spcBef>
                <a:spcPts val="100"/>
              </a:spcBef>
            </a:pPr>
            <a:r>
              <a:rPr lang="en-US" kern="0" spc="-25" dirty="0">
                <a:solidFill>
                  <a:srgbClr val="FFFFFF"/>
                </a:solidFill>
                <a:latin typeface="Tahoma"/>
                <a:cs typeface="Tahoma"/>
              </a:rPr>
              <a:t>vs</a:t>
            </a:r>
            <a:endParaRPr kern="0" dirty="0">
              <a:solidFill>
                <a:sysClr val="windowText" lastClr="000000"/>
              </a:solidFill>
              <a:latin typeface="Tahoma"/>
              <a:cs typeface="Tahoma"/>
            </a:endParaRPr>
          </a:p>
        </p:txBody>
      </p:sp>
      <p:sp>
        <p:nvSpPr>
          <p:cNvPr id="10" name="object 10">
            <a:extLst>
              <a:ext uri="{FF2B5EF4-FFF2-40B4-BE49-F238E27FC236}">
                <a16:creationId xmlns:a16="http://schemas.microsoft.com/office/drawing/2014/main" id="{A5A7D2D7-5688-0A3D-3DC7-653640BFA4C4}"/>
              </a:ext>
            </a:extLst>
          </p:cNvPr>
          <p:cNvSpPr txBox="1"/>
          <p:nvPr/>
        </p:nvSpPr>
        <p:spPr>
          <a:xfrm>
            <a:off x="1956613" y="3691509"/>
            <a:ext cx="3554729" cy="504625"/>
          </a:xfrm>
          <a:prstGeom prst="rect">
            <a:avLst/>
          </a:prstGeom>
        </p:spPr>
        <p:txBody>
          <a:bodyPr vert="horz" wrap="square" lIns="0" tIns="12065" rIns="0" bIns="0" rtlCol="0">
            <a:spAutoFit/>
          </a:bodyPr>
          <a:lstStyle/>
          <a:p>
            <a:pPr marL="12700" marR="5080">
              <a:spcBef>
                <a:spcPts val="95"/>
              </a:spcBef>
            </a:pPr>
            <a:r>
              <a:rPr lang="ar-SA" sz="1600" kern="0" spc="-35" dirty="0">
                <a:solidFill>
                  <a:srgbClr val="A78B5E"/>
                </a:solidFill>
                <a:latin typeface="Tahoma"/>
                <a:cs typeface="Tahoma"/>
              </a:rPr>
              <a:t>تحديد واختيار مؤشرات قابلة للقياس بهدف تقييم النتائج والإنجازات.</a:t>
            </a:r>
          </a:p>
        </p:txBody>
      </p:sp>
      <p:sp>
        <p:nvSpPr>
          <p:cNvPr id="11" name="object 11">
            <a:extLst>
              <a:ext uri="{FF2B5EF4-FFF2-40B4-BE49-F238E27FC236}">
                <a16:creationId xmlns:a16="http://schemas.microsoft.com/office/drawing/2014/main" id="{9AD846C5-56E5-101E-39D8-B509A824639E}"/>
              </a:ext>
            </a:extLst>
          </p:cNvPr>
          <p:cNvSpPr txBox="1"/>
          <p:nvPr/>
        </p:nvSpPr>
        <p:spPr>
          <a:xfrm>
            <a:off x="6611873" y="3665931"/>
            <a:ext cx="3501390" cy="1076577"/>
          </a:xfrm>
          <a:prstGeom prst="rect">
            <a:avLst/>
          </a:prstGeom>
        </p:spPr>
        <p:txBody>
          <a:bodyPr vert="horz" wrap="square" lIns="0" tIns="12065" rIns="0" bIns="0" rtlCol="0">
            <a:spAutoFit/>
          </a:bodyPr>
          <a:lstStyle/>
          <a:p>
            <a:pPr marL="12700">
              <a:lnSpc>
                <a:spcPts val="1910"/>
              </a:lnSpc>
              <a:spcBef>
                <a:spcPts val="95"/>
              </a:spcBef>
            </a:pPr>
            <a:r>
              <a:rPr lang="ar-SA" sz="1600" kern="0" spc="-40" dirty="0">
                <a:solidFill>
                  <a:srgbClr val="A78B5E"/>
                </a:solidFill>
                <a:latin typeface="Tahoma"/>
                <a:cs typeface="Tahoma"/>
              </a:rPr>
              <a:t>اتخاذ الإجراءات بناءً على نتائج التقييم لضمان تحقيق الأهداف.</a:t>
            </a:r>
          </a:p>
          <a:p>
            <a:pPr marL="68580" marR="5080">
              <a:lnSpc>
                <a:spcPct val="99700"/>
              </a:lnSpc>
              <a:spcBef>
                <a:spcPts val="940"/>
              </a:spcBef>
            </a:pPr>
            <a:r>
              <a:rPr lang="ar-SA" sz="1500" kern="0" spc="-20" dirty="0">
                <a:solidFill>
                  <a:srgbClr val="A36C3F"/>
                </a:solidFill>
                <a:latin typeface="Tahoma"/>
                <a:cs typeface="Tahoma"/>
              </a:rPr>
              <a:t>التخصص الشامل الذي يتعامل مع الأداء، ويشمل عمليات فرعية مثل:</a:t>
            </a:r>
          </a:p>
        </p:txBody>
      </p:sp>
      <p:sp>
        <p:nvSpPr>
          <p:cNvPr id="12" name="object 12">
            <a:extLst>
              <a:ext uri="{FF2B5EF4-FFF2-40B4-BE49-F238E27FC236}">
                <a16:creationId xmlns:a16="http://schemas.microsoft.com/office/drawing/2014/main" id="{F0711000-A720-1B78-3B35-1C9ABABD056B}"/>
              </a:ext>
            </a:extLst>
          </p:cNvPr>
          <p:cNvSpPr txBox="1"/>
          <p:nvPr/>
        </p:nvSpPr>
        <p:spPr>
          <a:xfrm>
            <a:off x="2078737" y="4158245"/>
            <a:ext cx="3380740" cy="1629292"/>
          </a:xfrm>
          <a:prstGeom prst="rect">
            <a:avLst/>
          </a:prstGeom>
        </p:spPr>
        <p:txBody>
          <a:bodyPr vert="horz" wrap="square" lIns="0" tIns="127635" rIns="0" bIns="0" rtlCol="0">
            <a:spAutoFit/>
          </a:bodyPr>
          <a:lstStyle/>
          <a:p>
            <a:pPr marL="12700">
              <a:spcBef>
                <a:spcPts val="1005"/>
              </a:spcBef>
            </a:pPr>
            <a:r>
              <a:rPr lang="ar-SA" sz="1500" kern="0" spc="-20" dirty="0">
                <a:solidFill>
                  <a:srgbClr val="A36C3F"/>
                </a:solidFill>
                <a:latin typeface="Tahoma"/>
                <a:cs typeface="Tahoma"/>
              </a:rPr>
              <a:t>تقييم الأداء من خلال:</a:t>
            </a:r>
          </a:p>
          <a:p>
            <a:pPr marL="299085" indent="-286385">
              <a:spcBef>
                <a:spcPts val="905"/>
              </a:spcBef>
              <a:buClr>
                <a:srgbClr val="A36C3F"/>
              </a:buClr>
              <a:buSzPct val="93333"/>
              <a:buFont typeface="Segoe UI Symbol"/>
              <a:buChar char="❑"/>
              <a:tabLst>
                <a:tab pos="299085" algn="l"/>
              </a:tabLst>
            </a:pPr>
            <a:r>
              <a:rPr lang="ar-SA" sz="1500" kern="0" spc="-10" dirty="0">
                <a:solidFill>
                  <a:srgbClr val="A78B5E"/>
                </a:solidFill>
                <a:latin typeface="Tahoma"/>
                <a:cs typeface="Tahoma"/>
              </a:rPr>
              <a:t>الأهداف</a:t>
            </a:r>
            <a:endParaRPr sz="1500" kern="0" dirty="0">
              <a:solidFill>
                <a:srgbClr val="A78B5E"/>
              </a:solidFill>
              <a:latin typeface="Tahoma"/>
              <a:cs typeface="Tahoma"/>
            </a:endParaRPr>
          </a:p>
          <a:p>
            <a:pPr marL="299085" indent="-286385">
              <a:spcBef>
                <a:spcPts val="900"/>
              </a:spcBef>
              <a:buClr>
                <a:srgbClr val="A36C3F"/>
              </a:buClr>
              <a:buSzPct val="93333"/>
              <a:buFont typeface="Segoe UI Symbol"/>
              <a:buChar char="❑"/>
              <a:tabLst>
                <a:tab pos="299085" algn="l"/>
              </a:tabLst>
            </a:pPr>
            <a:r>
              <a:rPr lang="ar-SA" sz="1500" kern="0" spc="-10" dirty="0">
                <a:solidFill>
                  <a:srgbClr val="A78B5E"/>
                </a:solidFill>
                <a:latin typeface="Tahoma"/>
                <a:cs typeface="Tahoma"/>
              </a:rPr>
              <a:t>مقاييس الأداء / المؤشرات / مؤشرات الأداء الرئيسية (</a:t>
            </a:r>
            <a:r>
              <a:rPr lang="en-US" sz="1500" kern="0" spc="-10" dirty="0">
                <a:solidFill>
                  <a:srgbClr val="A78B5E"/>
                </a:solidFill>
                <a:latin typeface="Tahoma"/>
                <a:cs typeface="Tahoma"/>
              </a:rPr>
              <a:t>KPIs)</a:t>
            </a:r>
            <a:endParaRPr lang="ar-SA" sz="1500" kern="0" spc="-10" dirty="0">
              <a:solidFill>
                <a:srgbClr val="A78B5E"/>
              </a:solidFill>
              <a:latin typeface="Tahoma"/>
              <a:cs typeface="Tahoma"/>
            </a:endParaRPr>
          </a:p>
          <a:p>
            <a:pPr marL="299085" indent="-286385">
              <a:spcBef>
                <a:spcPts val="900"/>
              </a:spcBef>
              <a:buClr>
                <a:srgbClr val="A36C3F"/>
              </a:buClr>
              <a:buSzPct val="93333"/>
              <a:buFont typeface="Segoe UI Symbol"/>
              <a:buChar char="❑"/>
              <a:tabLst>
                <a:tab pos="299085" algn="l"/>
              </a:tabLst>
            </a:pPr>
            <a:r>
              <a:rPr lang="ar-SA" sz="1500" kern="0" spc="-10" dirty="0">
                <a:solidFill>
                  <a:srgbClr val="A78B5E"/>
                </a:solidFill>
                <a:latin typeface="Tahoma"/>
                <a:cs typeface="Tahoma"/>
              </a:rPr>
              <a:t>الأهداف المستهدفة</a:t>
            </a:r>
            <a:endParaRPr sz="1500" kern="0" dirty="0">
              <a:solidFill>
                <a:srgbClr val="A78B5E"/>
              </a:solidFill>
              <a:latin typeface="Tahoma"/>
              <a:cs typeface="Tahoma"/>
            </a:endParaRPr>
          </a:p>
        </p:txBody>
      </p:sp>
      <p:sp>
        <p:nvSpPr>
          <p:cNvPr id="13" name="object 13">
            <a:extLst>
              <a:ext uri="{FF2B5EF4-FFF2-40B4-BE49-F238E27FC236}">
                <a16:creationId xmlns:a16="http://schemas.microsoft.com/office/drawing/2014/main" id="{57178E2D-FBE4-73AD-CBF7-3512C352E940}"/>
              </a:ext>
            </a:extLst>
          </p:cNvPr>
          <p:cNvSpPr txBox="1"/>
          <p:nvPr/>
        </p:nvSpPr>
        <p:spPr>
          <a:xfrm>
            <a:off x="6564376" y="4852948"/>
            <a:ext cx="3512820" cy="1218282"/>
          </a:xfrm>
          <a:prstGeom prst="rect">
            <a:avLst/>
          </a:prstGeom>
        </p:spPr>
        <p:txBody>
          <a:bodyPr vert="horz" wrap="square" lIns="0" tIns="12700" rIns="0" bIns="0" rtlCol="0">
            <a:spAutoFit/>
          </a:bodyPr>
          <a:lstStyle/>
          <a:p>
            <a:pPr marL="298450" indent="-285750">
              <a:spcBef>
                <a:spcPts val="100"/>
              </a:spcBef>
              <a:buClr>
                <a:srgbClr val="A36C3F"/>
              </a:buClr>
              <a:buSzPct val="106666"/>
              <a:buFont typeface="Segoe UI Symbol"/>
              <a:buChar char="❑"/>
              <a:tabLst>
                <a:tab pos="298450" algn="l"/>
              </a:tabLst>
            </a:pPr>
            <a:r>
              <a:rPr lang="ar-SA" sz="1500" kern="0" spc="-25" dirty="0">
                <a:solidFill>
                  <a:srgbClr val="A78B5E"/>
                </a:solidFill>
                <a:latin typeface="Tahoma"/>
                <a:cs typeface="Tahoma"/>
              </a:rPr>
              <a:t>صياغة خطة</a:t>
            </a:r>
          </a:p>
          <a:p>
            <a:pPr marL="298450" indent="-285750">
              <a:spcBef>
                <a:spcPts val="100"/>
              </a:spcBef>
              <a:buClr>
                <a:srgbClr val="A36C3F"/>
              </a:buClr>
              <a:buSzPct val="106666"/>
              <a:buFont typeface="Segoe UI Symbol"/>
              <a:buChar char="❑"/>
              <a:tabLst>
                <a:tab pos="298450" algn="l"/>
              </a:tabLst>
            </a:pPr>
            <a:r>
              <a:rPr lang="ar-SA" sz="1500" kern="0" dirty="0">
                <a:solidFill>
                  <a:srgbClr val="A78B5E"/>
                </a:solidFill>
                <a:latin typeface="Tahoma"/>
                <a:cs typeface="Tahoma"/>
              </a:rPr>
              <a:t>المتابعة الفعّالة لعملية التنفيذ</a:t>
            </a:r>
          </a:p>
          <a:p>
            <a:pPr marL="298450" indent="-285750">
              <a:spcBef>
                <a:spcPts val="100"/>
              </a:spcBef>
              <a:buClr>
                <a:srgbClr val="A36C3F"/>
              </a:buClr>
              <a:buSzPct val="106666"/>
              <a:buFont typeface="Segoe UI Symbol"/>
              <a:buChar char="❑"/>
              <a:tabLst>
                <a:tab pos="298450" algn="l"/>
              </a:tabLst>
            </a:pPr>
            <a:r>
              <a:rPr lang="ar-SA" sz="1500" kern="0" spc="-35" dirty="0">
                <a:solidFill>
                  <a:srgbClr val="A78B5E"/>
                </a:solidFill>
                <a:latin typeface="Tahoma"/>
                <a:cs typeface="Tahoma"/>
              </a:rPr>
              <a:t>إعادة ضبط الخطة</a:t>
            </a:r>
          </a:p>
          <a:p>
            <a:pPr marL="298450" indent="-285750">
              <a:spcBef>
                <a:spcPts val="100"/>
              </a:spcBef>
              <a:buClr>
                <a:srgbClr val="A36C3F"/>
              </a:buClr>
              <a:buSzPct val="106666"/>
              <a:buFont typeface="Segoe UI Symbol"/>
              <a:buChar char="❑"/>
              <a:tabLst>
                <a:tab pos="298450" algn="l"/>
              </a:tabLst>
            </a:pPr>
            <a:r>
              <a:rPr lang="ar-SA" sz="1500" kern="0" spc="-10" dirty="0">
                <a:solidFill>
                  <a:srgbClr val="A78B5E"/>
                </a:solidFill>
                <a:latin typeface="Tahoma"/>
                <a:cs typeface="Tahoma"/>
              </a:rPr>
              <a:t>قياس الأداء</a:t>
            </a:r>
          </a:p>
          <a:p>
            <a:pPr marL="298450" indent="-285750">
              <a:spcBef>
                <a:spcPts val="100"/>
              </a:spcBef>
              <a:buClr>
                <a:srgbClr val="A36C3F"/>
              </a:buClr>
              <a:buSzPct val="106666"/>
              <a:buFont typeface="Segoe UI Symbol"/>
              <a:buChar char="❑"/>
              <a:tabLst>
                <a:tab pos="298450" algn="l"/>
              </a:tabLst>
            </a:pPr>
            <a:r>
              <a:rPr lang="ar-SA" sz="1500" kern="0" dirty="0">
                <a:solidFill>
                  <a:srgbClr val="A78B5E"/>
                </a:solidFill>
                <a:latin typeface="Tahoma"/>
                <a:cs typeface="Tahoma"/>
              </a:rPr>
              <a:t>تطوير القدرات</a:t>
            </a:r>
          </a:p>
        </p:txBody>
      </p:sp>
      <p:sp>
        <p:nvSpPr>
          <p:cNvPr id="14" name="object 14">
            <a:extLst>
              <a:ext uri="{FF2B5EF4-FFF2-40B4-BE49-F238E27FC236}">
                <a16:creationId xmlns:a16="http://schemas.microsoft.com/office/drawing/2014/main" id="{4FE7B9DA-83EE-2456-5166-E482A7FC6E94}"/>
              </a:ext>
            </a:extLst>
          </p:cNvPr>
          <p:cNvSpPr txBox="1"/>
          <p:nvPr/>
        </p:nvSpPr>
        <p:spPr>
          <a:xfrm>
            <a:off x="10102089" y="1948637"/>
            <a:ext cx="363855" cy="1245870"/>
          </a:xfrm>
          <a:prstGeom prst="rect">
            <a:avLst/>
          </a:prstGeom>
        </p:spPr>
        <p:txBody>
          <a:bodyPr vert="horz" wrap="square" lIns="0" tIns="13335" rIns="0" bIns="0" rtlCol="0">
            <a:spAutoFit/>
          </a:bodyPr>
          <a:lstStyle/>
          <a:p>
            <a:pPr marL="12700">
              <a:spcBef>
                <a:spcPts val="105"/>
              </a:spcBef>
            </a:pPr>
            <a:r>
              <a:rPr sz="8000" kern="0" spc="-630" dirty="0">
                <a:solidFill>
                  <a:srgbClr val="A78B5E"/>
                </a:solidFill>
                <a:latin typeface="Tahoma"/>
                <a:cs typeface="Tahoma"/>
              </a:rPr>
              <a:t>”</a:t>
            </a:r>
            <a:endParaRPr sz="8000" kern="0" dirty="0">
              <a:solidFill>
                <a:srgbClr val="A78B5E"/>
              </a:solidFill>
              <a:latin typeface="Tahoma"/>
              <a:cs typeface="Tahoma"/>
            </a:endParaRPr>
          </a:p>
        </p:txBody>
      </p:sp>
      <p:sp>
        <p:nvSpPr>
          <p:cNvPr id="15" name="object 15">
            <a:extLst>
              <a:ext uri="{FF2B5EF4-FFF2-40B4-BE49-F238E27FC236}">
                <a16:creationId xmlns:a16="http://schemas.microsoft.com/office/drawing/2014/main" id="{C51C403F-3776-69A9-7D73-2A70B93BAC8D}"/>
              </a:ext>
            </a:extLst>
          </p:cNvPr>
          <p:cNvSpPr txBox="1"/>
          <p:nvPr/>
        </p:nvSpPr>
        <p:spPr>
          <a:xfrm>
            <a:off x="2210816" y="1420113"/>
            <a:ext cx="7866380" cy="1009892"/>
          </a:xfrm>
          <a:prstGeom prst="rect">
            <a:avLst/>
          </a:prstGeom>
        </p:spPr>
        <p:txBody>
          <a:bodyPr vert="horz" wrap="square" lIns="0" tIns="12065" rIns="0" bIns="0" rtlCol="0">
            <a:spAutoFit/>
          </a:bodyPr>
          <a:lstStyle/>
          <a:p>
            <a:pPr marL="12700" marR="5080" algn="just">
              <a:spcBef>
                <a:spcPts val="95"/>
              </a:spcBef>
            </a:pPr>
            <a:r>
              <a:rPr lang="ar-SA" sz="1600" kern="0" dirty="0">
                <a:solidFill>
                  <a:srgbClr val="A78B5E"/>
                </a:solidFill>
                <a:latin typeface="Tahoma"/>
                <a:cs typeface="Tahoma"/>
              </a:rPr>
              <a:t>إدارة الأداء: </a:t>
            </a:r>
            <a:r>
              <a:rPr lang="ar-SA" sz="1600" kern="0" dirty="0">
                <a:solidFill>
                  <a:srgbClr val="5F5F5F"/>
                </a:solidFill>
                <a:latin typeface="Tahoma"/>
                <a:cs typeface="Tahoma"/>
              </a:rPr>
              <a:t>هي النشاط البشري الشامل الذي يركّز على تحقيق النتائج المرجوّة، مما يعني إبراز الأداء وتحقيقه فعليًا. وهي تعبّر عن المنهج الذي تتبناه الجهة تجاه الأداء، وتتكامل مع المراحل السابقة واللاحقة ضمن مجالات العلوم الإدارية أو التخصصات الإدارية الأخرى.</a:t>
            </a:r>
          </a:p>
          <a:p>
            <a:pPr marL="12700" marR="5080" algn="just">
              <a:spcBef>
                <a:spcPts val="95"/>
              </a:spcBef>
            </a:pPr>
            <a:r>
              <a:rPr lang="ar-SA" sz="1600" kern="0" dirty="0" err="1">
                <a:solidFill>
                  <a:srgbClr val="5F5F5F"/>
                </a:solidFill>
                <a:latin typeface="Tahoma"/>
                <a:cs typeface="Tahoma"/>
              </a:rPr>
              <a:t>أوريل</a:t>
            </a:r>
            <a:r>
              <a:rPr lang="ar-SA" sz="1600" kern="0" dirty="0">
                <a:solidFill>
                  <a:srgbClr val="5F5F5F"/>
                </a:solidFill>
                <a:latin typeface="Tahoma"/>
                <a:cs typeface="Tahoma"/>
              </a:rPr>
              <a:t> برودان، 2017</a:t>
            </a:r>
            <a:endParaRPr sz="1600" kern="0" dirty="0">
              <a:solidFill>
                <a:sysClr val="windowText" lastClr="000000"/>
              </a:solidFill>
              <a:latin typeface="Lucida Sans"/>
              <a:cs typeface="Lucida Sans"/>
            </a:endParaRPr>
          </a:p>
        </p:txBody>
      </p:sp>
      <p:sp>
        <p:nvSpPr>
          <p:cNvPr id="16" name="object 16">
            <a:extLst>
              <a:ext uri="{FF2B5EF4-FFF2-40B4-BE49-F238E27FC236}">
                <a16:creationId xmlns:a16="http://schemas.microsoft.com/office/drawing/2014/main" id="{04A0EDF9-D7F5-6A79-C5CD-737F43F85633}"/>
              </a:ext>
            </a:extLst>
          </p:cNvPr>
          <p:cNvSpPr txBox="1"/>
          <p:nvPr/>
        </p:nvSpPr>
        <p:spPr>
          <a:xfrm>
            <a:off x="1722832" y="1063827"/>
            <a:ext cx="363855" cy="1245870"/>
          </a:xfrm>
          <a:prstGeom prst="rect">
            <a:avLst/>
          </a:prstGeom>
        </p:spPr>
        <p:txBody>
          <a:bodyPr vert="horz" wrap="square" lIns="0" tIns="13335" rIns="0" bIns="0" rtlCol="0">
            <a:spAutoFit/>
          </a:bodyPr>
          <a:lstStyle/>
          <a:p>
            <a:pPr marL="12700">
              <a:spcBef>
                <a:spcPts val="105"/>
              </a:spcBef>
            </a:pPr>
            <a:r>
              <a:rPr sz="8000" kern="0" spc="-630" dirty="0">
                <a:solidFill>
                  <a:srgbClr val="A78B5E"/>
                </a:solidFill>
                <a:latin typeface="Tahoma"/>
                <a:cs typeface="Tahoma"/>
              </a:rPr>
              <a:t>“</a:t>
            </a:r>
            <a:endParaRPr sz="8000" kern="0" dirty="0">
              <a:solidFill>
                <a:srgbClr val="A78B5E"/>
              </a:solidFill>
              <a:latin typeface="Tahoma"/>
              <a:cs typeface="Tahoma"/>
            </a:endParaRPr>
          </a:p>
        </p:txBody>
      </p:sp>
    </p:spTree>
    <p:extLst>
      <p:ext uri="{BB962C8B-B14F-4D97-AF65-F5344CB8AC3E}">
        <p14:creationId xmlns:p14="http://schemas.microsoft.com/office/powerpoint/2010/main" val="161830037"/>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D7EEB0-1000-1F16-215C-C20B97DE0B84}"/>
            </a:ext>
          </a:extLst>
        </p:cNvPr>
        <p:cNvGrpSpPr/>
        <p:nvPr/>
      </p:nvGrpSpPr>
      <p:grpSpPr>
        <a:xfrm>
          <a:off x="0" y="0"/>
          <a:ext cx="0" cy="0"/>
          <a:chOff x="0" y="0"/>
          <a:chExt cx="0" cy="0"/>
        </a:xfrm>
      </p:grpSpPr>
      <p:sp>
        <p:nvSpPr>
          <p:cNvPr id="17" name="object 2">
            <a:extLst>
              <a:ext uri="{FF2B5EF4-FFF2-40B4-BE49-F238E27FC236}">
                <a16:creationId xmlns:a16="http://schemas.microsoft.com/office/drawing/2014/main" id="{7786EC5C-1DF5-8D83-F590-62274C7C3B84}"/>
              </a:ext>
            </a:extLst>
          </p:cNvPr>
          <p:cNvSpPr txBox="1">
            <a:spLocks/>
          </p:cNvSpPr>
          <p:nvPr/>
        </p:nvSpPr>
        <p:spPr>
          <a:xfrm>
            <a:off x="1668814" y="157558"/>
            <a:ext cx="11292772" cy="888410"/>
          </a:xfrm>
          <a:prstGeom prst="rect">
            <a:avLst/>
          </a:prstGeom>
        </p:spPr>
        <p:txBody>
          <a:bodyPr vert="horz" wrap="square" lIns="0" tIns="209258" rIns="0" bIns="0" rtlCol="0">
            <a:sp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31115">
              <a:spcBef>
                <a:spcPts val="100"/>
              </a:spcBef>
            </a:pPr>
            <a:r>
              <a:rPr lang="ar-SA" dirty="0">
                <a:solidFill>
                  <a:srgbClr val="A36C3F"/>
                </a:solidFill>
              </a:rPr>
              <a:t>المصطلحات والأدوات المرتبطة بـ الأداء</a:t>
            </a:r>
          </a:p>
        </p:txBody>
      </p:sp>
      <p:sp>
        <p:nvSpPr>
          <p:cNvPr id="18" name="object 3">
            <a:extLst>
              <a:ext uri="{FF2B5EF4-FFF2-40B4-BE49-F238E27FC236}">
                <a16:creationId xmlns:a16="http://schemas.microsoft.com/office/drawing/2014/main" id="{AF3664F2-DD47-B7AD-838F-C863FCAE86CF}"/>
              </a:ext>
            </a:extLst>
          </p:cNvPr>
          <p:cNvSpPr txBox="1"/>
          <p:nvPr/>
        </p:nvSpPr>
        <p:spPr>
          <a:xfrm>
            <a:off x="1869629" y="1426908"/>
            <a:ext cx="7826375" cy="242952"/>
          </a:xfrm>
          <a:prstGeom prst="rect">
            <a:avLst/>
          </a:prstGeom>
        </p:spPr>
        <p:txBody>
          <a:bodyPr vert="horz" wrap="square" lIns="0" tIns="10795" rIns="0" bIns="0" rtlCol="0">
            <a:spAutoFit/>
          </a:bodyPr>
          <a:lstStyle/>
          <a:p>
            <a:pPr marL="12700" marR="5080">
              <a:lnSpc>
                <a:spcPct val="100600"/>
              </a:lnSpc>
              <a:spcBef>
                <a:spcPts val="85"/>
              </a:spcBef>
            </a:pPr>
            <a:r>
              <a:rPr lang="ar-SA" sz="1600" kern="0" dirty="0">
                <a:solidFill>
                  <a:srgbClr val="A78B5E"/>
                </a:solidFill>
                <a:latin typeface="Century Gothic"/>
                <a:cs typeface="Century Gothic"/>
              </a:rPr>
              <a:t>هيكل أفضل، توافق أكبر، تكامل فعّال، واستغلال أمثل لما هو موجود بالفعل هو الحل لتحسين ممارسات إدارة الأداء</a:t>
            </a:r>
          </a:p>
        </p:txBody>
      </p:sp>
      <p:sp>
        <p:nvSpPr>
          <p:cNvPr id="19" name="object 4">
            <a:extLst>
              <a:ext uri="{FF2B5EF4-FFF2-40B4-BE49-F238E27FC236}">
                <a16:creationId xmlns:a16="http://schemas.microsoft.com/office/drawing/2014/main" id="{FD3E53E8-13FD-88EE-ECC6-1B15F72F2550}"/>
              </a:ext>
            </a:extLst>
          </p:cNvPr>
          <p:cNvSpPr txBox="1"/>
          <p:nvPr/>
        </p:nvSpPr>
        <p:spPr>
          <a:xfrm>
            <a:off x="2851150" y="2258695"/>
            <a:ext cx="1588770" cy="1290097"/>
          </a:xfrm>
          <a:prstGeom prst="rect">
            <a:avLst/>
          </a:prstGeom>
        </p:spPr>
        <p:txBody>
          <a:bodyPr vert="horz" wrap="square" lIns="0" tIns="12700" rIns="0" bIns="0" rtlCol="0">
            <a:spAutoFit/>
          </a:bodyPr>
          <a:lstStyle/>
          <a:p>
            <a:pPr marL="299085" indent="-286385">
              <a:lnSpc>
                <a:spcPts val="2150"/>
              </a:lnSpc>
              <a:spcBef>
                <a:spcPts val="100"/>
              </a:spcBef>
              <a:buClr>
                <a:srgbClr val="A36C3F"/>
              </a:buClr>
              <a:buSzPct val="72222"/>
              <a:buFont typeface="Segoe UI Symbol"/>
              <a:buChar char="⮚"/>
              <a:tabLst>
                <a:tab pos="299085" algn="l"/>
              </a:tabLst>
            </a:pPr>
            <a:r>
              <a:rPr lang="ar-SA" sz="1400" kern="0" spc="-10" dirty="0">
                <a:solidFill>
                  <a:srgbClr val="A78B5E"/>
                </a:solidFill>
                <a:latin typeface="Arial" panose="020B0604020202020204" pitchFamily="34" charset="0"/>
                <a:cs typeface="Arial" panose="020B0604020202020204" pitchFamily="34" charset="0"/>
              </a:rPr>
              <a:t>أصحاب المصلحة</a:t>
            </a:r>
            <a:endParaRPr sz="1400" kern="0" dirty="0">
              <a:solidFill>
                <a:srgbClr val="A78B5E"/>
              </a:solidFill>
              <a:latin typeface="Arial" panose="020B0604020202020204" pitchFamily="34" charset="0"/>
              <a:cs typeface="Arial" panose="020B0604020202020204" pitchFamily="34" charset="0"/>
            </a:endParaRPr>
          </a:p>
          <a:p>
            <a:pPr marL="299085" indent="-286385">
              <a:lnSpc>
                <a:spcPts val="2150"/>
              </a:lnSpc>
              <a:buClr>
                <a:srgbClr val="A36C3F"/>
              </a:buClr>
              <a:buSzPct val="72222"/>
              <a:buFont typeface="Segoe UI Symbol"/>
              <a:buChar char="⮚"/>
              <a:tabLst>
                <a:tab pos="299085" algn="l"/>
              </a:tabLst>
            </a:pPr>
            <a:r>
              <a:rPr lang="ar-SA" sz="1400" kern="0" spc="-10" dirty="0">
                <a:solidFill>
                  <a:srgbClr val="A78B5E"/>
                </a:solidFill>
                <a:latin typeface="Arial" panose="020B0604020202020204" pitchFamily="34" charset="0"/>
                <a:cs typeface="Arial" panose="020B0604020202020204" pitchFamily="34" charset="0"/>
              </a:rPr>
              <a:t>النقاشات</a:t>
            </a:r>
          </a:p>
          <a:p>
            <a:pPr marL="299085" indent="-286385">
              <a:lnSpc>
                <a:spcPts val="2150"/>
              </a:lnSpc>
              <a:buClr>
                <a:srgbClr val="A36C3F"/>
              </a:buClr>
              <a:buSzPct val="72222"/>
              <a:buFont typeface="Segoe UI Symbol"/>
              <a:buChar char="⮚"/>
              <a:tabLst>
                <a:tab pos="299085" algn="l"/>
              </a:tabLst>
            </a:pPr>
            <a:r>
              <a:rPr lang="ar-SA" sz="1400" kern="0" spc="-10" dirty="0">
                <a:solidFill>
                  <a:srgbClr val="A78B5E"/>
                </a:solidFill>
                <a:latin typeface="Arial" panose="020B0604020202020204" pitchFamily="34" charset="0"/>
                <a:cs typeface="Arial" panose="020B0604020202020204" pitchFamily="34" charset="0"/>
              </a:rPr>
              <a:t>المنتديات</a:t>
            </a:r>
            <a:endParaRPr sz="1400" kern="0" dirty="0">
              <a:solidFill>
                <a:srgbClr val="A78B5E"/>
              </a:solidFill>
              <a:latin typeface="Arial" panose="020B0604020202020204" pitchFamily="34" charset="0"/>
              <a:cs typeface="Arial" panose="020B0604020202020204" pitchFamily="34" charset="0"/>
            </a:endParaRPr>
          </a:p>
          <a:p>
            <a:pPr marL="299085" indent="-286385">
              <a:buClr>
                <a:srgbClr val="A36C3F"/>
              </a:buClr>
              <a:buSzPct val="72222"/>
              <a:buFont typeface="Segoe UI Symbol"/>
              <a:buChar char="⮚"/>
              <a:tabLst>
                <a:tab pos="299085" algn="l"/>
              </a:tabLst>
            </a:pPr>
            <a:r>
              <a:rPr lang="ar-SA" sz="1400" kern="0" spc="-10" dirty="0">
                <a:solidFill>
                  <a:srgbClr val="A78B5E"/>
                </a:solidFill>
                <a:latin typeface="Arial" panose="020B0604020202020204" pitchFamily="34" charset="0"/>
                <a:cs typeface="Arial" panose="020B0604020202020204" pitchFamily="34" charset="0"/>
              </a:rPr>
              <a:t>التدريب</a:t>
            </a:r>
            <a:endParaRPr sz="1400" kern="0" dirty="0">
              <a:solidFill>
                <a:srgbClr val="A78B5E"/>
              </a:solidFill>
              <a:latin typeface="Arial" panose="020B0604020202020204" pitchFamily="34" charset="0"/>
              <a:cs typeface="Arial" panose="020B0604020202020204" pitchFamily="34" charset="0"/>
            </a:endParaRPr>
          </a:p>
          <a:p>
            <a:pPr marL="299085" indent="-286385">
              <a:buClr>
                <a:srgbClr val="A36C3F"/>
              </a:buClr>
              <a:buSzPct val="72222"/>
              <a:buFont typeface="Segoe UI Symbol"/>
              <a:buChar char="⮚"/>
              <a:tabLst>
                <a:tab pos="299085" algn="l"/>
              </a:tabLst>
            </a:pPr>
            <a:r>
              <a:rPr lang="ar-SA" sz="1400" kern="0" spc="-10" dirty="0">
                <a:solidFill>
                  <a:srgbClr val="A78B5E"/>
                </a:solidFill>
                <a:latin typeface="Arial" panose="020B0604020202020204" pitchFamily="34" charset="0"/>
                <a:cs typeface="Arial" panose="020B0604020202020204" pitchFamily="34" charset="0"/>
              </a:rPr>
              <a:t>المكافآت</a:t>
            </a:r>
            <a:endParaRPr sz="1400" kern="0" dirty="0">
              <a:solidFill>
                <a:srgbClr val="A78B5E"/>
              </a:solidFill>
              <a:latin typeface="Arial" panose="020B0604020202020204" pitchFamily="34" charset="0"/>
              <a:cs typeface="Arial" panose="020B0604020202020204" pitchFamily="34" charset="0"/>
            </a:endParaRPr>
          </a:p>
        </p:txBody>
      </p:sp>
      <p:sp>
        <p:nvSpPr>
          <p:cNvPr id="20" name="object 5">
            <a:extLst>
              <a:ext uri="{FF2B5EF4-FFF2-40B4-BE49-F238E27FC236}">
                <a16:creationId xmlns:a16="http://schemas.microsoft.com/office/drawing/2014/main" id="{4C7E3088-F665-8101-6706-AB84A70376A9}"/>
              </a:ext>
            </a:extLst>
          </p:cNvPr>
          <p:cNvSpPr txBox="1"/>
          <p:nvPr/>
        </p:nvSpPr>
        <p:spPr>
          <a:xfrm>
            <a:off x="7050023" y="3297334"/>
            <a:ext cx="1492250" cy="1490152"/>
          </a:xfrm>
          <a:prstGeom prst="rect">
            <a:avLst/>
          </a:prstGeom>
        </p:spPr>
        <p:txBody>
          <a:bodyPr vert="horz" wrap="square" lIns="0" tIns="12700" rIns="0" bIns="0" rtlCol="0">
            <a:spAutoFit/>
          </a:bodyPr>
          <a:lstStyle/>
          <a:p>
            <a:pPr marL="299085" indent="-286385">
              <a:spcBef>
                <a:spcPts val="100"/>
              </a:spcBef>
              <a:buClr>
                <a:srgbClr val="A36C3F"/>
              </a:buClr>
              <a:buSzPct val="72222"/>
              <a:buFont typeface="Segoe UI Symbol"/>
              <a:buChar char="⮚"/>
              <a:tabLst>
                <a:tab pos="299085" algn="l"/>
              </a:tabLst>
            </a:pPr>
            <a:r>
              <a:rPr lang="ar-SA" sz="1600" dirty="0">
                <a:solidFill>
                  <a:srgbClr val="A78B5E"/>
                </a:solidFill>
              </a:rPr>
              <a:t>الخطط</a:t>
            </a:r>
            <a:endParaRPr lang="en-US" sz="1600" kern="0" dirty="0">
              <a:solidFill>
                <a:srgbClr val="A78B5E"/>
              </a:solidFill>
              <a:latin typeface="Tahoma"/>
              <a:cs typeface="Tahoma"/>
            </a:endParaRPr>
          </a:p>
          <a:p>
            <a:pPr marL="299085" indent="-286385">
              <a:buClr>
                <a:srgbClr val="A36C3F"/>
              </a:buClr>
              <a:buSzPct val="72222"/>
              <a:buFont typeface="Segoe UI Symbol"/>
              <a:buChar char="⮚"/>
              <a:tabLst>
                <a:tab pos="299085" algn="l"/>
              </a:tabLst>
            </a:pPr>
            <a:r>
              <a:rPr lang="ar-SA" sz="1600" dirty="0">
                <a:solidFill>
                  <a:srgbClr val="A78B5E"/>
                </a:solidFill>
              </a:rPr>
              <a:t>الميزانيات</a:t>
            </a:r>
            <a:endParaRPr lang="en-US" sz="1600" kern="0" dirty="0">
              <a:solidFill>
                <a:srgbClr val="A78B5E"/>
              </a:solidFill>
              <a:latin typeface="Tahoma"/>
              <a:cs typeface="Tahoma"/>
            </a:endParaRPr>
          </a:p>
          <a:p>
            <a:pPr marL="299085" indent="-286385">
              <a:buClr>
                <a:srgbClr val="A36C3F"/>
              </a:buClr>
              <a:buSzPct val="72222"/>
              <a:buFont typeface="Segoe UI Symbol"/>
              <a:buChar char="⮚"/>
              <a:tabLst>
                <a:tab pos="299085" algn="l"/>
              </a:tabLst>
            </a:pPr>
            <a:r>
              <a:rPr lang="ar-SA" sz="1600" dirty="0">
                <a:solidFill>
                  <a:srgbClr val="A78B5E"/>
                </a:solidFill>
              </a:rPr>
              <a:t>المشاريع</a:t>
            </a:r>
            <a:endParaRPr lang="en-US" sz="1600" kern="0" dirty="0">
              <a:solidFill>
                <a:srgbClr val="A78B5E"/>
              </a:solidFill>
              <a:latin typeface="Tahoma"/>
              <a:cs typeface="Tahoma"/>
            </a:endParaRPr>
          </a:p>
          <a:p>
            <a:pPr marL="299085" indent="-286385">
              <a:buClr>
                <a:srgbClr val="A36C3F"/>
              </a:buClr>
              <a:buSzPct val="72222"/>
              <a:buFont typeface="Segoe UI Symbol"/>
              <a:buChar char="⮚"/>
              <a:tabLst>
                <a:tab pos="299085" algn="l"/>
              </a:tabLst>
            </a:pPr>
            <a:r>
              <a:rPr lang="ar-SA" sz="1600" dirty="0">
                <a:solidFill>
                  <a:srgbClr val="A78B5E"/>
                </a:solidFill>
              </a:rPr>
              <a:t>بطاقات الأداء</a:t>
            </a:r>
            <a:endParaRPr lang="en-US" sz="1600" kern="0" dirty="0">
              <a:solidFill>
                <a:srgbClr val="A78B5E"/>
              </a:solidFill>
              <a:latin typeface="Tahoma"/>
              <a:cs typeface="Tahoma"/>
            </a:endParaRPr>
          </a:p>
          <a:p>
            <a:pPr marL="299085" indent="-286385">
              <a:buClr>
                <a:srgbClr val="A36C3F"/>
              </a:buClr>
              <a:buSzPct val="72222"/>
              <a:buFont typeface="Segoe UI Symbol"/>
              <a:buChar char="⮚"/>
              <a:tabLst>
                <a:tab pos="299085" algn="l"/>
              </a:tabLst>
            </a:pPr>
            <a:r>
              <a:rPr lang="ar-SA" sz="1600" dirty="0">
                <a:solidFill>
                  <a:srgbClr val="A78B5E"/>
                </a:solidFill>
              </a:rPr>
              <a:t>لوحات التحكم</a:t>
            </a:r>
            <a:endParaRPr lang="en-US" sz="1600" kern="0" dirty="0">
              <a:solidFill>
                <a:srgbClr val="A78B5E"/>
              </a:solidFill>
              <a:latin typeface="Tahoma"/>
              <a:cs typeface="Tahoma"/>
            </a:endParaRPr>
          </a:p>
          <a:p>
            <a:pPr marL="299085" indent="-286385">
              <a:buClr>
                <a:srgbClr val="A36C3F"/>
              </a:buClr>
              <a:buSzPct val="72222"/>
              <a:buFont typeface="Segoe UI Symbol"/>
              <a:buChar char="⮚"/>
              <a:tabLst>
                <a:tab pos="299085" algn="l"/>
              </a:tabLst>
            </a:pPr>
            <a:r>
              <a:rPr lang="ar-SA" sz="1600" dirty="0">
                <a:solidFill>
                  <a:srgbClr val="A78B5E"/>
                </a:solidFill>
              </a:rPr>
              <a:t>التقارير</a:t>
            </a:r>
            <a:endParaRPr lang="en-US" sz="1600" kern="0" dirty="0">
              <a:solidFill>
                <a:srgbClr val="A78B5E"/>
              </a:solidFill>
              <a:latin typeface="Tahoma"/>
              <a:cs typeface="Tahoma"/>
            </a:endParaRPr>
          </a:p>
        </p:txBody>
      </p:sp>
      <p:sp>
        <p:nvSpPr>
          <p:cNvPr id="21" name="object 6">
            <a:extLst>
              <a:ext uri="{FF2B5EF4-FFF2-40B4-BE49-F238E27FC236}">
                <a16:creationId xmlns:a16="http://schemas.microsoft.com/office/drawing/2014/main" id="{6EE56357-213D-9F74-B84A-EABFF63EF2DC}"/>
              </a:ext>
            </a:extLst>
          </p:cNvPr>
          <p:cNvSpPr txBox="1"/>
          <p:nvPr/>
        </p:nvSpPr>
        <p:spPr>
          <a:xfrm>
            <a:off x="2127376" y="4465510"/>
            <a:ext cx="2388235" cy="1654299"/>
          </a:xfrm>
          <a:prstGeom prst="rect">
            <a:avLst/>
          </a:prstGeom>
        </p:spPr>
        <p:txBody>
          <a:bodyPr vert="horz" wrap="square" lIns="0" tIns="12700" rIns="0" bIns="0" rtlCol="0">
            <a:spAutoFit/>
          </a:bodyPr>
          <a:lstStyle/>
          <a:p>
            <a:pPr marL="299085" indent="-286385">
              <a:spcBef>
                <a:spcPts val="100"/>
              </a:spcBef>
              <a:buClr>
                <a:srgbClr val="A36C3F"/>
              </a:buClr>
              <a:buSzPct val="72222"/>
              <a:buFont typeface="Segoe UI Symbol"/>
              <a:buChar char="⮚"/>
              <a:tabLst>
                <a:tab pos="299085" algn="l"/>
              </a:tabLst>
            </a:pPr>
            <a:r>
              <a:rPr lang="ar-SA" sz="1400" dirty="0">
                <a:solidFill>
                  <a:srgbClr val="A78B5E"/>
                </a:solidFill>
                <a:latin typeface="Arial" panose="020B0604020202020204" pitchFamily="34" charset="0"/>
                <a:cs typeface="Arial" panose="020B0604020202020204" pitchFamily="34" charset="0"/>
              </a:rPr>
              <a:t>الأهداف</a:t>
            </a:r>
            <a:endParaRPr sz="1400" kern="0" dirty="0">
              <a:solidFill>
                <a:srgbClr val="A78B5E"/>
              </a:solidFill>
              <a:latin typeface="Arial" panose="020B0604020202020204" pitchFamily="34" charset="0"/>
              <a:cs typeface="Arial" panose="020B0604020202020204" pitchFamily="34" charset="0"/>
            </a:endParaRPr>
          </a:p>
          <a:p>
            <a:pPr marL="299085" indent="-286385">
              <a:buClr>
                <a:srgbClr val="A36C3F"/>
              </a:buClr>
              <a:buSzPct val="72222"/>
              <a:buFont typeface="Segoe UI Symbol"/>
              <a:buChar char="⮚"/>
              <a:tabLst>
                <a:tab pos="299085" algn="l"/>
              </a:tabLst>
            </a:pPr>
            <a:r>
              <a:rPr lang="ar-SA" sz="1400" dirty="0">
                <a:solidFill>
                  <a:srgbClr val="A78B5E"/>
                </a:solidFill>
                <a:latin typeface="Arial" panose="020B0604020202020204" pitchFamily="34" charset="0"/>
                <a:cs typeface="Arial" panose="020B0604020202020204" pitchFamily="34" charset="0"/>
              </a:rPr>
              <a:t>الغايات</a:t>
            </a:r>
            <a:endParaRPr sz="1400" kern="0" dirty="0">
              <a:solidFill>
                <a:srgbClr val="A78B5E"/>
              </a:solidFill>
              <a:latin typeface="Arial" panose="020B0604020202020204" pitchFamily="34" charset="0"/>
              <a:cs typeface="Arial" panose="020B0604020202020204" pitchFamily="34" charset="0"/>
            </a:endParaRPr>
          </a:p>
          <a:p>
            <a:pPr marL="299085" indent="-286385">
              <a:buClr>
                <a:srgbClr val="A36C3F"/>
              </a:buClr>
              <a:buSzPct val="72222"/>
              <a:buFont typeface="Segoe UI Symbol"/>
              <a:buChar char="⮚"/>
              <a:tabLst>
                <a:tab pos="299085" algn="l"/>
              </a:tabLst>
            </a:pPr>
            <a:r>
              <a:rPr lang="ar-SA" sz="1400" dirty="0">
                <a:solidFill>
                  <a:srgbClr val="A78B5E"/>
                </a:solidFill>
                <a:latin typeface="Arial" panose="020B0604020202020204" pitchFamily="34" charset="0"/>
                <a:cs typeface="Arial" panose="020B0604020202020204" pitchFamily="34" charset="0"/>
              </a:rPr>
              <a:t>مؤشرات الأداء الرئيسية (</a:t>
            </a:r>
            <a:r>
              <a:rPr lang="en-US" sz="1400" dirty="0">
                <a:solidFill>
                  <a:srgbClr val="A78B5E"/>
                </a:solidFill>
                <a:latin typeface="Arial" panose="020B0604020202020204" pitchFamily="34" charset="0"/>
                <a:cs typeface="Arial" panose="020B0604020202020204" pitchFamily="34" charset="0"/>
              </a:rPr>
              <a:t>KPIs)</a:t>
            </a:r>
            <a:endParaRPr lang="en-US" sz="1400" kern="0" dirty="0">
              <a:solidFill>
                <a:srgbClr val="A78B5E"/>
              </a:solidFill>
              <a:latin typeface="Arial" panose="020B0604020202020204" pitchFamily="34" charset="0"/>
              <a:cs typeface="Arial" panose="020B0604020202020204" pitchFamily="34" charset="0"/>
            </a:endParaRPr>
          </a:p>
          <a:p>
            <a:pPr marL="299085" indent="-286385">
              <a:lnSpc>
                <a:spcPts val="2150"/>
              </a:lnSpc>
              <a:spcBef>
                <a:spcPts val="25"/>
              </a:spcBef>
              <a:buClr>
                <a:srgbClr val="A36C3F"/>
              </a:buClr>
              <a:buSzPct val="72222"/>
              <a:buFont typeface="Segoe UI Symbol"/>
              <a:buChar char="⮚"/>
              <a:tabLst>
                <a:tab pos="299085" algn="l"/>
              </a:tabLst>
            </a:pPr>
            <a:r>
              <a:rPr lang="ar-SA" sz="1400" dirty="0">
                <a:solidFill>
                  <a:srgbClr val="A78B5E"/>
                </a:solidFill>
                <a:latin typeface="Arial" panose="020B0604020202020204" pitchFamily="34" charset="0"/>
                <a:cs typeface="Arial" panose="020B0604020202020204" pitchFamily="34" charset="0"/>
              </a:rPr>
              <a:t>الأهداف المستهدفة</a:t>
            </a:r>
            <a:endParaRPr lang="en-US" sz="1400" kern="0" dirty="0">
              <a:solidFill>
                <a:srgbClr val="A78B5E"/>
              </a:solidFill>
              <a:latin typeface="Arial" panose="020B0604020202020204" pitchFamily="34" charset="0"/>
              <a:cs typeface="Arial" panose="020B0604020202020204" pitchFamily="34" charset="0"/>
            </a:endParaRPr>
          </a:p>
          <a:p>
            <a:pPr marL="299085" indent="-286385">
              <a:lnSpc>
                <a:spcPts val="2150"/>
              </a:lnSpc>
              <a:buClr>
                <a:srgbClr val="A36C3F"/>
              </a:buClr>
              <a:buSzPct val="72222"/>
              <a:buFont typeface="Segoe UI Symbol"/>
              <a:buChar char="⮚"/>
              <a:tabLst>
                <a:tab pos="299085" algn="l"/>
              </a:tabLst>
            </a:pPr>
            <a:r>
              <a:rPr lang="ar-SA" sz="1400" dirty="0">
                <a:solidFill>
                  <a:srgbClr val="A78B5E"/>
                </a:solidFill>
                <a:latin typeface="Arial" panose="020B0604020202020204" pitchFamily="34" charset="0"/>
                <a:cs typeface="Arial" panose="020B0604020202020204" pitchFamily="34" charset="0"/>
              </a:rPr>
              <a:t>التقنية</a:t>
            </a:r>
            <a:endParaRPr sz="1400" kern="0" dirty="0">
              <a:solidFill>
                <a:srgbClr val="A78B5E"/>
              </a:solidFill>
              <a:latin typeface="Arial" panose="020B0604020202020204" pitchFamily="34" charset="0"/>
              <a:cs typeface="Arial" panose="020B0604020202020204" pitchFamily="34" charset="0"/>
            </a:endParaRPr>
          </a:p>
          <a:p>
            <a:pPr marL="299085" indent="-286385">
              <a:spcBef>
                <a:spcPts val="25"/>
              </a:spcBef>
              <a:buClr>
                <a:srgbClr val="A36C3F"/>
              </a:buClr>
              <a:buSzPct val="72222"/>
              <a:buFont typeface="Segoe UI Symbol"/>
              <a:buChar char="⮚"/>
              <a:tabLst>
                <a:tab pos="299085" algn="l"/>
              </a:tabLst>
            </a:pPr>
            <a:r>
              <a:rPr lang="ar-SA" sz="1400" dirty="0">
                <a:solidFill>
                  <a:srgbClr val="A78B5E"/>
                </a:solidFill>
                <a:latin typeface="Arial" panose="020B0604020202020204" pitchFamily="34" charset="0"/>
                <a:cs typeface="Arial" panose="020B0604020202020204" pitchFamily="34" charset="0"/>
              </a:rPr>
              <a:t>الاجتماعات</a:t>
            </a:r>
            <a:endParaRPr sz="1400" kern="0" dirty="0">
              <a:solidFill>
                <a:srgbClr val="A78B5E"/>
              </a:solidFill>
              <a:latin typeface="Arial" panose="020B0604020202020204" pitchFamily="34" charset="0"/>
              <a:cs typeface="Arial" panose="020B0604020202020204" pitchFamily="34" charset="0"/>
            </a:endParaRPr>
          </a:p>
          <a:p>
            <a:pPr marL="299085" indent="-286385">
              <a:buClr>
                <a:srgbClr val="A36C3F"/>
              </a:buClr>
              <a:buSzPct val="72222"/>
              <a:buFont typeface="Segoe UI Symbol"/>
              <a:buChar char="⮚"/>
              <a:tabLst>
                <a:tab pos="299085" algn="l"/>
              </a:tabLst>
            </a:pPr>
            <a:r>
              <a:rPr lang="ar-SA" sz="1400" kern="0" spc="-10" dirty="0">
                <a:solidFill>
                  <a:srgbClr val="A78B5E"/>
                </a:solidFill>
                <a:latin typeface="Arial" panose="020B0604020202020204" pitchFamily="34" charset="0"/>
                <a:cs typeface="Arial" panose="020B0604020202020204" pitchFamily="34" charset="0"/>
              </a:rPr>
              <a:t>مراجعات الأداء</a:t>
            </a:r>
            <a:endParaRPr sz="1400" kern="0" dirty="0">
              <a:solidFill>
                <a:srgbClr val="A78B5E"/>
              </a:solidFill>
              <a:latin typeface="Arial" panose="020B0604020202020204" pitchFamily="34" charset="0"/>
              <a:cs typeface="Arial" panose="020B0604020202020204" pitchFamily="34" charset="0"/>
            </a:endParaRPr>
          </a:p>
        </p:txBody>
      </p:sp>
      <p:pic>
        <p:nvPicPr>
          <p:cNvPr id="22" name="object 7">
            <a:extLst>
              <a:ext uri="{FF2B5EF4-FFF2-40B4-BE49-F238E27FC236}">
                <a16:creationId xmlns:a16="http://schemas.microsoft.com/office/drawing/2014/main" id="{21B9D7DB-4576-0A1C-209B-E7F060BC4332}"/>
              </a:ext>
            </a:extLst>
          </p:cNvPr>
          <p:cNvPicPr/>
          <p:nvPr/>
        </p:nvPicPr>
        <p:blipFill>
          <a:blip r:embed="rId2" cstate="print">
            <a:duotone>
              <a:prstClr val="black"/>
              <a:schemeClr val="accent6">
                <a:tint val="45000"/>
                <a:satMod val="400000"/>
              </a:schemeClr>
            </a:duotone>
          </a:blip>
          <a:stretch>
            <a:fillRect/>
          </a:stretch>
        </p:blipFill>
        <p:spPr>
          <a:xfrm>
            <a:off x="4515611" y="2775204"/>
            <a:ext cx="2534412" cy="2534412"/>
          </a:xfrm>
          <a:prstGeom prst="rect">
            <a:avLst/>
          </a:prstGeom>
        </p:spPr>
      </p:pic>
    </p:spTree>
    <p:extLst>
      <p:ext uri="{BB962C8B-B14F-4D97-AF65-F5344CB8AC3E}">
        <p14:creationId xmlns:p14="http://schemas.microsoft.com/office/powerpoint/2010/main" val="531483374"/>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45EF66-17BE-D9CF-C2ED-02E7BA7E7BC2}"/>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A2B5188E-6BE4-3F9C-48E1-E33F6E17B26F}"/>
              </a:ext>
            </a:extLst>
          </p:cNvPr>
          <p:cNvSpPr txBox="1">
            <a:spLocks/>
          </p:cNvSpPr>
          <p:nvPr/>
        </p:nvSpPr>
        <p:spPr>
          <a:xfrm>
            <a:off x="2524386" y="125979"/>
            <a:ext cx="11292772" cy="888410"/>
          </a:xfrm>
          <a:prstGeom prst="rect">
            <a:avLst/>
          </a:prstGeom>
        </p:spPr>
        <p:txBody>
          <a:bodyPr vert="horz" wrap="square" lIns="0" tIns="209258" rIns="0" bIns="0" rtlCol="0">
            <a:sp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31115">
              <a:spcBef>
                <a:spcPts val="100"/>
              </a:spcBef>
            </a:pPr>
            <a:r>
              <a:rPr lang="ar-SA" dirty="0">
                <a:solidFill>
                  <a:srgbClr val="A78B5E"/>
                </a:solidFill>
              </a:rPr>
              <a:t>نظرة عامة على أدوات الأداء</a:t>
            </a:r>
          </a:p>
        </p:txBody>
      </p:sp>
      <p:sp>
        <p:nvSpPr>
          <p:cNvPr id="3" name="object 3">
            <a:extLst>
              <a:ext uri="{FF2B5EF4-FFF2-40B4-BE49-F238E27FC236}">
                <a16:creationId xmlns:a16="http://schemas.microsoft.com/office/drawing/2014/main" id="{313D9C3C-B675-DE13-D81E-C34BE35B8CED}"/>
              </a:ext>
            </a:extLst>
          </p:cNvPr>
          <p:cNvSpPr/>
          <p:nvPr/>
        </p:nvSpPr>
        <p:spPr>
          <a:xfrm>
            <a:off x="2200656" y="1543938"/>
            <a:ext cx="2240915" cy="632460"/>
          </a:xfrm>
          <a:custGeom>
            <a:avLst/>
            <a:gdLst/>
            <a:ahLst/>
            <a:cxnLst/>
            <a:rect l="l" t="t" r="r" b="b"/>
            <a:pathLst>
              <a:path w="2240915" h="632460">
                <a:moveTo>
                  <a:pt x="1963293" y="0"/>
                </a:moveTo>
                <a:lnTo>
                  <a:pt x="49707" y="0"/>
                </a:lnTo>
                <a:lnTo>
                  <a:pt x="30646" y="3216"/>
                </a:lnTo>
                <a:lnTo>
                  <a:pt x="14814" y="14303"/>
                </a:lnTo>
                <a:lnTo>
                  <a:pt x="4002" y="31128"/>
                </a:lnTo>
                <a:lnTo>
                  <a:pt x="0" y="51562"/>
                </a:lnTo>
                <a:lnTo>
                  <a:pt x="0" y="580771"/>
                </a:lnTo>
                <a:lnTo>
                  <a:pt x="4002" y="600882"/>
                </a:lnTo>
                <a:lnTo>
                  <a:pt x="14814" y="617267"/>
                </a:lnTo>
                <a:lnTo>
                  <a:pt x="30646" y="628294"/>
                </a:lnTo>
                <a:lnTo>
                  <a:pt x="49707" y="632333"/>
                </a:lnTo>
                <a:lnTo>
                  <a:pt x="1957577" y="632333"/>
                </a:lnTo>
                <a:lnTo>
                  <a:pt x="1963293" y="630427"/>
                </a:lnTo>
                <a:lnTo>
                  <a:pt x="1970913" y="628523"/>
                </a:lnTo>
                <a:lnTo>
                  <a:pt x="2014559" y="582039"/>
                </a:lnTo>
                <a:lnTo>
                  <a:pt x="2105009" y="481631"/>
                </a:lnTo>
                <a:lnTo>
                  <a:pt x="2234819" y="336169"/>
                </a:lnTo>
                <a:lnTo>
                  <a:pt x="2240295" y="314721"/>
                </a:lnTo>
                <a:lnTo>
                  <a:pt x="2238301" y="304504"/>
                </a:lnTo>
                <a:lnTo>
                  <a:pt x="2232914" y="296037"/>
                </a:lnTo>
                <a:lnTo>
                  <a:pt x="2084629" y="128164"/>
                </a:lnTo>
                <a:lnTo>
                  <a:pt x="2007711" y="41767"/>
                </a:lnTo>
                <a:lnTo>
                  <a:pt x="1977417" y="9447"/>
                </a:lnTo>
                <a:lnTo>
                  <a:pt x="1963293" y="0"/>
                </a:lnTo>
                <a:close/>
              </a:path>
            </a:pathLst>
          </a:custGeom>
          <a:solidFill>
            <a:srgbClr val="C0A66C"/>
          </a:solidFill>
        </p:spPr>
        <p:txBody>
          <a:bodyPr wrap="square" lIns="0" tIns="0" rIns="0" bIns="0" rtlCol="0"/>
          <a:lstStyle/>
          <a:p>
            <a:endParaRPr kern="0">
              <a:solidFill>
                <a:sysClr val="windowText" lastClr="000000"/>
              </a:solidFill>
            </a:endParaRPr>
          </a:p>
        </p:txBody>
      </p:sp>
      <p:sp>
        <p:nvSpPr>
          <p:cNvPr id="4" name="object 4">
            <a:extLst>
              <a:ext uri="{FF2B5EF4-FFF2-40B4-BE49-F238E27FC236}">
                <a16:creationId xmlns:a16="http://schemas.microsoft.com/office/drawing/2014/main" id="{4389FAC5-CC42-F582-1A73-67C43CD3906E}"/>
              </a:ext>
            </a:extLst>
          </p:cNvPr>
          <p:cNvSpPr/>
          <p:nvPr/>
        </p:nvSpPr>
        <p:spPr>
          <a:xfrm>
            <a:off x="4919472" y="1543811"/>
            <a:ext cx="2135505" cy="632460"/>
          </a:xfrm>
          <a:custGeom>
            <a:avLst/>
            <a:gdLst/>
            <a:ahLst/>
            <a:cxnLst/>
            <a:rect l="l" t="t" r="r" b="b"/>
            <a:pathLst>
              <a:path w="2135504" h="632460">
                <a:moveTo>
                  <a:pt x="1858644" y="0"/>
                </a:moveTo>
                <a:lnTo>
                  <a:pt x="0" y="0"/>
                </a:lnTo>
                <a:lnTo>
                  <a:pt x="5714" y="1904"/>
                </a:lnTo>
                <a:lnTo>
                  <a:pt x="13335" y="3810"/>
                </a:lnTo>
                <a:lnTo>
                  <a:pt x="56995" y="50293"/>
                </a:lnTo>
                <a:lnTo>
                  <a:pt x="147351" y="150701"/>
                </a:lnTo>
                <a:lnTo>
                  <a:pt x="276987" y="296163"/>
                </a:lnTo>
                <a:lnTo>
                  <a:pt x="282344" y="305649"/>
                </a:lnTo>
                <a:lnTo>
                  <a:pt x="284130" y="316229"/>
                </a:lnTo>
                <a:lnTo>
                  <a:pt x="282344" y="326810"/>
                </a:lnTo>
                <a:lnTo>
                  <a:pt x="276987" y="336296"/>
                </a:lnTo>
                <a:lnTo>
                  <a:pt x="52101" y="590677"/>
                </a:lnTo>
                <a:lnTo>
                  <a:pt x="21812" y="623010"/>
                </a:lnTo>
                <a:lnTo>
                  <a:pt x="7619" y="632460"/>
                </a:lnTo>
                <a:lnTo>
                  <a:pt x="1851025" y="632460"/>
                </a:lnTo>
                <a:lnTo>
                  <a:pt x="1856739" y="630554"/>
                </a:lnTo>
                <a:lnTo>
                  <a:pt x="1864360" y="628650"/>
                </a:lnTo>
                <a:lnTo>
                  <a:pt x="1907966" y="582166"/>
                </a:lnTo>
                <a:lnTo>
                  <a:pt x="2128012" y="336296"/>
                </a:lnTo>
                <a:lnTo>
                  <a:pt x="2133369" y="326810"/>
                </a:lnTo>
                <a:lnTo>
                  <a:pt x="2135155" y="316229"/>
                </a:lnTo>
                <a:lnTo>
                  <a:pt x="2133369" y="305649"/>
                </a:lnTo>
                <a:lnTo>
                  <a:pt x="2128012" y="296163"/>
                </a:lnTo>
                <a:lnTo>
                  <a:pt x="1903031" y="41783"/>
                </a:lnTo>
                <a:lnTo>
                  <a:pt x="1872765" y="9449"/>
                </a:lnTo>
                <a:lnTo>
                  <a:pt x="1858644" y="0"/>
                </a:lnTo>
                <a:close/>
              </a:path>
            </a:pathLst>
          </a:custGeom>
          <a:solidFill>
            <a:srgbClr val="A78B5E"/>
          </a:solidFill>
        </p:spPr>
        <p:txBody>
          <a:bodyPr wrap="square" lIns="0" tIns="0" rIns="0" bIns="0" rtlCol="0"/>
          <a:lstStyle/>
          <a:p>
            <a:endParaRPr kern="0">
              <a:solidFill>
                <a:sysClr val="windowText" lastClr="000000"/>
              </a:solidFill>
            </a:endParaRPr>
          </a:p>
        </p:txBody>
      </p:sp>
      <p:sp>
        <p:nvSpPr>
          <p:cNvPr id="5" name="object 5">
            <a:extLst>
              <a:ext uri="{FF2B5EF4-FFF2-40B4-BE49-F238E27FC236}">
                <a16:creationId xmlns:a16="http://schemas.microsoft.com/office/drawing/2014/main" id="{0C5DFCC6-31F0-A9CE-745E-5EA1551DCAD4}"/>
              </a:ext>
            </a:extLst>
          </p:cNvPr>
          <p:cNvSpPr/>
          <p:nvPr/>
        </p:nvSpPr>
        <p:spPr>
          <a:xfrm>
            <a:off x="7610856" y="1543811"/>
            <a:ext cx="2135505" cy="632460"/>
          </a:xfrm>
          <a:custGeom>
            <a:avLst/>
            <a:gdLst/>
            <a:ahLst/>
            <a:cxnLst/>
            <a:rect l="l" t="t" r="r" b="b"/>
            <a:pathLst>
              <a:path w="2135504" h="632460">
                <a:moveTo>
                  <a:pt x="1858645" y="0"/>
                </a:moveTo>
                <a:lnTo>
                  <a:pt x="0" y="0"/>
                </a:lnTo>
                <a:lnTo>
                  <a:pt x="5715" y="1904"/>
                </a:lnTo>
                <a:lnTo>
                  <a:pt x="13335" y="3810"/>
                </a:lnTo>
                <a:lnTo>
                  <a:pt x="56995" y="50293"/>
                </a:lnTo>
                <a:lnTo>
                  <a:pt x="147351" y="150701"/>
                </a:lnTo>
                <a:lnTo>
                  <a:pt x="276987" y="296163"/>
                </a:lnTo>
                <a:lnTo>
                  <a:pt x="282344" y="305649"/>
                </a:lnTo>
                <a:lnTo>
                  <a:pt x="284130" y="316229"/>
                </a:lnTo>
                <a:lnTo>
                  <a:pt x="282344" y="326810"/>
                </a:lnTo>
                <a:lnTo>
                  <a:pt x="276987" y="336296"/>
                </a:lnTo>
                <a:lnTo>
                  <a:pt x="52101" y="590677"/>
                </a:lnTo>
                <a:lnTo>
                  <a:pt x="21812" y="623010"/>
                </a:lnTo>
                <a:lnTo>
                  <a:pt x="7620" y="632460"/>
                </a:lnTo>
                <a:lnTo>
                  <a:pt x="1851025" y="632460"/>
                </a:lnTo>
                <a:lnTo>
                  <a:pt x="1856740" y="630554"/>
                </a:lnTo>
                <a:lnTo>
                  <a:pt x="1864360" y="628650"/>
                </a:lnTo>
                <a:lnTo>
                  <a:pt x="1907966" y="582166"/>
                </a:lnTo>
                <a:lnTo>
                  <a:pt x="2128012" y="336296"/>
                </a:lnTo>
                <a:lnTo>
                  <a:pt x="2133369" y="326810"/>
                </a:lnTo>
                <a:lnTo>
                  <a:pt x="2135155" y="316229"/>
                </a:lnTo>
                <a:lnTo>
                  <a:pt x="2133369" y="305649"/>
                </a:lnTo>
                <a:lnTo>
                  <a:pt x="2128012" y="296163"/>
                </a:lnTo>
                <a:lnTo>
                  <a:pt x="1903031" y="41783"/>
                </a:lnTo>
                <a:lnTo>
                  <a:pt x="1872765" y="9449"/>
                </a:lnTo>
                <a:lnTo>
                  <a:pt x="1858645" y="0"/>
                </a:lnTo>
                <a:close/>
              </a:path>
            </a:pathLst>
          </a:custGeom>
          <a:solidFill>
            <a:srgbClr val="A36C3F"/>
          </a:solidFill>
        </p:spPr>
        <p:txBody>
          <a:bodyPr wrap="square" lIns="0" tIns="0" rIns="0" bIns="0" rtlCol="0"/>
          <a:lstStyle/>
          <a:p>
            <a:endParaRPr kern="0">
              <a:solidFill>
                <a:sysClr val="windowText" lastClr="000000"/>
              </a:solidFill>
            </a:endParaRPr>
          </a:p>
        </p:txBody>
      </p:sp>
      <p:sp>
        <p:nvSpPr>
          <p:cNvPr id="6" name="object 6">
            <a:extLst>
              <a:ext uri="{FF2B5EF4-FFF2-40B4-BE49-F238E27FC236}">
                <a16:creationId xmlns:a16="http://schemas.microsoft.com/office/drawing/2014/main" id="{E9C48304-2915-638F-79B0-755CE1D64CC9}"/>
              </a:ext>
            </a:extLst>
          </p:cNvPr>
          <p:cNvSpPr txBox="1"/>
          <p:nvPr/>
        </p:nvSpPr>
        <p:spPr>
          <a:xfrm>
            <a:off x="2280435" y="1686950"/>
            <a:ext cx="1233170" cy="321242"/>
          </a:xfrm>
          <a:prstGeom prst="rect">
            <a:avLst/>
          </a:prstGeom>
        </p:spPr>
        <p:txBody>
          <a:bodyPr vert="horz" wrap="square" lIns="0" tIns="13335" rIns="0" bIns="0" rtlCol="0">
            <a:spAutoFit/>
          </a:bodyPr>
          <a:lstStyle/>
          <a:p>
            <a:pPr marL="12700">
              <a:spcBef>
                <a:spcPts val="105"/>
              </a:spcBef>
            </a:pPr>
            <a:r>
              <a:rPr lang="ar-SA" sz="2000" kern="0" spc="-10" dirty="0">
                <a:solidFill>
                  <a:srgbClr val="FFFFFF"/>
                </a:solidFill>
                <a:latin typeface="Century Gothic"/>
                <a:cs typeface="Century Gothic"/>
              </a:rPr>
              <a:t>المنهجية</a:t>
            </a:r>
          </a:p>
        </p:txBody>
      </p:sp>
      <p:sp>
        <p:nvSpPr>
          <p:cNvPr id="7" name="object 7">
            <a:extLst>
              <a:ext uri="{FF2B5EF4-FFF2-40B4-BE49-F238E27FC236}">
                <a16:creationId xmlns:a16="http://schemas.microsoft.com/office/drawing/2014/main" id="{509B19E3-80B0-0E97-D347-277000BD4F24}"/>
              </a:ext>
            </a:extLst>
          </p:cNvPr>
          <p:cNvSpPr txBox="1"/>
          <p:nvPr/>
        </p:nvSpPr>
        <p:spPr>
          <a:xfrm>
            <a:off x="5631282" y="1714246"/>
            <a:ext cx="738699" cy="321242"/>
          </a:xfrm>
          <a:prstGeom prst="rect">
            <a:avLst/>
          </a:prstGeom>
        </p:spPr>
        <p:txBody>
          <a:bodyPr vert="horz" wrap="square" lIns="0" tIns="13335" rIns="0" bIns="0" rtlCol="0">
            <a:spAutoFit/>
          </a:bodyPr>
          <a:lstStyle/>
          <a:p>
            <a:pPr marL="12700">
              <a:spcBef>
                <a:spcPts val="105"/>
              </a:spcBef>
            </a:pPr>
            <a:r>
              <a:rPr lang="ar-SA" sz="2000" kern="0" spc="80" dirty="0">
                <a:solidFill>
                  <a:srgbClr val="FFFFFF"/>
                </a:solidFill>
                <a:latin typeface="Century Gothic"/>
                <a:cs typeface="Century Gothic"/>
              </a:rPr>
              <a:t>الأدوات</a:t>
            </a:r>
            <a:endParaRPr sz="2000" kern="0" dirty="0">
              <a:solidFill>
                <a:sysClr val="windowText" lastClr="000000"/>
              </a:solidFill>
              <a:latin typeface="Century Gothic"/>
              <a:cs typeface="Century Gothic"/>
            </a:endParaRPr>
          </a:p>
        </p:txBody>
      </p:sp>
      <p:sp>
        <p:nvSpPr>
          <p:cNvPr id="8" name="object 8">
            <a:extLst>
              <a:ext uri="{FF2B5EF4-FFF2-40B4-BE49-F238E27FC236}">
                <a16:creationId xmlns:a16="http://schemas.microsoft.com/office/drawing/2014/main" id="{BD92F593-025B-E4FF-CF81-736AAB8EAAC1}"/>
              </a:ext>
            </a:extLst>
          </p:cNvPr>
          <p:cNvSpPr txBox="1"/>
          <p:nvPr/>
        </p:nvSpPr>
        <p:spPr>
          <a:xfrm>
            <a:off x="8001127" y="1659422"/>
            <a:ext cx="1212850" cy="321242"/>
          </a:xfrm>
          <a:prstGeom prst="rect">
            <a:avLst/>
          </a:prstGeom>
        </p:spPr>
        <p:txBody>
          <a:bodyPr vert="horz" wrap="square" lIns="0" tIns="13335" rIns="0" bIns="0" rtlCol="0">
            <a:spAutoFit/>
          </a:bodyPr>
          <a:lstStyle/>
          <a:p>
            <a:pPr marL="12700">
              <a:spcBef>
                <a:spcPts val="105"/>
              </a:spcBef>
            </a:pPr>
            <a:r>
              <a:rPr lang="ar-SA" sz="2000" kern="0" spc="-10" dirty="0">
                <a:solidFill>
                  <a:srgbClr val="FFFFFF"/>
                </a:solidFill>
                <a:latin typeface="Century Gothic"/>
                <a:cs typeface="Century Gothic"/>
              </a:rPr>
              <a:t>هيكلية الأداء</a:t>
            </a:r>
            <a:endParaRPr sz="2000" kern="0" dirty="0">
              <a:solidFill>
                <a:sysClr val="windowText" lastClr="000000"/>
              </a:solidFill>
              <a:latin typeface="Century Gothic"/>
              <a:cs typeface="Century Gothic"/>
            </a:endParaRPr>
          </a:p>
        </p:txBody>
      </p:sp>
      <p:sp>
        <p:nvSpPr>
          <p:cNvPr id="9" name="object 9">
            <a:extLst>
              <a:ext uri="{FF2B5EF4-FFF2-40B4-BE49-F238E27FC236}">
                <a16:creationId xmlns:a16="http://schemas.microsoft.com/office/drawing/2014/main" id="{EB253123-F019-EECE-A123-B319F6D62596}"/>
              </a:ext>
            </a:extLst>
          </p:cNvPr>
          <p:cNvSpPr/>
          <p:nvPr/>
        </p:nvSpPr>
        <p:spPr>
          <a:xfrm>
            <a:off x="2200656" y="2430779"/>
            <a:ext cx="2144395" cy="632460"/>
          </a:xfrm>
          <a:custGeom>
            <a:avLst/>
            <a:gdLst/>
            <a:ahLst/>
            <a:cxnLst/>
            <a:rect l="l" t="t" r="r" b="b"/>
            <a:pathLst>
              <a:path w="2144395" h="632460">
                <a:moveTo>
                  <a:pt x="2073783" y="0"/>
                </a:moveTo>
                <a:lnTo>
                  <a:pt x="70472" y="0"/>
                </a:lnTo>
                <a:lnTo>
                  <a:pt x="43039" y="5530"/>
                </a:lnTo>
                <a:lnTo>
                  <a:pt x="20639" y="20621"/>
                </a:lnTo>
                <a:lnTo>
                  <a:pt x="5537" y="43023"/>
                </a:lnTo>
                <a:lnTo>
                  <a:pt x="0" y="70485"/>
                </a:lnTo>
                <a:lnTo>
                  <a:pt x="0" y="561975"/>
                </a:lnTo>
                <a:lnTo>
                  <a:pt x="5537" y="589436"/>
                </a:lnTo>
                <a:lnTo>
                  <a:pt x="20639" y="611838"/>
                </a:lnTo>
                <a:lnTo>
                  <a:pt x="43039" y="626929"/>
                </a:lnTo>
                <a:lnTo>
                  <a:pt x="70472" y="632460"/>
                </a:lnTo>
                <a:lnTo>
                  <a:pt x="2073783" y="632460"/>
                </a:lnTo>
                <a:lnTo>
                  <a:pt x="2101244" y="626929"/>
                </a:lnTo>
                <a:lnTo>
                  <a:pt x="2123646" y="611838"/>
                </a:lnTo>
                <a:lnTo>
                  <a:pt x="2138737" y="589436"/>
                </a:lnTo>
                <a:lnTo>
                  <a:pt x="2144268" y="561975"/>
                </a:lnTo>
                <a:lnTo>
                  <a:pt x="2144268" y="70485"/>
                </a:lnTo>
                <a:lnTo>
                  <a:pt x="2138737" y="43023"/>
                </a:lnTo>
                <a:lnTo>
                  <a:pt x="2123646" y="20621"/>
                </a:lnTo>
                <a:lnTo>
                  <a:pt x="2101244" y="5530"/>
                </a:lnTo>
                <a:lnTo>
                  <a:pt x="2073783" y="0"/>
                </a:lnTo>
                <a:close/>
              </a:path>
            </a:pathLst>
          </a:custGeom>
          <a:solidFill>
            <a:srgbClr val="C0A66C"/>
          </a:solidFill>
        </p:spPr>
        <p:txBody>
          <a:bodyPr wrap="square" lIns="0" tIns="0" rIns="0" bIns="0" rtlCol="0"/>
          <a:lstStyle/>
          <a:p>
            <a:endParaRPr kern="0">
              <a:solidFill>
                <a:sysClr val="windowText" lastClr="000000"/>
              </a:solidFill>
            </a:endParaRPr>
          </a:p>
        </p:txBody>
      </p:sp>
      <p:sp>
        <p:nvSpPr>
          <p:cNvPr id="10" name="object 10">
            <a:extLst>
              <a:ext uri="{FF2B5EF4-FFF2-40B4-BE49-F238E27FC236}">
                <a16:creationId xmlns:a16="http://schemas.microsoft.com/office/drawing/2014/main" id="{E538F1AA-658E-196E-EC5E-2989AEBAC362}"/>
              </a:ext>
            </a:extLst>
          </p:cNvPr>
          <p:cNvSpPr txBox="1"/>
          <p:nvPr/>
        </p:nvSpPr>
        <p:spPr>
          <a:xfrm>
            <a:off x="3042286" y="2636596"/>
            <a:ext cx="461009" cy="197490"/>
          </a:xfrm>
          <a:prstGeom prst="rect">
            <a:avLst/>
          </a:prstGeom>
        </p:spPr>
        <p:txBody>
          <a:bodyPr vert="horz" wrap="square" lIns="0" tIns="12700" rIns="0" bIns="0" rtlCol="0">
            <a:spAutoFit/>
          </a:bodyPr>
          <a:lstStyle/>
          <a:p>
            <a:pPr marL="12700">
              <a:spcBef>
                <a:spcPts val="100"/>
              </a:spcBef>
            </a:pPr>
            <a:r>
              <a:rPr lang="ar-SA" sz="1200" kern="0" spc="70" dirty="0">
                <a:solidFill>
                  <a:srgbClr val="FFFFFF"/>
                </a:solidFill>
                <a:latin typeface="Century Gothic"/>
                <a:cs typeface="Century Gothic"/>
              </a:rPr>
              <a:t>الخطة</a:t>
            </a:r>
            <a:endParaRPr sz="1200" kern="0" dirty="0">
              <a:solidFill>
                <a:sysClr val="windowText" lastClr="000000"/>
              </a:solidFill>
              <a:latin typeface="Century Gothic"/>
              <a:cs typeface="Century Gothic"/>
            </a:endParaRPr>
          </a:p>
        </p:txBody>
      </p:sp>
      <p:sp>
        <p:nvSpPr>
          <p:cNvPr id="11" name="object 11">
            <a:extLst>
              <a:ext uri="{FF2B5EF4-FFF2-40B4-BE49-F238E27FC236}">
                <a16:creationId xmlns:a16="http://schemas.microsoft.com/office/drawing/2014/main" id="{3B7F03D2-0AB0-028A-4317-99D08ABAE785}"/>
              </a:ext>
            </a:extLst>
          </p:cNvPr>
          <p:cNvSpPr/>
          <p:nvPr/>
        </p:nvSpPr>
        <p:spPr>
          <a:xfrm>
            <a:off x="2200656" y="3473196"/>
            <a:ext cx="2144395" cy="632460"/>
          </a:xfrm>
          <a:custGeom>
            <a:avLst/>
            <a:gdLst/>
            <a:ahLst/>
            <a:cxnLst/>
            <a:rect l="l" t="t" r="r" b="b"/>
            <a:pathLst>
              <a:path w="2144395" h="632460">
                <a:moveTo>
                  <a:pt x="2073783" y="0"/>
                </a:moveTo>
                <a:lnTo>
                  <a:pt x="70472" y="0"/>
                </a:lnTo>
                <a:lnTo>
                  <a:pt x="43039" y="5530"/>
                </a:lnTo>
                <a:lnTo>
                  <a:pt x="20639" y="20621"/>
                </a:lnTo>
                <a:lnTo>
                  <a:pt x="5537" y="43023"/>
                </a:lnTo>
                <a:lnTo>
                  <a:pt x="0" y="70484"/>
                </a:lnTo>
                <a:lnTo>
                  <a:pt x="0" y="561974"/>
                </a:lnTo>
                <a:lnTo>
                  <a:pt x="5537" y="589436"/>
                </a:lnTo>
                <a:lnTo>
                  <a:pt x="20639" y="611838"/>
                </a:lnTo>
                <a:lnTo>
                  <a:pt x="43039" y="626929"/>
                </a:lnTo>
                <a:lnTo>
                  <a:pt x="70472" y="632459"/>
                </a:lnTo>
                <a:lnTo>
                  <a:pt x="2073783" y="632459"/>
                </a:lnTo>
                <a:lnTo>
                  <a:pt x="2101244" y="626929"/>
                </a:lnTo>
                <a:lnTo>
                  <a:pt x="2123646" y="611838"/>
                </a:lnTo>
                <a:lnTo>
                  <a:pt x="2138737" y="589436"/>
                </a:lnTo>
                <a:lnTo>
                  <a:pt x="2144268" y="561974"/>
                </a:lnTo>
                <a:lnTo>
                  <a:pt x="2144268" y="70484"/>
                </a:lnTo>
                <a:lnTo>
                  <a:pt x="2138737" y="43023"/>
                </a:lnTo>
                <a:lnTo>
                  <a:pt x="2123646" y="20621"/>
                </a:lnTo>
                <a:lnTo>
                  <a:pt x="2101244" y="5530"/>
                </a:lnTo>
                <a:lnTo>
                  <a:pt x="2073783" y="0"/>
                </a:lnTo>
                <a:close/>
              </a:path>
            </a:pathLst>
          </a:custGeom>
          <a:solidFill>
            <a:srgbClr val="C0A66C"/>
          </a:solidFill>
        </p:spPr>
        <p:txBody>
          <a:bodyPr wrap="square" lIns="0" tIns="0" rIns="0" bIns="0" rtlCol="0"/>
          <a:lstStyle/>
          <a:p>
            <a:endParaRPr kern="0">
              <a:solidFill>
                <a:sysClr val="windowText" lastClr="000000"/>
              </a:solidFill>
            </a:endParaRPr>
          </a:p>
        </p:txBody>
      </p:sp>
      <p:sp>
        <p:nvSpPr>
          <p:cNvPr id="12" name="object 12">
            <a:extLst>
              <a:ext uri="{FF2B5EF4-FFF2-40B4-BE49-F238E27FC236}">
                <a16:creationId xmlns:a16="http://schemas.microsoft.com/office/drawing/2014/main" id="{C1774243-3E67-408D-71E1-801D8EBB77AF}"/>
              </a:ext>
            </a:extLst>
          </p:cNvPr>
          <p:cNvSpPr txBox="1"/>
          <p:nvPr/>
        </p:nvSpPr>
        <p:spPr>
          <a:xfrm>
            <a:off x="3132199" y="3680205"/>
            <a:ext cx="309119" cy="228268"/>
          </a:xfrm>
          <a:prstGeom prst="rect">
            <a:avLst/>
          </a:prstGeom>
        </p:spPr>
        <p:txBody>
          <a:bodyPr vert="horz" wrap="square" lIns="0" tIns="12700" rIns="0" bIns="0" rtlCol="0">
            <a:spAutoFit/>
          </a:bodyPr>
          <a:lstStyle/>
          <a:p>
            <a:pPr marL="12700">
              <a:spcBef>
                <a:spcPts val="100"/>
              </a:spcBef>
            </a:pPr>
            <a:r>
              <a:rPr lang="ar-SA" sz="1400" kern="0" spc="-25" dirty="0">
                <a:solidFill>
                  <a:srgbClr val="5F5F5F"/>
                </a:solidFill>
                <a:latin typeface="Century Gothic"/>
                <a:cs typeface="Century Gothic"/>
              </a:rPr>
              <a:t>التنفيذ</a:t>
            </a:r>
          </a:p>
        </p:txBody>
      </p:sp>
      <p:sp>
        <p:nvSpPr>
          <p:cNvPr id="13" name="object 13">
            <a:extLst>
              <a:ext uri="{FF2B5EF4-FFF2-40B4-BE49-F238E27FC236}">
                <a16:creationId xmlns:a16="http://schemas.microsoft.com/office/drawing/2014/main" id="{5148B169-9FCB-05A2-C486-7016EB3066CB}"/>
              </a:ext>
            </a:extLst>
          </p:cNvPr>
          <p:cNvSpPr/>
          <p:nvPr/>
        </p:nvSpPr>
        <p:spPr>
          <a:xfrm>
            <a:off x="2200656" y="4523232"/>
            <a:ext cx="2144395" cy="632460"/>
          </a:xfrm>
          <a:custGeom>
            <a:avLst/>
            <a:gdLst/>
            <a:ahLst/>
            <a:cxnLst/>
            <a:rect l="l" t="t" r="r" b="b"/>
            <a:pathLst>
              <a:path w="2144395" h="632460">
                <a:moveTo>
                  <a:pt x="2073783" y="0"/>
                </a:moveTo>
                <a:lnTo>
                  <a:pt x="70472" y="0"/>
                </a:lnTo>
                <a:lnTo>
                  <a:pt x="43039" y="5530"/>
                </a:lnTo>
                <a:lnTo>
                  <a:pt x="20639" y="20621"/>
                </a:lnTo>
                <a:lnTo>
                  <a:pt x="5537" y="43023"/>
                </a:lnTo>
                <a:lnTo>
                  <a:pt x="0" y="70485"/>
                </a:lnTo>
                <a:lnTo>
                  <a:pt x="0" y="561975"/>
                </a:lnTo>
                <a:lnTo>
                  <a:pt x="5537" y="589436"/>
                </a:lnTo>
                <a:lnTo>
                  <a:pt x="20639" y="611838"/>
                </a:lnTo>
                <a:lnTo>
                  <a:pt x="43039" y="626929"/>
                </a:lnTo>
                <a:lnTo>
                  <a:pt x="70472" y="632460"/>
                </a:lnTo>
                <a:lnTo>
                  <a:pt x="2073783" y="632460"/>
                </a:lnTo>
                <a:lnTo>
                  <a:pt x="2101244" y="626929"/>
                </a:lnTo>
                <a:lnTo>
                  <a:pt x="2123646" y="611838"/>
                </a:lnTo>
                <a:lnTo>
                  <a:pt x="2138737" y="589436"/>
                </a:lnTo>
                <a:lnTo>
                  <a:pt x="2144268" y="561975"/>
                </a:lnTo>
                <a:lnTo>
                  <a:pt x="2144268" y="70485"/>
                </a:lnTo>
                <a:lnTo>
                  <a:pt x="2138737" y="43023"/>
                </a:lnTo>
                <a:lnTo>
                  <a:pt x="2123646" y="20621"/>
                </a:lnTo>
                <a:lnTo>
                  <a:pt x="2101244" y="5530"/>
                </a:lnTo>
                <a:lnTo>
                  <a:pt x="2073783" y="0"/>
                </a:lnTo>
                <a:close/>
              </a:path>
            </a:pathLst>
          </a:custGeom>
          <a:solidFill>
            <a:srgbClr val="C1A171"/>
          </a:solidFill>
        </p:spPr>
        <p:txBody>
          <a:bodyPr wrap="square" lIns="0" tIns="0" rIns="0" bIns="0" rtlCol="0"/>
          <a:lstStyle/>
          <a:p>
            <a:endParaRPr kern="0">
              <a:solidFill>
                <a:sysClr val="windowText" lastClr="000000"/>
              </a:solidFill>
            </a:endParaRPr>
          </a:p>
        </p:txBody>
      </p:sp>
      <p:sp>
        <p:nvSpPr>
          <p:cNvPr id="14" name="object 14">
            <a:extLst>
              <a:ext uri="{FF2B5EF4-FFF2-40B4-BE49-F238E27FC236}">
                <a16:creationId xmlns:a16="http://schemas.microsoft.com/office/drawing/2014/main" id="{1B5531EB-E161-0FAF-77E2-C0A927ED63F9}"/>
              </a:ext>
            </a:extLst>
          </p:cNvPr>
          <p:cNvSpPr txBox="1"/>
          <p:nvPr/>
        </p:nvSpPr>
        <p:spPr>
          <a:xfrm>
            <a:off x="2982849" y="4730242"/>
            <a:ext cx="580390" cy="228268"/>
          </a:xfrm>
          <a:prstGeom prst="rect">
            <a:avLst/>
          </a:prstGeom>
        </p:spPr>
        <p:txBody>
          <a:bodyPr vert="horz" wrap="square" lIns="0" tIns="12700" rIns="0" bIns="0" rtlCol="0">
            <a:spAutoFit/>
          </a:bodyPr>
          <a:lstStyle/>
          <a:p>
            <a:pPr marL="12700">
              <a:spcBef>
                <a:spcPts val="100"/>
              </a:spcBef>
            </a:pPr>
            <a:r>
              <a:rPr lang="ar-SA" sz="1400" kern="0" spc="-10" dirty="0">
                <a:solidFill>
                  <a:srgbClr val="5F5F5F"/>
                </a:solidFill>
                <a:latin typeface="Century Gothic"/>
                <a:cs typeface="Century Gothic"/>
              </a:rPr>
              <a:t>المراجعة</a:t>
            </a:r>
          </a:p>
        </p:txBody>
      </p:sp>
      <p:sp>
        <p:nvSpPr>
          <p:cNvPr id="15" name="object 15">
            <a:extLst>
              <a:ext uri="{FF2B5EF4-FFF2-40B4-BE49-F238E27FC236}">
                <a16:creationId xmlns:a16="http://schemas.microsoft.com/office/drawing/2014/main" id="{D02BEBF4-FE99-DD3B-25FA-5DB6F56DD6E9}"/>
              </a:ext>
            </a:extLst>
          </p:cNvPr>
          <p:cNvSpPr/>
          <p:nvPr/>
        </p:nvSpPr>
        <p:spPr>
          <a:xfrm>
            <a:off x="2200656" y="5553455"/>
            <a:ext cx="2144395" cy="632460"/>
          </a:xfrm>
          <a:custGeom>
            <a:avLst/>
            <a:gdLst/>
            <a:ahLst/>
            <a:cxnLst/>
            <a:rect l="l" t="t" r="r" b="b"/>
            <a:pathLst>
              <a:path w="2144395" h="632460">
                <a:moveTo>
                  <a:pt x="2073783" y="0"/>
                </a:moveTo>
                <a:lnTo>
                  <a:pt x="70472" y="0"/>
                </a:lnTo>
                <a:lnTo>
                  <a:pt x="43039" y="5530"/>
                </a:lnTo>
                <a:lnTo>
                  <a:pt x="20639" y="20620"/>
                </a:lnTo>
                <a:lnTo>
                  <a:pt x="5537" y="43017"/>
                </a:lnTo>
                <a:lnTo>
                  <a:pt x="0" y="70472"/>
                </a:lnTo>
                <a:lnTo>
                  <a:pt x="0" y="561987"/>
                </a:lnTo>
                <a:lnTo>
                  <a:pt x="5537" y="589420"/>
                </a:lnTo>
                <a:lnTo>
                  <a:pt x="20639" y="611820"/>
                </a:lnTo>
                <a:lnTo>
                  <a:pt x="43039" y="626922"/>
                </a:lnTo>
                <a:lnTo>
                  <a:pt x="70472" y="632460"/>
                </a:lnTo>
                <a:lnTo>
                  <a:pt x="2073783" y="632460"/>
                </a:lnTo>
                <a:lnTo>
                  <a:pt x="2101244" y="626922"/>
                </a:lnTo>
                <a:lnTo>
                  <a:pt x="2123646" y="611820"/>
                </a:lnTo>
                <a:lnTo>
                  <a:pt x="2138737" y="589420"/>
                </a:lnTo>
                <a:lnTo>
                  <a:pt x="2144268" y="561987"/>
                </a:lnTo>
                <a:lnTo>
                  <a:pt x="2144268" y="70472"/>
                </a:lnTo>
                <a:lnTo>
                  <a:pt x="2138737" y="43017"/>
                </a:lnTo>
                <a:lnTo>
                  <a:pt x="2123646" y="20620"/>
                </a:lnTo>
                <a:lnTo>
                  <a:pt x="2101244" y="5530"/>
                </a:lnTo>
                <a:lnTo>
                  <a:pt x="2073783" y="0"/>
                </a:lnTo>
                <a:close/>
              </a:path>
            </a:pathLst>
          </a:custGeom>
          <a:solidFill>
            <a:srgbClr val="C1A171"/>
          </a:solidFill>
        </p:spPr>
        <p:txBody>
          <a:bodyPr wrap="square" lIns="0" tIns="0" rIns="0" bIns="0" rtlCol="0"/>
          <a:lstStyle/>
          <a:p>
            <a:endParaRPr kern="0">
              <a:solidFill>
                <a:sysClr val="windowText" lastClr="000000"/>
              </a:solidFill>
            </a:endParaRPr>
          </a:p>
        </p:txBody>
      </p:sp>
      <p:sp>
        <p:nvSpPr>
          <p:cNvPr id="16" name="object 16">
            <a:extLst>
              <a:ext uri="{FF2B5EF4-FFF2-40B4-BE49-F238E27FC236}">
                <a16:creationId xmlns:a16="http://schemas.microsoft.com/office/drawing/2014/main" id="{8094AADB-E804-EE9C-7D36-024D8ED80C84}"/>
              </a:ext>
            </a:extLst>
          </p:cNvPr>
          <p:cNvSpPr txBox="1"/>
          <p:nvPr/>
        </p:nvSpPr>
        <p:spPr>
          <a:xfrm>
            <a:off x="3042286" y="5760516"/>
            <a:ext cx="399033" cy="197490"/>
          </a:xfrm>
          <a:prstGeom prst="rect">
            <a:avLst/>
          </a:prstGeom>
        </p:spPr>
        <p:txBody>
          <a:bodyPr vert="horz" wrap="square" lIns="0" tIns="12700" rIns="0" bIns="0" rtlCol="0">
            <a:spAutoFit/>
          </a:bodyPr>
          <a:lstStyle/>
          <a:p>
            <a:pPr marL="12700">
              <a:spcBef>
                <a:spcPts val="100"/>
              </a:spcBef>
            </a:pPr>
            <a:r>
              <a:rPr lang="ar-SA" sz="1200" kern="0" spc="-25" dirty="0">
                <a:solidFill>
                  <a:srgbClr val="5F5F5F"/>
                </a:solidFill>
                <a:latin typeface="Century Gothic"/>
                <a:cs typeface="Century Gothic"/>
              </a:rPr>
              <a:t>الإجراء</a:t>
            </a:r>
            <a:endParaRPr sz="1200" kern="0" dirty="0">
              <a:solidFill>
                <a:sysClr val="windowText" lastClr="000000"/>
              </a:solidFill>
              <a:latin typeface="Century Gothic"/>
              <a:cs typeface="Century Gothic"/>
            </a:endParaRPr>
          </a:p>
        </p:txBody>
      </p:sp>
      <p:sp>
        <p:nvSpPr>
          <p:cNvPr id="23" name="object 17">
            <a:extLst>
              <a:ext uri="{FF2B5EF4-FFF2-40B4-BE49-F238E27FC236}">
                <a16:creationId xmlns:a16="http://schemas.microsoft.com/office/drawing/2014/main" id="{EDA635A8-852D-9C1C-DB8A-86BA8C6C589B}"/>
              </a:ext>
            </a:extLst>
          </p:cNvPr>
          <p:cNvSpPr/>
          <p:nvPr/>
        </p:nvSpPr>
        <p:spPr>
          <a:xfrm>
            <a:off x="4917947" y="2430779"/>
            <a:ext cx="2131060" cy="632460"/>
          </a:xfrm>
          <a:custGeom>
            <a:avLst/>
            <a:gdLst/>
            <a:ahLst/>
            <a:cxnLst/>
            <a:rect l="l" t="t" r="r" b="b"/>
            <a:pathLst>
              <a:path w="2131060" h="632460">
                <a:moveTo>
                  <a:pt x="2060066" y="0"/>
                </a:moveTo>
                <a:lnTo>
                  <a:pt x="70485" y="0"/>
                </a:lnTo>
                <a:lnTo>
                  <a:pt x="43023" y="5530"/>
                </a:lnTo>
                <a:lnTo>
                  <a:pt x="20621" y="20621"/>
                </a:lnTo>
                <a:lnTo>
                  <a:pt x="5530" y="43023"/>
                </a:lnTo>
                <a:lnTo>
                  <a:pt x="0" y="70485"/>
                </a:lnTo>
                <a:lnTo>
                  <a:pt x="0" y="561975"/>
                </a:lnTo>
                <a:lnTo>
                  <a:pt x="5530" y="589436"/>
                </a:lnTo>
                <a:lnTo>
                  <a:pt x="20621" y="611838"/>
                </a:lnTo>
                <a:lnTo>
                  <a:pt x="43023" y="626929"/>
                </a:lnTo>
                <a:lnTo>
                  <a:pt x="70485" y="632460"/>
                </a:lnTo>
                <a:lnTo>
                  <a:pt x="2060066" y="632460"/>
                </a:lnTo>
                <a:lnTo>
                  <a:pt x="2087528" y="626929"/>
                </a:lnTo>
                <a:lnTo>
                  <a:pt x="2109930" y="611838"/>
                </a:lnTo>
                <a:lnTo>
                  <a:pt x="2125021" y="589436"/>
                </a:lnTo>
                <a:lnTo>
                  <a:pt x="2130552" y="561975"/>
                </a:lnTo>
                <a:lnTo>
                  <a:pt x="2130552" y="70485"/>
                </a:lnTo>
                <a:lnTo>
                  <a:pt x="2125021" y="43023"/>
                </a:lnTo>
                <a:lnTo>
                  <a:pt x="2109930" y="20621"/>
                </a:lnTo>
                <a:lnTo>
                  <a:pt x="2087528" y="5530"/>
                </a:lnTo>
                <a:lnTo>
                  <a:pt x="2060066" y="0"/>
                </a:lnTo>
                <a:close/>
              </a:path>
            </a:pathLst>
          </a:custGeom>
          <a:solidFill>
            <a:srgbClr val="A78B5E">
              <a:alpha val="82351"/>
            </a:srgbClr>
          </a:solidFill>
        </p:spPr>
        <p:txBody>
          <a:bodyPr wrap="square" lIns="0" tIns="0" rIns="0" bIns="0" rtlCol="0"/>
          <a:lstStyle/>
          <a:p>
            <a:endParaRPr kern="0">
              <a:solidFill>
                <a:sysClr val="windowText" lastClr="000000"/>
              </a:solidFill>
            </a:endParaRPr>
          </a:p>
        </p:txBody>
      </p:sp>
      <p:sp>
        <p:nvSpPr>
          <p:cNvPr id="24" name="object 18">
            <a:extLst>
              <a:ext uri="{FF2B5EF4-FFF2-40B4-BE49-F238E27FC236}">
                <a16:creationId xmlns:a16="http://schemas.microsoft.com/office/drawing/2014/main" id="{82EFC8E3-66E2-E180-3437-C3E203D32ECC}"/>
              </a:ext>
            </a:extLst>
          </p:cNvPr>
          <p:cNvSpPr txBox="1"/>
          <p:nvPr/>
        </p:nvSpPr>
        <p:spPr>
          <a:xfrm>
            <a:off x="5583833" y="2635072"/>
            <a:ext cx="840740" cy="228268"/>
          </a:xfrm>
          <a:prstGeom prst="rect">
            <a:avLst/>
          </a:prstGeom>
        </p:spPr>
        <p:txBody>
          <a:bodyPr vert="horz" wrap="square" lIns="0" tIns="12700" rIns="0" bIns="0" rtlCol="0">
            <a:spAutoFit/>
          </a:bodyPr>
          <a:lstStyle/>
          <a:p>
            <a:pPr marL="12700">
              <a:spcBef>
                <a:spcPts val="100"/>
              </a:spcBef>
            </a:pPr>
            <a:r>
              <a:rPr lang="ar-SA" sz="1400" kern="0" spc="80" dirty="0">
                <a:solidFill>
                  <a:srgbClr val="FFFFFF"/>
                </a:solidFill>
                <a:latin typeface="Century Gothic"/>
                <a:cs typeface="Century Gothic"/>
              </a:rPr>
              <a:t>الاستراتيجية</a:t>
            </a:r>
          </a:p>
        </p:txBody>
      </p:sp>
      <p:sp>
        <p:nvSpPr>
          <p:cNvPr id="25" name="object 19">
            <a:extLst>
              <a:ext uri="{FF2B5EF4-FFF2-40B4-BE49-F238E27FC236}">
                <a16:creationId xmlns:a16="http://schemas.microsoft.com/office/drawing/2014/main" id="{B0F4485A-252D-AE8A-B374-AC02728F0722}"/>
              </a:ext>
            </a:extLst>
          </p:cNvPr>
          <p:cNvSpPr/>
          <p:nvPr/>
        </p:nvSpPr>
        <p:spPr>
          <a:xfrm>
            <a:off x="4917947" y="3473196"/>
            <a:ext cx="2131060" cy="632460"/>
          </a:xfrm>
          <a:custGeom>
            <a:avLst/>
            <a:gdLst/>
            <a:ahLst/>
            <a:cxnLst/>
            <a:rect l="l" t="t" r="r" b="b"/>
            <a:pathLst>
              <a:path w="2131060" h="632460">
                <a:moveTo>
                  <a:pt x="2060066" y="0"/>
                </a:moveTo>
                <a:lnTo>
                  <a:pt x="70485" y="0"/>
                </a:lnTo>
                <a:lnTo>
                  <a:pt x="43023" y="5530"/>
                </a:lnTo>
                <a:lnTo>
                  <a:pt x="20621" y="20621"/>
                </a:lnTo>
                <a:lnTo>
                  <a:pt x="5530" y="43023"/>
                </a:lnTo>
                <a:lnTo>
                  <a:pt x="0" y="70484"/>
                </a:lnTo>
                <a:lnTo>
                  <a:pt x="0" y="561974"/>
                </a:lnTo>
                <a:lnTo>
                  <a:pt x="5530" y="589436"/>
                </a:lnTo>
                <a:lnTo>
                  <a:pt x="20621" y="611838"/>
                </a:lnTo>
                <a:lnTo>
                  <a:pt x="43023" y="626929"/>
                </a:lnTo>
                <a:lnTo>
                  <a:pt x="70485" y="632459"/>
                </a:lnTo>
                <a:lnTo>
                  <a:pt x="2060066" y="632459"/>
                </a:lnTo>
                <a:lnTo>
                  <a:pt x="2087528" y="626929"/>
                </a:lnTo>
                <a:lnTo>
                  <a:pt x="2109930" y="611838"/>
                </a:lnTo>
                <a:lnTo>
                  <a:pt x="2125021" y="589436"/>
                </a:lnTo>
                <a:lnTo>
                  <a:pt x="2130552" y="561974"/>
                </a:lnTo>
                <a:lnTo>
                  <a:pt x="2130552" y="70484"/>
                </a:lnTo>
                <a:lnTo>
                  <a:pt x="2125021" y="43023"/>
                </a:lnTo>
                <a:lnTo>
                  <a:pt x="2109930" y="20621"/>
                </a:lnTo>
                <a:lnTo>
                  <a:pt x="2087528" y="5530"/>
                </a:lnTo>
                <a:lnTo>
                  <a:pt x="2060066" y="0"/>
                </a:lnTo>
                <a:close/>
              </a:path>
            </a:pathLst>
          </a:custGeom>
          <a:solidFill>
            <a:srgbClr val="A78B5E">
              <a:alpha val="73724"/>
            </a:srgbClr>
          </a:solidFill>
        </p:spPr>
        <p:txBody>
          <a:bodyPr wrap="square" lIns="0" tIns="0" rIns="0" bIns="0" rtlCol="0"/>
          <a:lstStyle/>
          <a:p>
            <a:endParaRPr kern="0">
              <a:solidFill>
                <a:sysClr val="windowText" lastClr="000000"/>
              </a:solidFill>
            </a:endParaRPr>
          </a:p>
        </p:txBody>
      </p:sp>
      <p:sp>
        <p:nvSpPr>
          <p:cNvPr id="26" name="object 20">
            <a:extLst>
              <a:ext uri="{FF2B5EF4-FFF2-40B4-BE49-F238E27FC236}">
                <a16:creationId xmlns:a16="http://schemas.microsoft.com/office/drawing/2014/main" id="{76136159-B4FE-C98D-275C-93FE4678209B}"/>
              </a:ext>
            </a:extLst>
          </p:cNvPr>
          <p:cNvSpPr txBox="1"/>
          <p:nvPr/>
        </p:nvSpPr>
        <p:spPr>
          <a:xfrm>
            <a:off x="5359758" y="3678682"/>
            <a:ext cx="1001394" cy="320601"/>
          </a:xfrm>
          <a:prstGeom prst="rect">
            <a:avLst/>
          </a:prstGeom>
        </p:spPr>
        <p:txBody>
          <a:bodyPr vert="horz" wrap="square" lIns="0" tIns="12700" rIns="0" bIns="0" rtlCol="0">
            <a:spAutoFit/>
          </a:bodyPr>
          <a:lstStyle/>
          <a:p>
            <a:pPr marL="12700">
              <a:spcBef>
                <a:spcPts val="100"/>
              </a:spcBef>
            </a:pPr>
            <a:r>
              <a:rPr lang="ar-SA" sz="2000" kern="0" spc="75" dirty="0">
                <a:solidFill>
                  <a:srgbClr val="FFFFFF"/>
                </a:solidFill>
                <a:latin typeface="Century Gothic"/>
                <a:cs typeface="Century Gothic"/>
              </a:rPr>
              <a:t>الأهداف</a:t>
            </a:r>
          </a:p>
        </p:txBody>
      </p:sp>
      <p:sp>
        <p:nvSpPr>
          <p:cNvPr id="27" name="object 21">
            <a:extLst>
              <a:ext uri="{FF2B5EF4-FFF2-40B4-BE49-F238E27FC236}">
                <a16:creationId xmlns:a16="http://schemas.microsoft.com/office/drawing/2014/main" id="{00D4E38D-F669-6A42-876E-8E71AE404B81}"/>
              </a:ext>
            </a:extLst>
          </p:cNvPr>
          <p:cNvSpPr/>
          <p:nvPr/>
        </p:nvSpPr>
        <p:spPr>
          <a:xfrm>
            <a:off x="4917947" y="4523232"/>
            <a:ext cx="2131060" cy="632460"/>
          </a:xfrm>
          <a:custGeom>
            <a:avLst/>
            <a:gdLst/>
            <a:ahLst/>
            <a:cxnLst/>
            <a:rect l="l" t="t" r="r" b="b"/>
            <a:pathLst>
              <a:path w="2131060" h="632460">
                <a:moveTo>
                  <a:pt x="2060066" y="0"/>
                </a:moveTo>
                <a:lnTo>
                  <a:pt x="70485" y="0"/>
                </a:lnTo>
                <a:lnTo>
                  <a:pt x="43023" y="5530"/>
                </a:lnTo>
                <a:lnTo>
                  <a:pt x="20621" y="20621"/>
                </a:lnTo>
                <a:lnTo>
                  <a:pt x="5530" y="43023"/>
                </a:lnTo>
                <a:lnTo>
                  <a:pt x="0" y="70485"/>
                </a:lnTo>
                <a:lnTo>
                  <a:pt x="0" y="561975"/>
                </a:lnTo>
                <a:lnTo>
                  <a:pt x="5530" y="589436"/>
                </a:lnTo>
                <a:lnTo>
                  <a:pt x="20621" y="611838"/>
                </a:lnTo>
                <a:lnTo>
                  <a:pt x="43023" y="626929"/>
                </a:lnTo>
                <a:lnTo>
                  <a:pt x="70485" y="632460"/>
                </a:lnTo>
                <a:lnTo>
                  <a:pt x="2060066" y="632460"/>
                </a:lnTo>
                <a:lnTo>
                  <a:pt x="2087528" y="626929"/>
                </a:lnTo>
                <a:lnTo>
                  <a:pt x="2109930" y="611838"/>
                </a:lnTo>
                <a:lnTo>
                  <a:pt x="2125021" y="589436"/>
                </a:lnTo>
                <a:lnTo>
                  <a:pt x="2130552" y="561975"/>
                </a:lnTo>
                <a:lnTo>
                  <a:pt x="2130552" y="70485"/>
                </a:lnTo>
                <a:lnTo>
                  <a:pt x="2125021" y="43023"/>
                </a:lnTo>
                <a:lnTo>
                  <a:pt x="2109930" y="20621"/>
                </a:lnTo>
                <a:lnTo>
                  <a:pt x="2087528" y="5530"/>
                </a:lnTo>
                <a:lnTo>
                  <a:pt x="2060066" y="0"/>
                </a:lnTo>
                <a:close/>
              </a:path>
            </a:pathLst>
          </a:custGeom>
          <a:solidFill>
            <a:srgbClr val="A78B5E">
              <a:alpha val="53724"/>
            </a:srgbClr>
          </a:solidFill>
        </p:spPr>
        <p:txBody>
          <a:bodyPr wrap="square" lIns="0" tIns="0" rIns="0" bIns="0" rtlCol="0"/>
          <a:lstStyle/>
          <a:p>
            <a:endParaRPr kern="0">
              <a:solidFill>
                <a:sysClr val="windowText" lastClr="000000"/>
              </a:solidFill>
            </a:endParaRPr>
          </a:p>
        </p:txBody>
      </p:sp>
      <p:sp>
        <p:nvSpPr>
          <p:cNvPr id="28" name="object 22">
            <a:extLst>
              <a:ext uri="{FF2B5EF4-FFF2-40B4-BE49-F238E27FC236}">
                <a16:creationId xmlns:a16="http://schemas.microsoft.com/office/drawing/2014/main" id="{0709CFFB-33DB-F23A-4CE1-CB7F990A4FCA}"/>
              </a:ext>
            </a:extLst>
          </p:cNvPr>
          <p:cNvSpPr txBox="1"/>
          <p:nvPr/>
        </p:nvSpPr>
        <p:spPr>
          <a:xfrm>
            <a:off x="5267842" y="4735408"/>
            <a:ext cx="1465578" cy="197490"/>
          </a:xfrm>
          <a:prstGeom prst="rect">
            <a:avLst/>
          </a:prstGeom>
        </p:spPr>
        <p:txBody>
          <a:bodyPr vert="horz" wrap="square" lIns="0" tIns="12700" rIns="0" bIns="0" rtlCol="0">
            <a:spAutoFit/>
          </a:bodyPr>
          <a:lstStyle/>
          <a:p>
            <a:pPr marL="12700">
              <a:spcBef>
                <a:spcPts val="100"/>
              </a:spcBef>
            </a:pPr>
            <a:r>
              <a:rPr lang="ar-SA" sz="1200" kern="0" spc="105" dirty="0">
                <a:solidFill>
                  <a:srgbClr val="FFFFFF"/>
                </a:solidFill>
                <a:latin typeface="Century Gothic"/>
                <a:cs typeface="Century Gothic"/>
              </a:rPr>
              <a:t>مؤشرات الأداء الرئيسية</a:t>
            </a:r>
            <a:endParaRPr sz="1200" kern="0" dirty="0">
              <a:solidFill>
                <a:sysClr val="windowText" lastClr="000000"/>
              </a:solidFill>
              <a:latin typeface="Century Gothic"/>
              <a:cs typeface="Century Gothic"/>
            </a:endParaRPr>
          </a:p>
        </p:txBody>
      </p:sp>
      <p:sp>
        <p:nvSpPr>
          <p:cNvPr id="29" name="object 23">
            <a:extLst>
              <a:ext uri="{FF2B5EF4-FFF2-40B4-BE49-F238E27FC236}">
                <a16:creationId xmlns:a16="http://schemas.microsoft.com/office/drawing/2014/main" id="{E80B7E80-134F-BAD1-F7C1-C9C573C1A898}"/>
              </a:ext>
            </a:extLst>
          </p:cNvPr>
          <p:cNvSpPr/>
          <p:nvPr/>
        </p:nvSpPr>
        <p:spPr>
          <a:xfrm>
            <a:off x="4917947" y="5553455"/>
            <a:ext cx="2131060" cy="632460"/>
          </a:xfrm>
          <a:custGeom>
            <a:avLst/>
            <a:gdLst/>
            <a:ahLst/>
            <a:cxnLst/>
            <a:rect l="l" t="t" r="r" b="b"/>
            <a:pathLst>
              <a:path w="2131060" h="632460">
                <a:moveTo>
                  <a:pt x="2060066" y="0"/>
                </a:moveTo>
                <a:lnTo>
                  <a:pt x="70485" y="0"/>
                </a:lnTo>
                <a:lnTo>
                  <a:pt x="43023" y="5530"/>
                </a:lnTo>
                <a:lnTo>
                  <a:pt x="20621" y="20620"/>
                </a:lnTo>
                <a:lnTo>
                  <a:pt x="5530" y="43017"/>
                </a:lnTo>
                <a:lnTo>
                  <a:pt x="0" y="70472"/>
                </a:lnTo>
                <a:lnTo>
                  <a:pt x="0" y="561987"/>
                </a:lnTo>
                <a:lnTo>
                  <a:pt x="5530" y="589420"/>
                </a:lnTo>
                <a:lnTo>
                  <a:pt x="20621" y="611820"/>
                </a:lnTo>
                <a:lnTo>
                  <a:pt x="43023" y="626922"/>
                </a:lnTo>
                <a:lnTo>
                  <a:pt x="70485" y="632460"/>
                </a:lnTo>
                <a:lnTo>
                  <a:pt x="2060066" y="632460"/>
                </a:lnTo>
                <a:lnTo>
                  <a:pt x="2087528" y="626922"/>
                </a:lnTo>
                <a:lnTo>
                  <a:pt x="2109930" y="611820"/>
                </a:lnTo>
                <a:lnTo>
                  <a:pt x="2125021" y="589420"/>
                </a:lnTo>
                <a:lnTo>
                  <a:pt x="2130552" y="561987"/>
                </a:lnTo>
                <a:lnTo>
                  <a:pt x="2130552" y="70472"/>
                </a:lnTo>
                <a:lnTo>
                  <a:pt x="2125021" y="43017"/>
                </a:lnTo>
                <a:lnTo>
                  <a:pt x="2109930" y="20620"/>
                </a:lnTo>
                <a:lnTo>
                  <a:pt x="2087528" y="5530"/>
                </a:lnTo>
                <a:lnTo>
                  <a:pt x="2060066" y="0"/>
                </a:lnTo>
                <a:close/>
              </a:path>
            </a:pathLst>
          </a:custGeom>
          <a:solidFill>
            <a:srgbClr val="A78B5E">
              <a:alpha val="35293"/>
            </a:srgbClr>
          </a:solidFill>
        </p:spPr>
        <p:txBody>
          <a:bodyPr wrap="square" lIns="0" tIns="0" rIns="0" bIns="0" rtlCol="0"/>
          <a:lstStyle/>
          <a:p>
            <a:endParaRPr kern="0">
              <a:solidFill>
                <a:sysClr val="windowText" lastClr="000000"/>
              </a:solidFill>
            </a:endParaRPr>
          </a:p>
        </p:txBody>
      </p:sp>
      <p:sp>
        <p:nvSpPr>
          <p:cNvPr id="30" name="object 24">
            <a:extLst>
              <a:ext uri="{FF2B5EF4-FFF2-40B4-BE49-F238E27FC236}">
                <a16:creationId xmlns:a16="http://schemas.microsoft.com/office/drawing/2014/main" id="{4AF1268E-E4ED-B3CB-AFAD-935422849A15}"/>
              </a:ext>
            </a:extLst>
          </p:cNvPr>
          <p:cNvSpPr txBox="1"/>
          <p:nvPr/>
        </p:nvSpPr>
        <p:spPr>
          <a:xfrm>
            <a:off x="5694744" y="5761677"/>
            <a:ext cx="934719" cy="197490"/>
          </a:xfrm>
          <a:prstGeom prst="rect">
            <a:avLst/>
          </a:prstGeom>
        </p:spPr>
        <p:txBody>
          <a:bodyPr vert="horz" wrap="square" lIns="0" tIns="12700" rIns="0" bIns="0" rtlCol="0">
            <a:spAutoFit/>
          </a:bodyPr>
          <a:lstStyle/>
          <a:p>
            <a:pPr marL="12700" algn="l" rtl="0">
              <a:spcBef>
                <a:spcPts val="100"/>
              </a:spcBef>
            </a:pPr>
            <a:r>
              <a:rPr lang="ar-SA" sz="1200" kern="0" spc="95" dirty="0">
                <a:solidFill>
                  <a:srgbClr val="FFFFFF"/>
                </a:solidFill>
                <a:latin typeface="Century Gothic"/>
                <a:cs typeface="Century Gothic"/>
              </a:rPr>
              <a:t>المبادرات</a:t>
            </a:r>
          </a:p>
        </p:txBody>
      </p:sp>
      <p:sp>
        <p:nvSpPr>
          <p:cNvPr id="31" name="object 25">
            <a:extLst>
              <a:ext uri="{FF2B5EF4-FFF2-40B4-BE49-F238E27FC236}">
                <a16:creationId xmlns:a16="http://schemas.microsoft.com/office/drawing/2014/main" id="{6B3C9083-99AA-9C7C-5C70-50BFD2CD0B39}"/>
              </a:ext>
            </a:extLst>
          </p:cNvPr>
          <p:cNvSpPr/>
          <p:nvPr/>
        </p:nvSpPr>
        <p:spPr>
          <a:xfrm>
            <a:off x="7607808" y="2430779"/>
            <a:ext cx="2132330" cy="632460"/>
          </a:xfrm>
          <a:custGeom>
            <a:avLst/>
            <a:gdLst/>
            <a:ahLst/>
            <a:cxnLst/>
            <a:rect l="l" t="t" r="r" b="b"/>
            <a:pathLst>
              <a:path w="2132329" h="632460">
                <a:moveTo>
                  <a:pt x="2061590" y="0"/>
                </a:moveTo>
                <a:lnTo>
                  <a:pt x="70484" y="0"/>
                </a:lnTo>
                <a:lnTo>
                  <a:pt x="43023" y="5530"/>
                </a:lnTo>
                <a:lnTo>
                  <a:pt x="20621" y="20621"/>
                </a:lnTo>
                <a:lnTo>
                  <a:pt x="5530" y="43023"/>
                </a:lnTo>
                <a:lnTo>
                  <a:pt x="0" y="70485"/>
                </a:lnTo>
                <a:lnTo>
                  <a:pt x="0" y="561975"/>
                </a:lnTo>
                <a:lnTo>
                  <a:pt x="5530" y="589436"/>
                </a:lnTo>
                <a:lnTo>
                  <a:pt x="20621" y="611838"/>
                </a:lnTo>
                <a:lnTo>
                  <a:pt x="43023" y="626929"/>
                </a:lnTo>
                <a:lnTo>
                  <a:pt x="70484" y="632460"/>
                </a:lnTo>
                <a:lnTo>
                  <a:pt x="2061590" y="632460"/>
                </a:lnTo>
                <a:lnTo>
                  <a:pt x="2089052" y="626929"/>
                </a:lnTo>
                <a:lnTo>
                  <a:pt x="2111454" y="611838"/>
                </a:lnTo>
                <a:lnTo>
                  <a:pt x="2126545" y="589436"/>
                </a:lnTo>
                <a:lnTo>
                  <a:pt x="2132075" y="561975"/>
                </a:lnTo>
                <a:lnTo>
                  <a:pt x="2132075" y="70485"/>
                </a:lnTo>
                <a:lnTo>
                  <a:pt x="2126545" y="43023"/>
                </a:lnTo>
                <a:lnTo>
                  <a:pt x="2111454" y="20621"/>
                </a:lnTo>
                <a:lnTo>
                  <a:pt x="2089052" y="5530"/>
                </a:lnTo>
                <a:lnTo>
                  <a:pt x="2061590" y="0"/>
                </a:lnTo>
                <a:close/>
              </a:path>
            </a:pathLst>
          </a:custGeom>
          <a:solidFill>
            <a:srgbClr val="A36C3F">
              <a:alpha val="82351"/>
            </a:srgbClr>
          </a:solidFill>
        </p:spPr>
        <p:txBody>
          <a:bodyPr wrap="square" lIns="0" tIns="0" rIns="0" bIns="0" rtlCol="0"/>
          <a:lstStyle/>
          <a:p>
            <a:endParaRPr kern="0">
              <a:solidFill>
                <a:sysClr val="windowText" lastClr="000000"/>
              </a:solidFill>
            </a:endParaRPr>
          </a:p>
        </p:txBody>
      </p:sp>
      <p:sp>
        <p:nvSpPr>
          <p:cNvPr id="32" name="object 26">
            <a:extLst>
              <a:ext uri="{FF2B5EF4-FFF2-40B4-BE49-F238E27FC236}">
                <a16:creationId xmlns:a16="http://schemas.microsoft.com/office/drawing/2014/main" id="{71608F64-A6FF-BCD8-2451-9D287960B1E8}"/>
              </a:ext>
            </a:extLst>
          </p:cNvPr>
          <p:cNvSpPr txBox="1"/>
          <p:nvPr/>
        </p:nvSpPr>
        <p:spPr>
          <a:xfrm>
            <a:off x="7912100" y="2577752"/>
            <a:ext cx="1526540" cy="259045"/>
          </a:xfrm>
          <a:prstGeom prst="rect">
            <a:avLst/>
          </a:prstGeom>
        </p:spPr>
        <p:txBody>
          <a:bodyPr vert="horz" wrap="square" lIns="0" tIns="12700" rIns="0" bIns="0" rtlCol="0">
            <a:spAutoFit/>
          </a:bodyPr>
          <a:lstStyle/>
          <a:p>
            <a:pPr algn="ctr">
              <a:spcBef>
                <a:spcPts val="100"/>
              </a:spcBef>
            </a:pPr>
            <a:r>
              <a:rPr lang="ar-SA" sz="1600" kern="0" dirty="0">
                <a:solidFill>
                  <a:srgbClr val="FFFFFF"/>
                </a:solidFill>
                <a:latin typeface="Century Gothic"/>
                <a:cs typeface="Century Gothic"/>
              </a:rPr>
              <a:t>الحالة المرغوبة للتطور</a:t>
            </a:r>
          </a:p>
        </p:txBody>
      </p:sp>
      <p:sp>
        <p:nvSpPr>
          <p:cNvPr id="33" name="object 27">
            <a:extLst>
              <a:ext uri="{FF2B5EF4-FFF2-40B4-BE49-F238E27FC236}">
                <a16:creationId xmlns:a16="http://schemas.microsoft.com/office/drawing/2014/main" id="{59680E37-1A17-F389-EC73-43573563C7AC}"/>
              </a:ext>
            </a:extLst>
          </p:cNvPr>
          <p:cNvSpPr/>
          <p:nvPr/>
        </p:nvSpPr>
        <p:spPr>
          <a:xfrm>
            <a:off x="7607808" y="3473196"/>
            <a:ext cx="2132330" cy="632460"/>
          </a:xfrm>
          <a:custGeom>
            <a:avLst/>
            <a:gdLst/>
            <a:ahLst/>
            <a:cxnLst/>
            <a:rect l="l" t="t" r="r" b="b"/>
            <a:pathLst>
              <a:path w="2132329" h="632460">
                <a:moveTo>
                  <a:pt x="2061590" y="0"/>
                </a:moveTo>
                <a:lnTo>
                  <a:pt x="70484" y="0"/>
                </a:lnTo>
                <a:lnTo>
                  <a:pt x="43023" y="5530"/>
                </a:lnTo>
                <a:lnTo>
                  <a:pt x="20621" y="20621"/>
                </a:lnTo>
                <a:lnTo>
                  <a:pt x="5530" y="43023"/>
                </a:lnTo>
                <a:lnTo>
                  <a:pt x="0" y="70484"/>
                </a:lnTo>
                <a:lnTo>
                  <a:pt x="0" y="561974"/>
                </a:lnTo>
                <a:lnTo>
                  <a:pt x="5530" y="589436"/>
                </a:lnTo>
                <a:lnTo>
                  <a:pt x="20621" y="611838"/>
                </a:lnTo>
                <a:lnTo>
                  <a:pt x="43023" y="626929"/>
                </a:lnTo>
                <a:lnTo>
                  <a:pt x="70484" y="632459"/>
                </a:lnTo>
                <a:lnTo>
                  <a:pt x="2061590" y="632459"/>
                </a:lnTo>
                <a:lnTo>
                  <a:pt x="2089052" y="626929"/>
                </a:lnTo>
                <a:lnTo>
                  <a:pt x="2111454" y="611838"/>
                </a:lnTo>
                <a:lnTo>
                  <a:pt x="2126545" y="589436"/>
                </a:lnTo>
                <a:lnTo>
                  <a:pt x="2132075" y="561974"/>
                </a:lnTo>
                <a:lnTo>
                  <a:pt x="2132075" y="70484"/>
                </a:lnTo>
                <a:lnTo>
                  <a:pt x="2126545" y="43023"/>
                </a:lnTo>
                <a:lnTo>
                  <a:pt x="2111454" y="20621"/>
                </a:lnTo>
                <a:lnTo>
                  <a:pt x="2089052" y="5530"/>
                </a:lnTo>
                <a:lnTo>
                  <a:pt x="2061590" y="0"/>
                </a:lnTo>
                <a:close/>
              </a:path>
            </a:pathLst>
          </a:custGeom>
          <a:solidFill>
            <a:srgbClr val="A36C3F">
              <a:alpha val="76470"/>
            </a:srgbClr>
          </a:solidFill>
        </p:spPr>
        <p:txBody>
          <a:bodyPr wrap="square" lIns="0" tIns="0" rIns="0" bIns="0" rtlCol="0"/>
          <a:lstStyle/>
          <a:p>
            <a:endParaRPr kern="0">
              <a:solidFill>
                <a:sysClr val="windowText" lastClr="000000"/>
              </a:solidFill>
            </a:endParaRPr>
          </a:p>
        </p:txBody>
      </p:sp>
      <p:sp>
        <p:nvSpPr>
          <p:cNvPr id="34" name="object 28">
            <a:extLst>
              <a:ext uri="{FF2B5EF4-FFF2-40B4-BE49-F238E27FC236}">
                <a16:creationId xmlns:a16="http://schemas.microsoft.com/office/drawing/2014/main" id="{1B9D0BD1-EBEF-2614-F134-12EE4C30BA7B}"/>
              </a:ext>
            </a:extLst>
          </p:cNvPr>
          <p:cNvSpPr txBox="1"/>
          <p:nvPr/>
        </p:nvSpPr>
        <p:spPr>
          <a:xfrm>
            <a:off x="8052308" y="3680205"/>
            <a:ext cx="1246505" cy="197490"/>
          </a:xfrm>
          <a:prstGeom prst="rect">
            <a:avLst/>
          </a:prstGeom>
        </p:spPr>
        <p:txBody>
          <a:bodyPr vert="horz" wrap="square" lIns="0" tIns="12700" rIns="0" bIns="0" rtlCol="0">
            <a:spAutoFit/>
          </a:bodyPr>
          <a:lstStyle/>
          <a:p>
            <a:pPr marL="12700">
              <a:spcBef>
                <a:spcPts val="100"/>
              </a:spcBef>
            </a:pPr>
            <a:r>
              <a:rPr lang="ar-SA" sz="1200" kern="0" spc="90" dirty="0">
                <a:solidFill>
                  <a:srgbClr val="FFFFFF"/>
                </a:solidFill>
                <a:latin typeface="Century Gothic"/>
                <a:cs typeface="Century Gothic"/>
              </a:rPr>
              <a:t>خريطة الاستراتيجية</a:t>
            </a:r>
          </a:p>
        </p:txBody>
      </p:sp>
      <p:sp>
        <p:nvSpPr>
          <p:cNvPr id="35" name="object 29">
            <a:extLst>
              <a:ext uri="{FF2B5EF4-FFF2-40B4-BE49-F238E27FC236}">
                <a16:creationId xmlns:a16="http://schemas.microsoft.com/office/drawing/2014/main" id="{DB137EA0-420A-5D06-34C3-741F0F8F7ADB}"/>
              </a:ext>
            </a:extLst>
          </p:cNvPr>
          <p:cNvSpPr/>
          <p:nvPr/>
        </p:nvSpPr>
        <p:spPr>
          <a:xfrm>
            <a:off x="7607808" y="4523232"/>
            <a:ext cx="2132330" cy="632460"/>
          </a:xfrm>
          <a:custGeom>
            <a:avLst/>
            <a:gdLst/>
            <a:ahLst/>
            <a:cxnLst/>
            <a:rect l="l" t="t" r="r" b="b"/>
            <a:pathLst>
              <a:path w="2132329" h="632460">
                <a:moveTo>
                  <a:pt x="2061590" y="0"/>
                </a:moveTo>
                <a:lnTo>
                  <a:pt x="70484" y="0"/>
                </a:lnTo>
                <a:lnTo>
                  <a:pt x="43023" y="5530"/>
                </a:lnTo>
                <a:lnTo>
                  <a:pt x="20621" y="20621"/>
                </a:lnTo>
                <a:lnTo>
                  <a:pt x="5530" y="43023"/>
                </a:lnTo>
                <a:lnTo>
                  <a:pt x="0" y="70485"/>
                </a:lnTo>
                <a:lnTo>
                  <a:pt x="0" y="561975"/>
                </a:lnTo>
                <a:lnTo>
                  <a:pt x="5530" y="589436"/>
                </a:lnTo>
                <a:lnTo>
                  <a:pt x="20621" y="611838"/>
                </a:lnTo>
                <a:lnTo>
                  <a:pt x="43023" y="626929"/>
                </a:lnTo>
                <a:lnTo>
                  <a:pt x="70484" y="632460"/>
                </a:lnTo>
                <a:lnTo>
                  <a:pt x="2061590" y="632460"/>
                </a:lnTo>
                <a:lnTo>
                  <a:pt x="2089052" y="626929"/>
                </a:lnTo>
                <a:lnTo>
                  <a:pt x="2111454" y="611838"/>
                </a:lnTo>
                <a:lnTo>
                  <a:pt x="2126545" y="589436"/>
                </a:lnTo>
                <a:lnTo>
                  <a:pt x="2132075" y="561975"/>
                </a:lnTo>
                <a:lnTo>
                  <a:pt x="2132075" y="70485"/>
                </a:lnTo>
                <a:lnTo>
                  <a:pt x="2126545" y="43023"/>
                </a:lnTo>
                <a:lnTo>
                  <a:pt x="2111454" y="20621"/>
                </a:lnTo>
                <a:lnTo>
                  <a:pt x="2089052" y="5530"/>
                </a:lnTo>
                <a:lnTo>
                  <a:pt x="2061590" y="0"/>
                </a:lnTo>
                <a:close/>
              </a:path>
            </a:pathLst>
          </a:custGeom>
          <a:solidFill>
            <a:srgbClr val="A36C3F">
              <a:alpha val="68626"/>
            </a:srgbClr>
          </a:solidFill>
        </p:spPr>
        <p:txBody>
          <a:bodyPr wrap="square" lIns="0" tIns="0" rIns="0" bIns="0" rtlCol="0"/>
          <a:lstStyle/>
          <a:p>
            <a:endParaRPr kern="0">
              <a:solidFill>
                <a:sysClr val="windowText" lastClr="000000"/>
              </a:solidFill>
            </a:endParaRPr>
          </a:p>
        </p:txBody>
      </p:sp>
      <p:sp>
        <p:nvSpPr>
          <p:cNvPr id="36" name="object 30">
            <a:extLst>
              <a:ext uri="{FF2B5EF4-FFF2-40B4-BE49-F238E27FC236}">
                <a16:creationId xmlns:a16="http://schemas.microsoft.com/office/drawing/2014/main" id="{F835D6C6-0C30-E42D-2705-8EFCC9669CBF}"/>
              </a:ext>
            </a:extLst>
          </p:cNvPr>
          <p:cNvSpPr txBox="1"/>
          <p:nvPr/>
        </p:nvSpPr>
        <p:spPr>
          <a:xfrm>
            <a:off x="7823962" y="4728717"/>
            <a:ext cx="1700022" cy="197490"/>
          </a:xfrm>
          <a:prstGeom prst="rect">
            <a:avLst/>
          </a:prstGeom>
        </p:spPr>
        <p:txBody>
          <a:bodyPr vert="horz" wrap="square" lIns="0" tIns="12700" rIns="0" bIns="0" rtlCol="0">
            <a:spAutoFit/>
          </a:bodyPr>
          <a:lstStyle/>
          <a:p>
            <a:pPr marL="12700">
              <a:spcBef>
                <a:spcPts val="100"/>
              </a:spcBef>
            </a:pPr>
            <a:r>
              <a:rPr lang="ar-SA" sz="1200" kern="0" spc="50" dirty="0">
                <a:solidFill>
                  <a:srgbClr val="FFFFFF"/>
                </a:solidFill>
                <a:latin typeface="Century Gothic"/>
                <a:cs typeface="Century Gothic"/>
              </a:rPr>
              <a:t>بطاقات الأداء ولوحات التحكم</a:t>
            </a:r>
          </a:p>
        </p:txBody>
      </p:sp>
      <p:sp>
        <p:nvSpPr>
          <p:cNvPr id="37" name="object 31">
            <a:extLst>
              <a:ext uri="{FF2B5EF4-FFF2-40B4-BE49-F238E27FC236}">
                <a16:creationId xmlns:a16="http://schemas.microsoft.com/office/drawing/2014/main" id="{C4626C39-B637-9F52-02C3-6B4166702400}"/>
              </a:ext>
            </a:extLst>
          </p:cNvPr>
          <p:cNvSpPr/>
          <p:nvPr/>
        </p:nvSpPr>
        <p:spPr>
          <a:xfrm>
            <a:off x="7607808" y="5553455"/>
            <a:ext cx="2132330" cy="632460"/>
          </a:xfrm>
          <a:custGeom>
            <a:avLst/>
            <a:gdLst/>
            <a:ahLst/>
            <a:cxnLst/>
            <a:rect l="l" t="t" r="r" b="b"/>
            <a:pathLst>
              <a:path w="2132329" h="632460">
                <a:moveTo>
                  <a:pt x="2061590" y="0"/>
                </a:moveTo>
                <a:lnTo>
                  <a:pt x="70484" y="0"/>
                </a:lnTo>
                <a:lnTo>
                  <a:pt x="43023" y="5530"/>
                </a:lnTo>
                <a:lnTo>
                  <a:pt x="20621" y="20620"/>
                </a:lnTo>
                <a:lnTo>
                  <a:pt x="5530" y="43017"/>
                </a:lnTo>
                <a:lnTo>
                  <a:pt x="0" y="70472"/>
                </a:lnTo>
                <a:lnTo>
                  <a:pt x="0" y="561987"/>
                </a:lnTo>
                <a:lnTo>
                  <a:pt x="5530" y="589420"/>
                </a:lnTo>
                <a:lnTo>
                  <a:pt x="20621" y="611820"/>
                </a:lnTo>
                <a:lnTo>
                  <a:pt x="43023" y="626922"/>
                </a:lnTo>
                <a:lnTo>
                  <a:pt x="70484" y="632460"/>
                </a:lnTo>
                <a:lnTo>
                  <a:pt x="2061590" y="632460"/>
                </a:lnTo>
                <a:lnTo>
                  <a:pt x="2089052" y="626922"/>
                </a:lnTo>
                <a:lnTo>
                  <a:pt x="2111454" y="611820"/>
                </a:lnTo>
                <a:lnTo>
                  <a:pt x="2126545" y="589420"/>
                </a:lnTo>
                <a:lnTo>
                  <a:pt x="2132075" y="561987"/>
                </a:lnTo>
                <a:lnTo>
                  <a:pt x="2132075" y="70472"/>
                </a:lnTo>
                <a:lnTo>
                  <a:pt x="2126545" y="43017"/>
                </a:lnTo>
                <a:lnTo>
                  <a:pt x="2111454" y="20620"/>
                </a:lnTo>
                <a:lnTo>
                  <a:pt x="2089052" y="5530"/>
                </a:lnTo>
                <a:lnTo>
                  <a:pt x="2061590" y="0"/>
                </a:lnTo>
                <a:close/>
              </a:path>
            </a:pathLst>
          </a:custGeom>
          <a:solidFill>
            <a:srgbClr val="A36C3F">
              <a:alpha val="37254"/>
            </a:srgbClr>
          </a:solidFill>
        </p:spPr>
        <p:txBody>
          <a:bodyPr wrap="square" lIns="0" tIns="0" rIns="0" bIns="0" rtlCol="0"/>
          <a:lstStyle/>
          <a:p>
            <a:endParaRPr kern="0">
              <a:solidFill>
                <a:sysClr val="windowText" lastClr="000000"/>
              </a:solidFill>
            </a:endParaRPr>
          </a:p>
        </p:txBody>
      </p:sp>
      <p:sp>
        <p:nvSpPr>
          <p:cNvPr id="38" name="object 32">
            <a:extLst>
              <a:ext uri="{FF2B5EF4-FFF2-40B4-BE49-F238E27FC236}">
                <a16:creationId xmlns:a16="http://schemas.microsoft.com/office/drawing/2014/main" id="{68ACD24E-F699-674F-31BE-6EB955A08291}"/>
              </a:ext>
            </a:extLst>
          </p:cNvPr>
          <p:cNvSpPr txBox="1"/>
          <p:nvPr/>
        </p:nvSpPr>
        <p:spPr>
          <a:xfrm>
            <a:off x="8064501" y="5667858"/>
            <a:ext cx="1221105" cy="197490"/>
          </a:xfrm>
          <a:prstGeom prst="rect">
            <a:avLst/>
          </a:prstGeom>
        </p:spPr>
        <p:txBody>
          <a:bodyPr vert="horz" wrap="square" lIns="0" tIns="12700" rIns="0" bIns="0" rtlCol="0">
            <a:spAutoFit/>
          </a:bodyPr>
          <a:lstStyle/>
          <a:p>
            <a:pPr algn="ctr">
              <a:spcBef>
                <a:spcPts val="100"/>
              </a:spcBef>
            </a:pPr>
            <a:r>
              <a:rPr lang="ar-SA" sz="1200" kern="0" spc="85" dirty="0">
                <a:solidFill>
                  <a:srgbClr val="FFFFFF"/>
                </a:solidFill>
                <a:latin typeface="Century Gothic"/>
                <a:cs typeface="Century Gothic"/>
              </a:rPr>
              <a:t>محفظة المبادرات</a:t>
            </a:r>
          </a:p>
        </p:txBody>
      </p:sp>
      <p:sp>
        <p:nvSpPr>
          <p:cNvPr id="39" name="object 33">
            <a:extLst>
              <a:ext uri="{FF2B5EF4-FFF2-40B4-BE49-F238E27FC236}">
                <a16:creationId xmlns:a16="http://schemas.microsoft.com/office/drawing/2014/main" id="{098AEC0B-6AD8-57C3-2334-0D8E63A8CE15}"/>
              </a:ext>
            </a:extLst>
          </p:cNvPr>
          <p:cNvSpPr/>
          <p:nvPr/>
        </p:nvSpPr>
        <p:spPr>
          <a:xfrm>
            <a:off x="4453128" y="2590800"/>
            <a:ext cx="360045" cy="312420"/>
          </a:xfrm>
          <a:custGeom>
            <a:avLst/>
            <a:gdLst/>
            <a:ahLst/>
            <a:cxnLst/>
            <a:rect l="l" t="t" r="r" b="b"/>
            <a:pathLst>
              <a:path w="360045" h="312419">
                <a:moveTo>
                  <a:pt x="203454" y="0"/>
                </a:moveTo>
                <a:lnTo>
                  <a:pt x="203454" y="78104"/>
                </a:lnTo>
                <a:lnTo>
                  <a:pt x="0" y="78104"/>
                </a:lnTo>
                <a:lnTo>
                  <a:pt x="0" y="234314"/>
                </a:lnTo>
                <a:lnTo>
                  <a:pt x="203454" y="234314"/>
                </a:lnTo>
                <a:lnTo>
                  <a:pt x="203454" y="312420"/>
                </a:lnTo>
                <a:lnTo>
                  <a:pt x="359663" y="156210"/>
                </a:lnTo>
                <a:lnTo>
                  <a:pt x="203454" y="0"/>
                </a:lnTo>
                <a:close/>
              </a:path>
            </a:pathLst>
          </a:custGeom>
          <a:solidFill>
            <a:srgbClr val="C1A171"/>
          </a:solidFill>
        </p:spPr>
        <p:txBody>
          <a:bodyPr wrap="square" lIns="0" tIns="0" rIns="0" bIns="0" rtlCol="0"/>
          <a:lstStyle/>
          <a:p>
            <a:endParaRPr kern="0">
              <a:solidFill>
                <a:sysClr val="windowText" lastClr="000000"/>
              </a:solidFill>
            </a:endParaRPr>
          </a:p>
        </p:txBody>
      </p:sp>
      <p:sp>
        <p:nvSpPr>
          <p:cNvPr id="40" name="object 34">
            <a:extLst>
              <a:ext uri="{FF2B5EF4-FFF2-40B4-BE49-F238E27FC236}">
                <a16:creationId xmlns:a16="http://schemas.microsoft.com/office/drawing/2014/main" id="{7099646F-E29C-C632-B702-24B81B9FA841}"/>
              </a:ext>
            </a:extLst>
          </p:cNvPr>
          <p:cNvSpPr/>
          <p:nvPr/>
        </p:nvSpPr>
        <p:spPr>
          <a:xfrm>
            <a:off x="4453128" y="3633215"/>
            <a:ext cx="360045" cy="312420"/>
          </a:xfrm>
          <a:custGeom>
            <a:avLst/>
            <a:gdLst/>
            <a:ahLst/>
            <a:cxnLst/>
            <a:rect l="l" t="t" r="r" b="b"/>
            <a:pathLst>
              <a:path w="360045" h="312420">
                <a:moveTo>
                  <a:pt x="203454" y="0"/>
                </a:moveTo>
                <a:lnTo>
                  <a:pt x="203454" y="78104"/>
                </a:lnTo>
                <a:lnTo>
                  <a:pt x="0" y="78104"/>
                </a:lnTo>
                <a:lnTo>
                  <a:pt x="0" y="234314"/>
                </a:lnTo>
                <a:lnTo>
                  <a:pt x="203454" y="234314"/>
                </a:lnTo>
                <a:lnTo>
                  <a:pt x="203454" y="312419"/>
                </a:lnTo>
                <a:lnTo>
                  <a:pt x="359663" y="156209"/>
                </a:lnTo>
                <a:lnTo>
                  <a:pt x="203454" y="0"/>
                </a:lnTo>
                <a:close/>
              </a:path>
            </a:pathLst>
          </a:custGeom>
          <a:solidFill>
            <a:srgbClr val="C1A171"/>
          </a:solidFill>
        </p:spPr>
        <p:txBody>
          <a:bodyPr wrap="square" lIns="0" tIns="0" rIns="0" bIns="0" rtlCol="0"/>
          <a:lstStyle/>
          <a:p>
            <a:endParaRPr kern="0">
              <a:solidFill>
                <a:sysClr val="windowText" lastClr="000000"/>
              </a:solidFill>
            </a:endParaRPr>
          </a:p>
        </p:txBody>
      </p:sp>
      <p:sp>
        <p:nvSpPr>
          <p:cNvPr id="41" name="object 35">
            <a:extLst>
              <a:ext uri="{FF2B5EF4-FFF2-40B4-BE49-F238E27FC236}">
                <a16:creationId xmlns:a16="http://schemas.microsoft.com/office/drawing/2014/main" id="{50E0F85B-3532-AE66-7574-A66F353DEE0A}"/>
              </a:ext>
            </a:extLst>
          </p:cNvPr>
          <p:cNvSpPr/>
          <p:nvPr/>
        </p:nvSpPr>
        <p:spPr>
          <a:xfrm>
            <a:off x="4453128" y="4683252"/>
            <a:ext cx="360045" cy="312420"/>
          </a:xfrm>
          <a:custGeom>
            <a:avLst/>
            <a:gdLst/>
            <a:ahLst/>
            <a:cxnLst/>
            <a:rect l="l" t="t" r="r" b="b"/>
            <a:pathLst>
              <a:path w="360045" h="312420">
                <a:moveTo>
                  <a:pt x="203454" y="0"/>
                </a:moveTo>
                <a:lnTo>
                  <a:pt x="203454" y="78105"/>
                </a:lnTo>
                <a:lnTo>
                  <a:pt x="0" y="78105"/>
                </a:lnTo>
                <a:lnTo>
                  <a:pt x="0" y="234315"/>
                </a:lnTo>
                <a:lnTo>
                  <a:pt x="203454" y="234315"/>
                </a:lnTo>
                <a:lnTo>
                  <a:pt x="203454" y="312420"/>
                </a:lnTo>
                <a:lnTo>
                  <a:pt x="359663" y="156210"/>
                </a:lnTo>
                <a:lnTo>
                  <a:pt x="203454" y="0"/>
                </a:lnTo>
                <a:close/>
              </a:path>
            </a:pathLst>
          </a:custGeom>
          <a:solidFill>
            <a:srgbClr val="C1A171"/>
          </a:solidFill>
        </p:spPr>
        <p:txBody>
          <a:bodyPr wrap="square" lIns="0" tIns="0" rIns="0" bIns="0" rtlCol="0"/>
          <a:lstStyle/>
          <a:p>
            <a:endParaRPr kern="0">
              <a:solidFill>
                <a:sysClr val="windowText" lastClr="000000"/>
              </a:solidFill>
            </a:endParaRPr>
          </a:p>
        </p:txBody>
      </p:sp>
      <p:sp>
        <p:nvSpPr>
          <p:cNvPr id="42" name="object 36">
            <a:extLst>
              <a:ext uri="{FF2B5EF4-FFF2-40B4-BE49-F238E27FC236}">
                <a16:creationId xmlns:a16="http://schemas.microsoft.com/office/drawing/2014/main" id="{C0CCD6E1-0E74-33A6-52EB-5A7E2EB2C005}"/>
              </a:ext>
            </a:extLst>
          </p:cNvPr>
          <p:cNvSpPr/>
          <p:nvPr/>
        </p:nvSpPr>
        <p:spPr>
          <a:xfrm>
            <a:off x="4453128" y="5713476"/>
            <a:ext cx="360045" cy="312420"/>
          </a:xfrm>
          <a:custGeom>
            <a:avLst/>
            <a:gdLst/>
            <a:ahLst/>
            <a:cxnLst/>
            <a:rect l="l" t="t" r="r" b="b"/>
            <a:pathLst>
              <a:path w="360045" h="312420">
                <a:moveTo>
                  <a:pt x="203454" y="0"/>
                </a:moveTo>
                <a:lnTo>
                  <a:pt x="203454" y="78105"/>
                </a:lnTo>
                <a:lnTo>
                  <a:pt x="0" y="78105"/>
                </a:lnTo>
                <a:lnTo>
                  <a:pt x="0" y="234315"/>
                </a:lnTo>
                <a:lnTo>
                  <a:pt x="203454" y="234315"/>
                </a:lnTo>
                <a:lnTo>
                  <a:pt x="203454" y="312420"/>
                </a:lnTo>
                <a:lnTo>
                  <a:pt x="359663" y="156210"/>
                </a:lnTo>
                <a:lnTo>
                  <a:pt x="203454" y="0"/>
                </a:lnTo>
                <a:close/>
              </a:path>
            </a:pathLst>
          </a:custGeom>
          <a:solidFill>
            <a:srgbClr val="C1A171"/>
          </a:solidFill>
        </p:spPr>
        <p:txBody>
          <a:bodyPr wrap="square" lIns="0" tIns="0" rIns="0" bIns="0" rtlCol="0"/>
          <a:lstStyle/>
          <a:p>
            <a:endParaRPr kern="0">
              <a:solidFill>
                <a:sysClr val="windowText" lastClr="000000"/>
              </a:solidFill>
            </a:endParaRPr>
          </a:p>
        </p:txBody>
      </p:sp>
      <p:sp>
        <p:nvSpPr>
          <p:cNvPr id="43" name="object 37">
            <a:extLst>
              <a:ext uri="{FF2B5EF4-FFF2-40B4-BE49-F238E27FC236}">
                <a16:creationId xmlns:a16="http://schemas.microsoft.com/office/drawing/2014/main" id="{E9B50243-D56B-08A3-D98D-E8F7CC53DFBE}"/>
              </a:ext>
            </a:extLst>
          </p:cNvPr>
          <p:cNvSpPr/>
          <p:nvPr/>
        </p:nvSpPr>
        <p:spPr>
          <a:xfrm>
            <a:off x="7152133" y="2590800"/>
            <a:ext cx="360045" cy="312420"/>
          </a:xfrm>
          <a:custGeom>
            <a:avLst/>
            <a:gdLst/>
            <a:ahLst/>
            <a:cxnLst/>
            <a:rect l="l" t="t" r="r" b="b"/>
            <a:pathLst>
              <a:path w="360045" h="312419">
                <a:moveTo>
                  <a:pt x="203453" y="0"/>
                </a:moveTo>
                <a:lnTo>
                  <a:pt x="203453" y="78104"/>
                </a:lnTo>
                <a:lnTo>
                  <a:pt x="0" y="78104"/>
                </a:lnTo>
                <a:lnTo>
                  <a:pt x="0" y="234314"/>
                </a:lnTo>
                <a:lnTo>
                  <a:pt x="203453" y="234314"/>
                </a:lnTo>
                <a:lnTo>
                  <a:pt x="203453" y="312420"/>
                </a:lnTo>
                <a:lnTo>
                  <a:pt x="359663" y="156210"/>
                </a:lnTo>
                <a:lnTo>
                  <a:pt x="203453" y="0"/>
                </a:lnTo>
                <a:close/>
              </a:path>
            </a:pathLst>
          </a:custGeom>
          <a:solidFill>
            <a:srgbClr val="C1A171">
              <a:alpha val="82351"/>
            </a:srgbClr>
          </a:solidFill>
        </p:spPr>
        <p:txBody>
          <a:bodyPr wrap="square" lIns="0" tIns="0" rIns="0" bIns="0" rtlCol="0"/>
          <a:lstStyle/>
          <a:p>
            <a:endParaRPr kern="0">
              <a:solidFill>
                <a:sysClr val="windowText" lastClr="000000"/>
              </a:solidFill>
            </a:endParaRPr>
          </a:p>
        </p:txBody>
      </p:sp>
      <p:sp>
        <p:nvSpPr>
          <p:cNvPr id="44" name="object 38">
            <a:extLst>
              <a:ext uri="{FF2B5EF4-FFF2-40B4-BE49-F238E27FC236}">
                <a16:creationId xmlns:a16="http://schemas.microsoft.com/office/drawing/2014/main" id="{5BAFD1F7-0FE4-E02F-C2C4-4E260CE60EEB}"/>
              </a:ext>
            </a:extLst>
          </p:cNvPr>
          <p:cNvSpPr/>
          <p:nvPr/>
        </p:nvSpPr>
        <p:spPr>
          <a:xfrm>
            <a:off x="7152133" y="3633215"/>
            <a:ext cx="360045" cy="312420"/>
          </a:xfrm>
          <a:custGeom>
            <a:avLst/>
            <a:gdLst/>
            <a:ahLst/>
            <a:cxnLst/>
            <a:rect l="l" t="t" r="r" b="b"/>
            <a:pathLst>
              <a:path w="360045" h="312420">
                <a:moveTo>
                  <a:pt x="203453" y="0"/>
                </a:moveTo>
                <a:lnTo>
                  <a:pt x="203453" y="78104"/>
                </a:lnTo>
                <a:lnTo>
                  <a:pt x="0" y="78104"/>
                </a:lnTo>
                <a:lnTo>
                  <a:pt x="0" y="234314"/>
                </a:lnTo>
                <a:lnTo>
                  <a:pt x="203453" y="234314"/>
                </a:lnTo>
                <a:lnTo>
                  <a:pt x="203453" y="312419"/>
                </a:lnTo>
                <a:lnTo>
                  <a:pt x="359663" y="156209"/>
                </a:lnTo>
                <a:lnTo>
                  <a:pt x="203453" y="0"/>
                </a:lnTo>
                <a:close/>
              </a:path>
            </a:pathLst>
          </a:custGeom>
          <a:solidFill>
            <a:srgbClr val="C1A171">
              <a:alpha val="73724"/>
            </a:srgbClr>
          </a:solidFill>
        </p:spPr>
        <p:txBody>
          <a:bodyPr wrap="square" lIns="0" tIns="0" rIns="0" bIns="0" rtlCol="0"/>
          <a:lstStyle/>
          <a:p>
            <a:endParaRPr kern="0">
              <a:solidFill>
                <a:sysClr val="windowText" lastClr="000000"/>
              </a:solidFill>
            </a:endParaRPr>
          </a:p>
        </p:txBody>
      </p:sp>
      <p:sp>
        <p:nvSpPr>
          <p:cNvPr id="45" name="object 39">
            <a:extLst>
              <a:ext uri="{FF2B5EF4-FFF2-40B4-BE49-F238E27FC236}">
                <a16:creationId xmlns:a16="http://schemas.microsoft.com/office/drawing/2014/main" id="{A8AFD0A2-4100-6A37-9F0D-4A0C264E3297}"/>
              </a:ext>
            </a:extLst>
          </p:cNvPr>
          <p:cNvSpPr/>
          <p:nvPr/>
        </p:nvSpPr>
        <p:spPr>
          <a:xfrm>
            <a:off x="7152133" y="4683252"/>
            <a:ext cx="360045" cy="312420"/>
          </a:xfrm>
          <a:custGeom>
            <a:avLst/>
            <a:gdLst/>
            <a:ahLst/>
            <a:cxnLst/>
            <a:rect l="l" t="t" r="r" b="b"/>
            <a:pathLst>
              <a:path w="360045" h="312420">
                <a:moveTo>
                  <a:pt x="203453" y="0"/>
                </a:moveTo>
                <a:lnTo>
                  <a:pt x="203453" y="78105"/>
                </a:lnTo>
                <a:lnTo>
                  <a:pt x="0" y="78105"/>
                </a:lnTo>
                <a:lnTo>
                  <a:pt x="0" y="234315"/>
                </a:lnTo>
                <a:lnTo>
                  <a:pt x="203453" y="234315"/>
                </a:lnTo>
                <a:lnTo>
                  <a:pt x="203453" y="312420"/>
                </a:lnTo>
                <a:lnTo>
                  <a:pt x="359663" y="156210"/>
                </a:lnTo>
                <a:lnTo>
                  <a:pt x="203453" y="0"/>
                </a:lnTo>
                <a:close/>
              </a:path>
            </a:pathLst>
          </a:custGeom>
          <a:solidFill>
            <a:srgbClr val="C1A171">
              <a:alpha val="73724"/>
            </a:srgbClr>
          </a:solidFill>
        </p:spPr>
        <p:txBody>
          <a:bodyPr wrap="square" lIns="0" tIns="0" rIns="0" bIns="0" rtlCol="0"/>
          <a:lstStyle/>
          <a:p>
            <a:endParaRPr kern="0">
              <a:solidFill>
                <a:sysClr val="windowText" lastClr="000000"/>
              </a:solidFill>
            </a:endParaRPr>
          </a:p>
        </p:txBody>
      </p:sp>
      <p:sp>
        <p:nvSpPr>
          <p:cNvPr id="46" name="object 40">
            <a:extLst>
              <a:ext uri="{FF2B5EF4-FFF2-40B4-BE49-F238E27FC236}">
                <a16:creationId xmlns:a16="http://schemas.microsoft.com/office/drawing/2014/main" id="{15A203BF-27A9-B54C-29DC-2A7BE79CFBA1}"/>
              </a:ext>
            </a:extLst>
          </p:cNvPr>
          <p:cNvSpPr/>
          <p:nvPr/>
        </p:nvSpPr>
        <p:spPr>
          <a:xfrm>
            <a:off x="7152133" y="5713476"/>
            <a:ext cx="360045" cy="312420"/>
          </a:xfrm>
          <a:custGeom>
            <a:avLst/>
            <a:gdLst/>
            <a:ahLst/>
            <a:cxnLst/>
            <a:rect l="l" t="t" r="r" b="b"/>
            <a:pathLst>
              <a:path w="360045" h="312420">
                <a:moveTo>
                  <a:pt x="203453" y="0"/>
                </a:moveTo>
                <a:lnTo>
                  <a:pt x="203453" y="78105"/>
                </a:lnTo>
                <a:lnTo>
                  <a:pt x="0" y="78105"/>
                </a:lnTo>
                <a:lnTo>
                  <a:pt x="0" y="234315"/>
                </a:lnTo>
                <a:lnTo>
                  <a:pt x="203453" y="234315"/>
                </a:lnTo>
                <a:lnTo>
                  <a:pt x="203453" y="312420"/>
                </a:lnTo>
                <a:lnTo>
                  <a:pt x="359663" y="156210"/>
                </a:lnTo>
                <a:lnTo>
                  <a:pt x="203453" y="0"/>
                </a:lnTo>
                <a:close/>
              </a:path>
            </a:pathLst>
          </a:custGeom>
          <a:solidFill>
            <a:srgbClr val="C1A171">
              <a:alpha val="73724"/>
            </a:srgbClr>
          </a:solidFill>
        </p:spPr>
        <p:txBody>
          <a:bodyPr wrap="square" lIns="0" tIns="0" rIns="0" bIns="0" rtlCol="0"/>
          <a:lstStyle/>
          <a:p>
            <a:endParaRPr kern="0">
              <a:solidFill>
                <a:sysClr val="windowText" lastClr="000000"/>
              </a:solidFill>
            </a:endParaRPr>
          </a:p>
        </p:txBody>
      </p:sp>
      <p:sp>
        <p:nvSpPr>
          <p:cNvPr id="47" name="object 41">
            <a:extLst>
              <a:ext uri="{FF2B5EF4-FFF2-40B4-BE49-F238E27FC236}">
                <a16:creationId xmlns:a16="http://schemas.microsoft.com/office/drawing/2014/main" id="{E4BF255C-B169-9FD5-F835-2EB0484644B3}"/>
              </a:ext>
            </a:extLst>
          </p:cNvPr>
          <p:cNvSpPr/>
          <p:nvPr/>
        </p:nvSpPr>
        <p:spPr>
          <a:xfrm>
            <a:off x="8535797" y="3133089"/>
            <a:ext cx="287020" cy="275590"/>
          </a:xfrm>
          <a:custGeom>
            <a:avLst/>
            <a:gdLst/>
            <a:ahLst/>
            <a:cxnLst/>
            <a:rect l="l" t="t" r="r" b="b"/>
            <a:pathLst>
              <a:path w="287020" h="275589">
                <a:moveTo>
                  <a:pt x="286766" y="93980"/>
                </a:moveTo>
                <a:lnTo>
                  <a:pt x="187452" y="93980"/>
                </a:lnTo>
                <a:lnTo>
                  <a:pt x="187452" y="0"/>
                </a:lnTo>
                <a:lnTo>
                  <a:pt x="99314" y="0"/>
                </a:lnTo>
                <a:lnTo>
                  <a:pt x="99314" y="93980"/>
                </a:lnTo>
                <a:lnTo>
                  <a:pt x="0" y="93980"/>
                </a:lnTo>
                <a:lnTo>
                  <a:pt x="0" y="181610"/>
                </a:lnTo>
                <a:lnTo>
                  <a:pt x="99314" y="181610"/>
                </a:lnTo>
                <a:lnTo>
                  <a:pt x="99314" y="275590"/>
                </a:lnTo>
                <a:lnTo>
                  <a:pt x="187452" y="275590"/>
                </a:lnTo>
                <a:lnTo>
                  <a:pt x="187452" y="181610"/>
                </a:lnTo>
                <a:lnTo>
                  <a:pt x="286766" y="181610"/>
                </a:lnTo>
                <a:lnTo>
                  <a:pt x="286766" y="93980"/>
                </a:lnTo>
                <a:close/>
              </a:path>
            </a:pathLst>
          </a:custGeom>
          <a:solidFill>
            <a:srgbClr val="C1A171"/>
          </a:solidFill>
        </p:spPr>
        <p:txBody>
          <a:bodyPr wrap="square" lIns="0" tIns="0" rIns="0" bIns="0" rtlCol="0"/>
          <a:lstStyle/>
          <a:p>
            <a:endParaRPr kern="0">
              <a:solidFill>
                <a:sysClr val="windowText" lastClr="000000"/>
              </a:solidFill>
            </a:endParaRPr>
          </a:p>
        </p:txBody>
      </p:sp>
      <p:sp>
        <p:nvSpPr>
          <p:cNvPr id="48" name="object 42">
            <a:extLst>
              <a:ext uri="{FF2B5EF4-FFF2-40B4-BE49-F238E27FC236}">
                <a16:creationId xmlns:a16="http://schemas.microsoft.com/office/drawing/2014/main" id="{98765189-988F-96EA-FB10-228FCA2621D2}"/>
              </a:ext>
            </a:extLst>
          </p:cNvPr>
          <p:cNvSpPr/>
          <p:nvPr/>
        </p:nvSpPr>
        <p:spPr>
          <a:xfrm>
            <a:off x="8514334" y="4164329"/>
            <a:ext cx="285750" cy="276860"/>
          </a:xfrm>
          <a:custGeom>
            <a:avLst/>
            <a:gdLst/>
            <a:ahLst/>
            <a:cxnLst/>
            <a:rect l="l" t="t" r="r" b="b"/>
            <a:pathLst>
              <a:path w="285750" h="276860">
                <a:moveTo>
                  <a:pt x="285496" y="93980"/>
                </a:moveTo>
                <a:lnTo>
                  <a:pt x="187071" y="93980"/>
                </a:lnTo>
                <a:lnTo>
                  <a:pt x="187071" y="0"/>
                </a:lnTo>
                <a:lnTo>
                  <a:pt x="98425" y="0"/>
                </a:lnTo>
                <a:lnTo>
                  <a:pt x="98425" y="93980"/>
                </a:lnTo>
                <a:lnTo>
                  <a:pt x="0" y="93980"/>
                </a:lnTo>
                <a:lnTo>
                  <a:pt x="0" y="182880"/>
                </a:lnTo>
                <a:lnTo>
                  <a:pt x="98425" y="182880"/>
                </a:lnTo>
                <a:lnTo>
                  <a:pt x="98425" y="276860"/>
                </a:lnTo>
                <a:lnTo>
                  <a:pt x="187071" y="276860"/>
                </a:lnTo>
                <a:lnTo>
                  <a:pt x="187071" y="182880"/>
                </a:lnTo>
                <a:lnTo>
                  <a:pt x="285496" y="182880"/>
                </a:lnTo>
                <a:lnTo>
                  <a:pt x="285496" y="93980"/>
                </a:lnTo>
                <a:close/>
              </a:path>
            </a:pathLst>
          </a:custGeom>
          <a:solidFill>
            <a:srgbClr val="C1A171"/>
          </a:solidFill>
        </p:spPr>
        <p:txBody>
          <a:bodyPr wrap="square" lIns="0" tIns="0" rIns="0" bIns="0" rtlCol="0"/>
          <a:lstStyle/>
          <a:p>
            <a:endParaRPr kern="0">
              <a:solidFill>
                <a:sysClr val="windowText" lastClr="000000"/>
              </a:solidFill>
            </a:endParaRPr>
          </a:p>
        </p:txBody>
      </p:sp>
      <p:sp>
        <p:nvSpPr>
          <p:cNvPr id="49" name="object 43">
            <a:extLst>
              <a:ext uri="{FF2B5EF4-FFF2-40B4-BE49-F238E27FC236}">
                <a16:creationId xmlns:a16="http://schemas.microsoft.com/office/drawing/2014/main" id="{AD007794-A533-1596-DEED-C05C798C5FFF}"/>
              </a:ext>
            </a:extLst>
          </p:cNvPr>
          <p:cNvSpPr/>
          <p:nvPr/>
        </p:nvSpPr>
        <p:spPr>
          <a:xfrm>
            <a:off x="8488553" y="5215889"/>
            <a:ext cx="287020" cy="276860"/>
          </a:xfrm>
          <a:custGeom>
            <a:avLst/>
            <a:gdLst/>
            <a:ahLst/>
            <a:cxnLst/>
            <a:rect l="l" t="t" r="r" b="b"/>
            <a:pathLst>
              <a:path w="287020" h="276860">
                <a:moveTo>
                  <a:pt x="286766" y="93980"/>
                </a:moveTo>
                <a:lnTo>
                  <a:pt x="187706" y="93980"/>
                </a:lnTo>
                <a:lnTo>
                  <a:pt x="187706" y="0"/>
                </a:lnTo>
                <a:lnTo>
                  <a:pt x="99060" y="0"/>
                </a:lnTo>
                <a:lnTo>
                  <a:pt x="99060" y="93980"/>
                </a:lnTo>
                <a:lnTo>
                  <a:pt x="0" y="93980"/>
                </a:lnTo>
                <a:lnTo>
                  <a:pt x="0" y="182880"/>
                </a:lnTo>
                <a:lnTo>
                  <a:pt x="99060" y="182880"/>
                </a:lnTo>
                <a:lnTo>
                  <a:pt x="99060" y="276860"/>
                </a:lnTo>
                <a:lnTo>
                  <a:pt x="187706" y="276860"/>
                </a:lnTo>
                <a:lnTo>
                  <a:pt x="187706" y="182880"/>
                </a:lnTo>
                <a:lnTo>
                  <a:pt x="286766" y="182880"/>
                </a:lnTo>
                <a:lnTo>
                  <a:pt x="286766" y="93980"/>
                </a:lnTo>
                <a:close/>
              </a:path>
            </a:pathLst>
          </a:custGeom>
          <a:solidFill>
            <a:srgbClr val="C1A171"/>
          </a:solidFill>
        </p:spPr>
        <p:txBody>
          <a:bodyPr wrap="square" lIns="0" tIns="0" rIns="0" bIns="0" rtlCol="0"/>
          <a:lstStyle/>
          <a:p>
            <a:endParaRPr kern="0">
              <a:solidFill>
                <a:sysClr val="windowText" lastClr="000000"/>
              </a:solidFill>
            </a:endParaRPr>
          </a:p>
        </p:txBody>
      </p:sp>
      <p:sp>
        <p:nvSpPr>
          <p:cNvPr id="50" name="object 44">
            <a:extLst>
              <a:ext uri="{FF2B5EF4-FFF2-40B4-BE49-F238E27FC236}">
                <a16:creationId xmlns:a16="http://schemas.microsoft.com/office/drawing/2014/main" id="{F1622CA2-236E-9E2D-BF2B-D004336B41AB}"/>
              </a:ext>
            </a:extLst>
          </p:cNvPr>
          <p:cNvSpPr/>
          <p:nvPr/>
        </p:nvSpPr>
        <p:spPr>
          <a:xfrm>
            <a:off x="5829300" y="3063240"/>
            <a:ext cx="312420" cy="360045"/>
          </a:xfrm>
          <a:custGeom>
            <a:avLst/>
            <a:gdLst/>
            <a:ahLst/>
            <a:cxnLst/>
            <a:rect l="l" t="t" r="r" b="b"/>
            <a:pathLst>
              <a:path w="312420" h="360045">
                <a:moveTo>
                  <a:pt x="234314" y="0"/>
                </a:moveTo>
                <a:lnTo>
                  <a:pt x="78104" y="0"/>
                </a:lnTo>
                <a:lnTo>
                  <a:pt x="78104" y="203454"/>
                </a:lnTo>
                <a:lnTo>
                  <a:pt x="0" y="203454"/>
                </a:lnTo>
                <a:lnTo>
                  <a:pt x="156210" y="359663"/>
                </a:lnTo>
                <a:lnTo>
                  <a:pt x="312420" y="203454"/>
                </a:lnTo>
                <a:lnTo>
                  <a:pt x="234314" y="203454"/>
                </a:lnTo>
                <a:lnTo>
                  <a:pt x="234314" y="0"/>
                </a:lnTo>
                <a:close/>
              </a:path>
            </a:pathLst>
          </a:custGeom>
          <a:solidFill>
            <a:srgbClr val="C1A171">
              <a:alpha val="82351"/>
            </a:srgbClr>
          </a:solidFill>
        </p:spPr>
        <p:txBody>
          <a:bodyPr wrap="square" lIns="0" tIns="0" rIns="0" bIns="0" rtlCol="0"/>
          <a:lstStyle/>
          <a:p>
            <a:endParaRPr kern="0">
              <a:solidFill>
                <a:sysClr val="windowText" lastClr="000000"/>
              </a:solidFill>
            </a:endParaRPr>
          </a:p>
        </p:txBody>
      </p:sp>
      <p:sp>
        <p:nvSpPr>
          <p:cNvPr id="51" name="object 45">
            <a:extLst>
              <a:ext uri="{FF2B5EF4-FFF2-40B4-BE49-F238E27FC236}">
                <a16:creationId xmlns:a16="http://schemas.microsoft.com/office/drawing/2014/main" id="{A31AB234-67EA-F3D2-10B2-4B2A7CFFA81F}"/>
              </a:ext>
            </a:extLst>
          </p:cNvPr>
          <p:cNvSpPr/>
          <p:nvPr/>
        </p:nvSpPr>
        <p:spPr>
          <a:xfrm>
            <a:off x="5826252" y="4105656"/>
            <a:ext cx="312420" cy="361315"/>
          </a:xfrm>
          <a:custGeom>
            <a:avLst/>
            <a:gdLst/>
            <a:ahLst/>
            <a:cxnLst/>
            <a:rect l="l" t="t" r="r" b="b"/>
            <a:pathLst>
              <a:path w="312420" h="361314">
                <a:moveTo>
                  <a:pt x="234314" y="0"/>
                </a:moveTo>
                <a:lnTo>
                  <a:pt x="78105" y="0"/>
                </a:lnTo>
                <a:lnTo>
                  <a:pt x="78105" y="204978"/>
                </a:lnTo>
                <a:lnTo>
                  <a:pt x="0" y="204978"/>
                </a:lnTo>
                <a:lnTo>
                  <a:pt x="156210" y="361188"/>
                </a:lnTo>
                <a:lnTo>
                  <a:pt x="312420" y="204978"/>
                </a:lnTo>
                <a:lnTo>
                  <a:pt x="234314" y="204978"/>
                </a:lnTo>
                <a:lnTo>
                  <a:pt x="234314" y="0"/>
                </a:lnTo>
                <a:close/>
              </a:path>
            </a:pathLst>
          </a:custGeom>
          <a:solidFill>
            <a:srgbClr val="C1A171">
              <a:alpha val="73724"/>
            </a:srgbClr>
          </a:solidFill>
        </p:spPr>
        <p:txBody>
          <a:bodyPr wrap="square" lIns="0" tIns="0" rIns="0" bIns="0" rtlCol="0"/>
          <a:lstStyle/>
          <a:p>
            <a:endParaRPr kern="0">
              <a:solidFill>
                <a:sysClr val="windowText" lastClr="000000"/>
              </a:solidFill>
            </a:endParaRPr>
          </a:p>
        </p:txBody>
      </p:sp>
      <p:sp>
        <p:nvSpPr>
          <p:cNvPr id="52" name="object 46">
            <a:extLst>
              <a:ext uri="{FF2B5EF4-FFF2-40B4-BE49-F238E27FC236}">
                <a16:creationId xmlns:a16="http://schemas.microsoft.com/office/drawing/2014/main" id="{C77B9DAE-C55D-9A45-98AB-406D960ED68A}"/>
              </a:ext>
            </a:extLst>
          </p:cNvPr>
          <p:cNvSpPr/>
          <p:nvPr/>
        </p:nvSpPr>
        <p:spPr>
          <a:xfrm>
            <a:off x="5826252" y="5155692"/>
            <a:ext cx="312420" cy="361315"/>
          </a:xfrm>
          <a:custGeom>
            <a:avLst/>
            <a:gdLst/>
            <a:ahLst/>
            <a:cxnLst/>
            <a:rect l="l" t="t" r="r" b="b"/>
            <a:pathLst>
              <a:path w="312420" h="361314">
                <a:moveTo>
                  <a:pt x="234314" y="0"/>
                </a:moveTo>
                <a:lnTo>
                  <a:pt x="78105" y="0"/>
                </a:lnTo>
                <a:lnTo>
                  <a:pt x="78105" y="204977"/>
                </a:lnTo>
                <a:lnTo>
                  <a:pt x="0" y="204977"/>
                </a:lnTo>
                <a:lnTo>
                  <a:pt x="156210" y="361187"/>
                </a:lnTo>
                <a:lnTo>
                  <a:pt x="312420" y="204977"/>
                </a:lnTo>
                <a:lnTo>
                  <a:pt x="234314" y="204977"/>
                </a:lnTo>
                <a:lnTo>
                  <a:pt x="234314" y="0"/>
                </a:lnTo>
                <a:close/>
              </a:path>
            </a:pathLst>
          </a:custGeom>
          <a:solidFill>
            <a:srgbClr val="C1A171">
              <a:alpha val="53724"/>
            </a:srgbClr>
          </a:solidFill>
        </p:spPr>
        <p:txBody>
          <a:bodyPr wrap="square" lIns="0" tIns="0" rIns="0" bIns="0" rtlCol="0"/>
          <a:lstStyle/>
          <a:p>
            <a:endParaRPr kern="0">
              <a:solidFill>
                <a:sysClr val="windowText" lastClr="000000"/>
              </a:solidFill>
            </a:endParaRPr>
          </a:p>
        </p:txBody>
      </p:sp>
    </p:spTree>
    <p:extLst>
      <p:ext uri="{BB962C8B-B14F-4D97-AF65-F5344CB8AC3E}">
        <p14:creationId xmlns:p14="http://schemas.microsoft.com/office/powerpoint/2010/main" val="1535569760"/>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C20B4F-3449-D58F-4E05-7F4AE0B9BB7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21CC065-88FA-AB37-3FB9-54B8B28B5976}"/>
              </a:ext>
            </a:extLst>
          </p:cNvPr>
          <p:cNvGraphicFramePr>
            <a:graphicFrameLocks noChangeAspect="1"/>
          </p:cNvGraphicFramePr>
          <p:nvPr>
            <p:custDataLst>
              <p:tags r:id="rId1"/>
            </p:custDataLst>
          </p:nvPr>
        </p:nvGraphicFramePr>
        <p:xfrm>
          <a:off x="3969" y="2580"/>
          <a:ext cx="794" cy="794"/>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think-cell data - do not delete" hidden="1">
                        <a:extLst>
                          <a:ext uri="{FF2B5EF4-FFF2-40B4-BE49-F238E27FC236}">
                            <a16:creationId xmlns:a16="http://schemas.microsoft.com/office/drawing/2014/main" id="{221CC065-88FA-AB37-3FB9-54B8B28B5976}"/>
                          </a:ext>
                        </a:extLst>
                      </p:cNvPr>
                      <p:cNvPicPr/>
                      <p:nvPr/>
                    </p:nvPicPr>
                    <p:blipFill>
                      <a:blip r:embed="rId5"/>
                      <a:stretch>
                        <a:fillRect/>
                      </a:stretch>
                    </p:blipFill>
                    <p:spPr>
                      <a:xfrm>
                        <a:off x="3969" y="2580"/>
                        <a:ext cx="794" cy="794"/>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4CC2FA1-6CD0-0CED-B9A3-B7C238AA92AF}"/>
              </a:ext>
            </a:extLst>
          </p:cNvPr>
          <p:cNvSpPr>
            <a:spLocks noGrp="1"/>
          </p:cNvSpPr>
          <p:nvPr>
            <p:ph type="title"/>
          </p:nvPr>
        </p:nvSpPr>
        <p:spPr>
          <a:xfrm>
            <a:off x="184075" y="4892560"/>
            <a:ext cx="6211915" cy="743506"/>
          </a:xfrm>
        </p:spPr>
        <p:txBody>
          <a:bodyPr vert="horz" anchor="ctr">
            <a:noAutofit/>
          </a:bodyPr>
          <a:lstStyle/>
          <a:p>
            <a:pPr rtl="1"/>
            <a:r>
              <a:rPr lang="ar-SA" sz="3000" dirty="0"/>
              <a:t>تطوير مؤشرات الأداء الرئيسية</a:t>
            </a:r>
            <a:endParaRPr lang="en-US" sz="3000" dirty="0"/>
          </a:p>
        </p:txBody>
      </p:sp>
    </p:spTree>
    <p:extLst>
      <p:ext uri="{BB962C8B-B14F-4D97-AF65-F5344CB8AC3E}">
        <p14:creationId xmlns:p14="http://schemas.microsoft.com/office/powerpoint/2010/main" val="1756314205"/>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613408-A489-03F0-69A9-A9683F4F0EDC}"/>
            </a:ext>
          </a:extLst>
        </p:cNvPr>
        <p:cNvGrpSpPr/>
        <p:nvPr/>
      </p:nvGrpSpPr>
      <p:grpSpPr>
        <a:xfrm>
          <a:off x="0" y="0"/>
          <a:ext cx="0" cy="0"/>
          <a:chOff x="0" y="0"/>
          <a:chExt cx="0" cy="0"/>
        </a:xfrm>
      </p:grpSpPr>
      <p:grpSp>
        <p:nvGrpSpPr>
          <p:cNvPr id="17" name="object 2">
            <a:extLst>
              <a:ext uri="{FF2B5EF4-FFF2-40B4-BE49-F238E27FC236}">
                <a16:creationId xmlns:a16="http://schemas.microsoft.com/office/drawing/2014/main" id="{8D49BCD7-57E8-26F6-99CB-2826C2AAA169}"/>
              </a:ext>
            </a:extLst>
          </p:cNvPr>
          <p:cNvGrpSpPr/>
          <p:nvPr/>
        </p:nvGrpSpPr>
        <p:grpSpPr>
          <a:xfrm>
            <a:off x="2705101" y="2607564"/>
            <a:ext cx="2632075" cy="2219960"/>
            <a:chOff x="1181100" y="2607564"/>
            <a:chExt cx="2632075" cy="2219960"/>
          </a:xfrm>
        </p:grpSpPr>
        <p:sp>
          <p:nvSpPr>
            <p:cNvPr id="18" name="object 3">
              <a:extLst>
                <a:ext uri="{FF2B5EF4-FFF2-40B4-BE49-F238E27FC236}">
                  <a16:creationId xmlns:a16="http://schemas.microsoft.com/office/drawing/2014/main" id="{B0515DB5-7650-8658-A601-6E966DF530B0}"/>
                </a:ext>
              </a:extLst>
            </p:cNvPr>
            <p:cNvSpPr/>
            <p:nvPr/>
          </p:nvSpPr>
          <p:spPr>
            <a:xfrm>
              <a:off x="1181100" y="2607563"/>
              <a:ext cx="1809750" cy="2219960"/>
            </a:xfrm>
            <a:custGeom>
              <a:avLst/>
              <a:gdLst/>
              <a:ahLst/>
              <a:cxnLst/>
              <a:rect l="l" t="t" r="r" b="b"/>
              <a:pathLst>
                <a:path w="1809750" h="2219960">
                  <a:moveTo>
                    <a:pt x="1809242" y="2143252"/>
                  </a:moveTo>
                  <a:lnTo>
                    <a:pt x="1777492" y="2143252"/>
                  </a:lnTo>
                  <a:lnTo>
                    <a:pt x="1777492" y="1257554"/>
                  </a:lnTo>
                  <a:lnTo>
                    <a:pt x="1777492" y="1244854"/>
                  </a:lnTo>
                  <a:lnTo>
                    <a:pt x="861314" y="1244854"/>
                  </a:lnTo>
                  <a:lnTo>
                    <a:pt x="861314" y="764413"/>
                  </a:lnTo>
                  <a:lnTo>
                    <a:pt x="1423162" y="764413"/>
                  </a:lnTo>
                  <a:lnTo>
                    <a:pt x="1423162" y="796163"/>
                  </a:lnTo>
                  <a:lnTo>
                    <a:pt x="1486662" y="764413"/>
                  </a:lnTo>
                  <a:lnTo>
                    <a:pt x="1499362" y="758063"/>
                  </a:lnTo>
                  <a:lnTo>
                    <a:pt x="1486662" y="751713"/>
                  </a:lnTo>
                  <a:lnTo>
                    <a:pt x="1423162" y="719963"/>
                  </a:lnTo>
                  <a:lnTo>
                    <a:pt x="1423162" y="751713"/>
                  </a:lnTo>
                  <a:lnTo>
                    <a:pt x="861314" y="751713"/>
                  </a:lnTo>
                  <a:lnTo>
                    <a:pt x="861314" y="0"/>
                  </a:lnTo>
                  <a:lnTo>
                    <a:pt x="860425" y="0"/>
                  </a:lnTo>
                  <a:lnTo>
                    <a:pt x="848614" y="0"/>
                  </a:lnTo>
                  <a:lnTo>
                    <a:pt x="847725" y="0"/>
                  </a:lnTo>
                  <a:lnTo>
                    <a:pt x="847725" y="1244854"/>
                  </a:lnTo>
                  <a:lnTo>
                    <a:pt x="31750" y="1244854"/>
                  </a:lnTo>
                  <a:lnTo>
                    <a:pt x="31750" y="2143252"/>
                  </a:lnTo>
                  <a:lnTo>
                    <a:pt x="0" y="2143252"/>
                  </a:lnTo>
                  <a:lnTo>
                    <a:pt x="38100" y="2219452"/>
                  </a:lnTo>
                  <a:lnTo>
                    <a:pt x="69850" y="2155952"/>
                  </a:lnTo>
                  <a:lnTo>
                    <a:pt x="76200" y="2143252"/>
                  </a:lnTo>
                  <a:lnTo>
                    <a:pt x="44450" y="2143252"/>
                  </a:lnTo>
                  <a:lnTo>
                    <a:pt x="44450" y="1257554"/>
                  </a:lnTo>
                  <a:lnTo>
                    <a:pt x="848614" y="1257554"/>
                  </a:lnTo>
                  <a:lnTo>
                    <a:pt x="860425" y="1257554"/>
                  </a:lnTo>
                  <a:lnTo>
                    <a:pt x="1764792" y="1257554"/>
                  </a:lnTo>
                  <a:lnTo>
                    <a:pt x="1764792" y="2143252"/>
                  </a:lnTo>
                  <a:lnTo>
                    <a:pt x="1733042" y="2143252"/>
                  </a:lnTo>
                  <a:lnTo>
                    <a:pt x="1771142" y="2219452"/>
                  </a:lnTo>
                  <a:lnTo>
                    <a:pt x="1802892" y="2155952"/>
                  </a:lnTo>
                  <a:lnTo>
                    <a:pt x="1809242" y="2143252"/>
                  </a:lnTo>
                  <a:close/>
                </a:path>
              </a:pathLst>
            </a:custGeom>
            <a:solidFill>
              <a:srgbClr val="A78B5E"/>
            </a:solidFill>
          </p:spPr>
          <p:txBody>
            <a:bodyPr wrap="square" lIns="0" tIns="0" rIns="0" bIns="0" rtlCol="0"/>
            <a:lstStyle/>
            <a:p>
              <a:endParaRPr kern="0">
                <a:solidFill>
                  <a:sysClr val="windowText" lastClr="000000"/>
                </a:solidFill>
              </a:endParaRPr>
            </a:p>
          </p:txBody>
        </p:sp>
        <p:pic>
          <p:nvPicPr>
            <p:cNvPr id="19" name="object 4">
              <a:extLst>
                <a:ext uri="{FF2B5EF4-FFF2-40B4-BE49-F238E27FC236}">
                  <a16:creationId xmlns:a16="http://schemas.microsoft.com/office/drawing/2014/main" id="{F01CFB5E-B9B9-20D5-69C8-75C788FE6CE8}"/>
                </a:ext>
              </a:extLst>
            </p:cNvPr>
            <p:cNvPicPr/>
            <p:nvPr/>
          </p:nvPicPr>
          <p:blipFill>
            <a:blip r:embed="rId2" cstate="print"/>
            <a:stretch>
              <a:fillRect/>
            </a:stretch>
          </p:blipFill>
          <p:spPr>
            <a:xfrm>
              <a:off x="2182367" y="3625608"/>
              <a:ext cx="1630680" cy="609587"/>
            </a:xfrm>
            <a:prstGeom prst="rect">
              <a:avLst/>
            </a:prstGeom>
          </p:spPr>
        </p:pic>
        <p:pic>
          <p:nvPicPr>
            <p:cNvPr id="20" name="object 5">
              <a:extLst>
                <a:ext uri="{FF2B5EF4-FFF2-40B4-BE49-F238E27FC236}">
                  <a16:creationId xmlns:a16="http://schemas.microsoft.com/office/drawing/2014/main" id="{79D64DB3-8705-17E1-4DEF-ED56B967AA3A}"/>
                </a:ext>
              </a:extLst>
            </p:cNvPr>
            <p:cNvPicPr/>
            <p:nvPr/>
          </p:nvPicPr>
          <p:blipFill>
            <a:blip r:embed="rId3" cstate="print"/>
            <a:stretch>
              <a:fillRect/>
            </a:stretch>
          </p:blipFill>
          <p:spPr>
            <a:xfrm>
              <a:off x="2211324" y="3649954"/>
              <a:ext cx="1571244" cy="605053"/>
            </a:xfrm>
            <a:prstGeom prst="rect">
              <a:avLst/>
            </a:prstGeom>
          </p:spPr>
        </p:pic>
        <p:sp>
          <p:nvSpPr>
            <p:cNvPr id="21" name="object 6">
              <a:extLst>
                <a:ext uri="{FF2B5EF4-FFF2-40B4-BE49-F238E27FC236}">
                  <a16:creationId xmlns:a16="http://schemas.microsoft.com/office/drawing/2014/main" id="{8388B0C5-3AB1-BD5B-8598-CE08D708F624}"/>
                </a:ext>
              </a:extLst>
            </p:cNvPr>
            <p:cNvSpPr/>
            <p:nvPr/>
          </p:nvSpPr>
          <p:spPr>
            <a:xfrm>
              <a:off x="2208275" y="3651504"/>
              <a:ext cx="1529080" cy="508000"/>
            </a:xfrm>
            <a:custGeom>
              <a:avLst/>
              <a:gdLst/>
              <a:ahLst/>
              <a:cxnLst/>
              <a:rect l="l" t="t" r="r" b="b"/>
              <a:pathLst>
                <a:path w="1529079" h="508000">
                  <a:moveTo>
                    <a:pt x="1443989" y="0"/>
                  </a:moveTo>
                  <a:lnTo>
                    <a:pt x="84581" y="0"/>
                  </a:lnTo>
                  <a:lnTo>
                    <a:pt x="51649" y="6643"/>
                  </a:lnTo>
                  <a:lnTo>
                    <a:pt x="24764" y="24765"/>
                  </a:lnTo>
                  <a:lnTo>
                    <a:pt x="6643" y="51649"/>
                  </a:lnTo>
                  <a:lnTo>
                    <a:pt x="0" y="84582"/>
                  </a:lnTo>
                  <a:lnTo>
                    <a:pt x="0" y="422910"/>
                  </a:lnTo>
                  <a:lnTo>
                    <a:pt x="6643" y="455842"/>
                  </a:lnTo>
                  <a:lnTo>
                    <a:pt x="24765" y="482727"/>
                  </a:lnTo>
                  <a:lnTo>
                    <a:pt x="51649" y="500848"/>
                  </a:lnTo>
                  <a:lnTo>
                    <a:pt x="84581" y="507492"/>
                  </a:lnTo>
                  <a:lnTo>
                    <a:pt x="1443989" y="507492"/>
                  </a:lnTo>
                  <a:lnTo>
                    <a:pt x="1476922" y="500848"/>
                  </a:lnTo>
                  <a:lnTo>
                    <a:pt x="1503807" y="482727"/>
                  </a:lnTo>
                  <a:lnTo>
                    <a:pt x="1521928" y="455842"/>
                  </a:lnTo>
                  <a:lnTo>
                    <a:pt x="1528572" y="422910"/>
                  </a:lnTo>
                  <a:lnTo>
                    <a:pt x="1528572" y="84582"/>
                  </a:lnTo>
                  <a:lnTo>
                    <a:pt x="1521928" y="51649"/>
                  </a:lnTo>
                  <a:lnTo>
                    <a:pt x="1503806" y="24765"/>
                  </a:lnTo>
                  <a:lnTo>
                    <a:pt x="1476922" y="6643"/>
                  </a:lnTo>
                  <a:lnTo>
                    <a:pt x="1443989" y="0"/>
                  </a:lnTo>
                  <a:close/>
                </a:path>
              </a:pathLst>
            </a:custGeom>
            <a:solidFill>
              <a:srgbClr val="A78B5E"/>
            </a:solidFill>
          </p:spPr>
          <p:txBody>
            <a:bodyPr wrap="square" lIns="0" tIns="0" rIns="0" bIns="0" rtlCol="0"/>
            <a:lstStyle/>
            <a:p>
              <a:endParaRPr kern="0">
                <a:solidFill>
                  <a:sysClr val="windowText" lastClr="000000"/>
                </a:solidFill>
              </a:endParaRPr>
            </a:p>
          </p:txBody>
        </p:sp>
      </p:grpSp>
      <p:sp>
        <p:nvSpPr>
          <p:cNvPr id="22" name="object 7">
            <a:extLst>
              <a:ext uri="{FF2B5EF4-FFF2-40B4-BE49-F238E27FC236}">
                <a16:creationId xmlns:a16="http://schemas.microsoft.com/office/drawing/2014/main" id="{88505504-5E78-EFE6-D45B-D85DD4C3E756}"/>
              </a:ext>
            </a:extLst>
          </p:cNvPr>
          <p:cNvSpPr txBox="1">
            <a:spLocks/>
          </p:cNvSpPr>
          <p:nvPr/>
        </p:nvSpPr>
        <p:spPr>
          <a:xfrm>
            <a:off x="2705101" y="341374"/>
            <a:ext cx="11292772" cy="564347"/>
          </a:xfrm>
          <a:prstGeom prst="rect">
            <a:avLst/>
          </a:prstGeom>
        </p:spPr>
        <p:txBody>
          <a:bodyPr vert="horz" wrap="square" lIns="0" tIns="193129" rIns="0" bIns="0" rtlCol="0">
            <a:sp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31115">
              <a:spcBef>
                <a:spcPts val="100"/>
              </a:spcBef>
            </a:pPr>
            <a:r>
              <a:rPr lang="ar-SA" sz="2400" dirty="0">
                <a:solidFill>
                  <a:srgbClr val="A78B5E"/>
                </a:solidFill>
                <a:latin typeface="Avenir Next Arabic Demi" panose="020B0703020202020204" pitchFamily="34" charset="-78"/>
                <a:cs typeface="Avenir Next Arabic Demi" panose="020B0703020202020204" pitchFamily="34" charset="-78"/>
              </a:rPr>
              <a:t>حوكمة إطار قياس مؤشرات الأداء الرئيسية</a:t>
            </a:r>
          </a:p>
        </p:txBody>
      </p:sp>
      <p:sp>
        <p:nvSpPr>
          <p:cNvPr id="53" name="object 8">
            <a:extLst>
              <a:ext uri="{FF2B5EF4-FFF2-40B4-BE49-F238E27FC236}">
                <a16:creationId xmlns:a16="http://schemas.microsoft.com/office/drawing/2014/main" id="{5C1A1C56-1B60-E5F6-3FB0-D8207CB53AC3}"/>
              </a:ext>
            </a:extLst>
          </p:cNvPr>
          <p:cNvSpPr txBox="1"/>
          <p:nvPr/>
        </p:nvSpPr>
        <p:spPr>
          <a:xfrm>
            <a:off x="3641531" y="3769788"/>
            <a:ext cx="1918748" cy="182101"/>
          </a:xfrm>
          <a:prstGeom prst="rect">
            <a:avLst/>
          </a:prstGeom>
        </p:spPr>
        <p:txBody>
          <a:bodyPr vert="horz" wrap="square" lIns="0" tIns="12700" rIns="0" bIns="0" rtlCol="0">
            <a:spAutoFit/>
          </a:bodyPr>
          <a:lstStyle/>
          <a:p>
            <a:pPr marL="12700" marR="5080" indent="324485">
              <a:spcBef>
                <a:spcPts val="100"/>
              </a:spcBef>
            </a:pPr>
            <a:r>
              <a:rPr lang="ar-SA" sz="1100" kern="0" spc="-20" dirty="0">
                <a:solidFill>
                  <a:srgbClr val="FFFFFF"/>
                </a:solidFill>
                <a:latin typeface="Tahoma"/>
                <a:cs typeface="Tahoma"/>
              </a:rPr>
              <a:t>مكتب الاستراتيجية / الأداء</a:t>
            </a:r>
          </a:p>
        </p:txBody>
      </p:sp>
      <p:pic>
        <p:nvPicPr>
          <p:cNvPr id="55" name="object 10">
            <a:extLst>
              <a:ext uri="{FF2B5EF4-FFF2-40B4-BE49-F238E27FC236}">
                <a16:creationId xmlns:a16="http://schemas.microsoft.com/office/drawing/2014/main" id="{C626FDF6-E3CB-0BD7-1D28-604EF068406D}"/>
              </a:ext>
            </a:extLst>
          </p:cNvPr>
          <p:cNvPicPr/>
          <p:nvPr/>
        </p:nvPicPr>
        <p:blipFill>
          <a:blip r:embed="rId4" cstate="print"/>
          <a:stretch>
            <a:fillRect/>
          </a:stretch>
        </p:blipFill>
        <p:spPr>
          <a:xfrm>
            <a:off x="4167858" y="2896213"/>
            <a:ext cx="728459" cy="726948"/>
          </a:xfrm>
          <a:prstGeom prst="rect">
            <a:avLst/>
          </a:prstGeom>
        </p:spPr>
      </p:pic>
      <p:pic>
        <p:nvPicPr>
          <p:cNvPr id="56" name="object 11">
            <a:extLst>
              <a:ext uri="{FF2B5EF4-FFF2-40B4-BE49-F238E27FC236}">
                <a16:creationId xmlns:a16="http://schemas.microsoft.com/office/drawing/2014/main" id="{E97B2F94-6E75-3E78-0B17-B40BDDB5B7EE}"/>
              </a:ext>
            </a:extLst>
          </p:cNvPr>
          <p:cNvPicPr/>
          <p:nvPr/>
        </p:nvPicPr>
        <p:blipFill>
          <a:blip r:embed="rId5" cstate="print">
            <a:duotone>
              <a:prstClr val="black"/>
              <a:schemeClr val="accent6">
                <a:tint val="45000"/>
                <a:satMod val="400000"/>
              </a:schemeClr>
            </a:duotone>
            <a:extLst>
              <a:ext uri="{BEBA8EAE-BF5A-486C-A8C5-ECC9F3942E4B}">
                <a14:imgProps xmlns:a14="http://schemas.microsoft.com/office/drawing/2010/main">
                  <a14:imgLayer r:embed="rId6">
                    <a14:imgEffect>
                      <a14:brightnessContrast bright="20000" contrast="40000"/>
                    </a14:imgEffect>
                  </a14:imgLayer>
                </a14:imgProps>
              </a:ext>
            </a:extLst>
          </a:blip>
          <a:stretch>
            <a:fillRect/>
          </a:stretch>
        </p:blipFill>
        <p:spPr>
          <a:xfrm>
            <a:off x="4203192" y="2951225"/>
            <a:ext cx="650722" cy="640079"/>
          </a:xfrm>
          <a:prstGeom prst="rect">
            <a:avLst/>
          </a:prstGeom>
        </p:spPr>
      </p:pic>
      <p:sp>
        <p:nvSpPr>
          <p:cNvPr id="57" name="object 12">
            <a:extLst>
              <a:ext uri="{FF2B5EF4-FFF2-40B4-BE49-F238E27FC236}">
                <a16:creationId xmlns:a16="http://schemas.microsoft.com/office/drawing/2014/main" id="{207CE7BA-A82E-26F6-7820-0340961EF173}"/>
              </a:ext>
            </a:extLst>
          </p:cNvPr>
          <p:cNvSpPr/>
          <p:nvPr/>
        </p:nvSpPr>
        <p:spPr>
          <a:xfrm>
            <a:off x="4248438" y="2995583"/>
            <a:ext cx="527685" cy="527685"/>
          </a:xfrm>
          <a:custGeom>
            <a:avLst/>
            <a:gdLst/>
            <a:ahLst/>
            <a:cxnLst/>
            <a:rect l="l" t="t" r="r" b="b"/>
            <a:pathLst>
              <a:path w="527685" h="527685">
                <a:moveTo>
                  <a:pt x="263651" y="0"/>
                </a:moveTo>
                <a:lnTo>
                  <a:pt x="216244" y="4245"/>
                </a:lnTo>
                <a:lnTo>
                  <a:pt x="171631" y="16488"/>
                </a:lnTo>
                <a:lnTo>
                  <a:pt x="130555" y="35983"/>
                </a:lnTo>
                <a:lnTo>
                  <a:pt x="93760" y="61988"/>
                </a:lnTo>
                <a:lnTo>
                  <a:pt x="61988" y="93760"/>
                </a:lnTo>
                <a:lnTo>
                  <a:pt x="35983" y="130555"/>
                </a:lnTo>
                <a:lnTo>
                  <a:pt x="16488" y="171631"/>
                </a:lnTo>
                <a:lnTo>
                  <a:pt x="4245" y="216244"/>
                </a:lnTo>
                <a:lnTo>
                  <a:pt x="0" y="263651"/>
                </a:lnTo>
                <a:lnTo>
                  <a:pt x="4245" y="311059"/>
                </a:lnTo>
                <a:lnTo>
                  <a:pt x="16488" y="355672"/>
                </a:lnTo>
                <a:lnTo>
                  <a:pt x="35983" y="396748"/>
                </a:lnTo>
                <a:lnTo>
                  <a:pt x="61988" y="433543"/>
                </a:lnTo>
                <a:lnTo>
                  <a:pt x="93760" y="465315"/>
                </a:lnTo>
                <a:lnTo>
                  <a:pt x="130556" y="491320"/>
                </a:lnTo>
                <a:lnTo>
                  <a:pt x="171631" y="510815"/>
                </a:lnTo>
                <a:lnTo>
                  <a:pt x="216244" y="523058"/>
                </a:lnTo>
                <a:lnTo>
                  <a:pt x="263651" y="527303"/>
                </a:lnTo>
                <a:lnTo>
                  <a:pt x="311059" y="523058"/>
                </a:lnTo>
                <a:lnTo>
                  <a:pt x="355672" y="510815"/>
                </a:lnTo>
                <a:lnTo>
                  <a:pt x="396748" y="491320"/>
                </a:lnTo>
                <a:lnTo>
                  <a:pt x="433543" y="465315"/>
                </a:lnTo>
                <a:lnTo>
                  <a:pt x="465315" y="433543"/>
                </a:lnTo>
                <a:lnTo>
                  <a:pt x="491320" y="396747"/>
                </a:lnTo>
                <a:lnTo>
                  <a:pt x="510815" y="355672"/>
                </a:lnTo>
                <a:lnTo>
                  <a:pt x="523058" y="311059"/>
                </a:lnTo>
                <a:lnTo>
                  <a:pt x="527303" y="263651"/>
                </a:lnTo>
                <a:lnTo>
                  <a:pt x="523058" y="216244"/>
                </a:lnTo>
                <a:lnTo>
                  <a:pt x="510815" y="171631"/>
                </a:lnTo>
                <a:lnTo>
                  <a:pt x="491320" y="130556"/>
                </a:lnTo>
                <a:lnTo>
                  <a:pt x="465315" y="93760"/>
                </a:lnTo>
                <a:lnTo>
                  <a:pt x="433543" y="61988"/>
                </a:lnTo>
                <a:lnTo>
                  <a:pt x="396747" y="35983"/>
                </a:lnTo>
                <a:lnTo>
                  <a:pt x="355672" y="16488"/>
                </a:lnTo>
                <a:lnTo>
                  <a:pt x="311059" y="4245"/>
                </a:lnTo>
                <a:lnTo>
                  <a:pt x="263651" y="0"/>
                </a:lnTo>
                <a:close/>
              </a:path>
            </a:pathLst>
          </a:custGeom>
          <a:solidFill>
            <a:srgbClr val="FFFFFF"/>
          </a:solidFill>
        </p:spPr>
        <p:txBody>
          <a:bodyPr wrap="square" lIns="0" tIns="0" rIns="0" bIns="0" rtlCol="0"/>
          <a:lstStyle/>
          <a:p>
            <a:endParaRPr kern="0">
              <a:solidFill>
                <a:sysClr val="windowText" lastClr="000000"/>
              </a:solidFill>
            </a:endParaRPr>
          </a:p>
        </p:txBody>
      </p:sp>
      <p:pic>
        <p:nvPicPr>
          <p:cNvPr id="58" name="object 13">
            <a:extLst>
              <a:ext uri="{FF2B5EF4-FFF2-40B4-BE49-F238E27FC236}">
                <a16:creationId xmlns:a16="http://schemas.microsoft.com/office/drawing/2014/main" id="{E636FF10-28D9-4F6A-E3AC-C031CF23A924}"/>
              </a:ext>
            </a:extLst>
          </p:cNvPr>
          <p:cNvPicPr/>
          <p:nvPr/>
        </p:nvPicPr>
        <p:blipFill>
          <a:blip r:embed="rId7" cstate="print"/>
          <a:stretch>
            <a:fillRect/>
          </a:stretch>
        </p:blipFill>
        <p:spPr>
          <a:xfrm>
            <a:off x="4349497" y="3083150"/>
            <a:ext cx="342900" cy="429818"/>
          </a:xfrm>
          <a:prstGeom prst="rect">
            <a:avLst/>
          </a:prstGeom>
        </p:spPr>
      </p:pic>
      <p:sp>
        <p:nvSpPr>
          <p:cNvPr id="59" name="object 14">
            <a:extLst>
              <a:ext uri="{FF2B5EF4-FFF2-40B4-BE49-F238E27FC236}">
                <a16:creationId xmlns:a16="http://schemas.microsoft.com/office/drawing/2014/main" id="{6C8981F1-0863-2099-D51D-08D9CE135512}"/>
              </a:ext>
            </a:extLst>
          </p:cNvPr>
          <p:cNvSpPr/>
          <p:nvPr/>
        </p:nvSpPr>
        <p:spPr>
          <a:xfrm>
            <a:off x="4393825" y="3126512"/>
            <a:ext cx="241935" cy="327660"/>
          </a:xfrm>
          <a:custGeom>
            <a:avLst/>
            <a:gdLst/>
            <a:ahLst/>
            <a:cxnLst/>
            <a:rect l="l" t="t" r="r" b="b"/>
            <a:pathLst>
              <a:path w="241935" h="327660">
                <a:moveTo>
                  <a:pt x="29204" y="0"/>
                </a:moveTo>
                <a:lnTo>
                  <a:pt x="0" y="27150"/>
                </a:lnTo>
                <a:lnTo>
                  <a:pt x="34" y="28321"/>
                </a:lnTo>
                <a:lnTo>
                  <a:pt x="13075" y="51815"/>
                </a:lnTo>
                <a:lnTo>
                  <a:pt x="14345" y="54483"/>
                </a:lnTo>
                <a:lnTo>
                  <a:pt x="14289" y="55070"/>
                </a:lnTo>
                <a:lnTo>
                  <a:pt x="14213" y="55868"/>
                </a:lnTo>
                <a:lnTo>
                  <a:pt x="14091" y="325881"/>
                </a:lnTo>
                <a:lnTo>
                  <a:pt x="15869" y="327660"/>
                </a:lnTo>
                <a:lnTo>
                  <a:pt x="40634" y="327660"/>
                </a:lnTo>
                <a:lnTo>
                  <a:pt x="42539" y="325881"/>
                </a:lnTo>
                <a:lnTo>
                  <a:pt x="42539" y="317118"/>
                </a:lnTo>
                <a:lnTo>
                  <a:pt x="27172" y="317118"/>
                </a:lnTo>
                <a:lnTo>
                  <a:pt x="25140" y="316738"/>
                </a:lnTo>
                <a:lnTo>
                  <a:pt x="24124" y="316738"/>
                </a:lnTo>
                <a:lnTo>
                  <a:pt x="24632" y="316229"/>
                </a:lnTo>
                <a:lnTo>
                  <a:pt x="24124" y="315340"/>
                </a:lnTo>
                <a:lnTo>
                  <a:pt x="24124" y="57150"/>
                </a:lnTo>
                <a:lnTo>
                  <a:pt x="23743" y="56261"/>
                </a:lnTo>
                <a:lnTo>
                  <a:pt x="41734" y="56261"/>
                </a:lnTo>
                <a:lnTo>
                  <a:pt x="41699" y="55868"/>
                </a:lnTo>
                <a:lnTo>
                  <a:pt x="43129" y="51815"/>
                </a:lnTo>
                <a:lnTo>
                  <a:pt x="42983" y="51815"/>
                </a:lnTo>
                <a:lnTo>
                  <a:pt x="46603" y="49402"/>
                </a:lnTo>
                <a:lnTo>
                  <a:pt x="49584" y="46100"/>
                </a:lnTo>
                <a:lnTo>
                  <a:pt x="18409" y="46100"/>
                </a:lnTo>
                <a:lnTo>
                  <a:pt x="10408" y="38226"/>
                </a:lnTo>
                <a:lnTo>
                  <a:pt x="10415" y="27150"/>
                </a:lnTo>
                <a:lnTo>
                  <a:pt x="10635" y="18796"/>
                </a:lnTo>
                <a:lnTo>
                  <a:pt x="10662" y="17779"/>
                </a:lnTo>
                <a:lnTo>
                  <a:pt x="18663" y="10287"/>
                </a:lnTo>
                <a:lnTo>
                  <a:pt x="49655" y="10287"/>
                </a:lnTo>
                <a:lnTo>
                  <a:pt x="44841" y="5540"/>
                </a:lnTo>
                <a:lnTo>
                  <a:pt x="37516" y="1633"/>
                </a:lnTo>
                <a:lnTo>
                  <a:pt x="29204" y="0"/>
                </a:lnTo>
                <a:close/>
              </a:path>
              <a:path w="241935" h="327660">
                <a:moveTo>
                  <a:pt x="41861" y="56641"/>
                </a:moveTo>
                <a:lnTo>
                  <a:pt x="31998" y="56641"/>
                </a:lnTo>
                <a:lnTo>
                  <a:pt x="31998" y="314451"/>
                </a:lnTo>
                <a:lnTo>
                  <a:pt x="32887" y="316738"/>
                </a:lnTo>
                <a:lnTo>
                  <a:pt x="31490" y="316738"/>
                </a:lnTo>
                <a:lnTo>
                  <a:pt x="29331" y="317118"/>
                </a:lnTo>
                <a:lnTo>
                  <a:pt x="42539" y="317118"/>
                </a:lnTo>
                <a:lnTo>
                  <a:pt x="42525" y="207756"/>
                </a:lnTo>
                <a:lnTo>
                  <a:pt x="42359" y="206041"/>
                </a:lnTo>
                <a:lnTo>
                  <a:pt x="42305" y="205486"/>
                </a:lnTo>
                <a:lnTo>
                  <a:pt x="42182" y="204215"/>
                </a:lnTo>
                <a:lnTo>
                  <a:pt x="42158" y="203962"/>
                </a:lnTo>
                <a:lnTo>
                  <a:pt x="44571" y="200278"/>
                </a:lnTo>
                <a:lnTo>
                  <a:pt x="48077" y="199374"/>
                </a:lnTo>
                <a:lnTo>
                  <a:pt x="64254" y="194147"/>
                </a:lnTo>
                <a:lnTo>
                  <a:pt x="80083" y="192246"/>
                </a:lnTo>
                <a:lnTo>
                  <a:pt x="131126" y="192246"/>
                </a:lnTo>
                <a:lnTo>
                  <a:pt x="126186" y="190118"/>
                </a:lnTo>
                <a:lnTo>
                  <a:pt x="42539" y="190118"/>
                </a:lnTo>
                <a:lnTo>
                  <a:pt x="42412" y="72643"/>
                </a:lnTo>
                <a:lnTo>
                  <a:pt x="43555" y="70992"/>
                </a:lnTo>
                <a:lnTo>
                  <a:pt x="56517" y="65907"/>
                </a:lnTo>
                <a:lnTo>
                  <a:pt x="67931" y="63118"/>
                </a:lnTo>
                <a:lnTo>
                  <a:pt x="67506" y="63118"/>
                </a:lnTo>
                <a:lnTo>
                  <a:pt x="80281" y="61767"/>
                </a:lnTo>
                <a:lnTo>
                  <a:pt x="131322" y="61767"/>
                </a:lnTo>
                <a:lnTo>
                  <a:pt x="126614" y="59816"/>
                </a:lnTo>
                <a:lnTo>
                  <a:pt x="42920" y="59816"/>
                </a:lnTo>
                <a:lnTo>
                  <a:pt x="41861" y="56641"/>
                </a:lnTo>
                <a:close/>
              </a:path>
              <a:path w="241935" h="327660">
                <a:moveTo>
                  <a:pt x="131126" y="192246"/>
                </a:moveTo>
                <a:lnTo>
                  <a:pt x="80083" y="192246"/>
                </a:lnTo>
                <a:lnTo>
                  <a:pt x="96031" y="193155"/>
                </a:lnTo>
                <a:lnTo>
                  <a:pt x="112135" y="196468"/>
                </a:lnTo>
                <a:lnTo>
                  <a:pt x="120658" y="199374"/>
                </a:lnTo>
                <a:lnTo>
                  <a:pt x="129073" y="202564"/>
                </a:lnTo>
                <a:lnTo>
                  <a:pt x="137370" y="206041"/>
                </a:lnTo>
                <a:lnTo>
                  <a:pt x="145536" y="209803"/>
                </a:lnTo>
                <a:lnTo>
                  <a:pt x="160409" y="215318"/>
                </a:lnTo>
                <a:lnTo>
                  <a:pt x="175555" y="219249"/>
                </a:lnTo>
                <a:lnTo>
                  <a:pt x="191059" y="220966"/>
                </a:lnTo>
                <a:lnTo>
                  <a:pt x="207004" y="219837"/>
                </a:lnTo>
                <a:lnTo>
                  <a:pt x="215783" y="218039"/>
                </a:lnTo>
                <a:lnTo>
                  <a:pt x="224085" y="214788"/>
                </a:lnTo>
                <a:lnTo>
                  <a:pt x="231721" y="210157"/>
                </a:lnTo>
                <a:lnTo>
                  <a:pt x="191114" y="210157"/>
                </a:lnTo>
                <a:lnTo>
                  <a:pt x="175397" y="207756"/>
                </a:lnTo>
                <a:lnTo>
                  <a:pt x="161835" y="204215"/>
                </a:lnTo>
                <a:lnTo>
                  <a:pt x="150997" y="200660"/>
                </a:lnTo>
                <a:lnTo>
                  <a:pt x="142563" y="197266"/>
                </a:lnTo>
                <a:lnTo>
                  <a:pt x="134296" y="193611"/>
                </a:lnTo>
                <a:lnTo>
                  <a:pt x="131126" y="192246"/>
                </a:lnTo>
                <a:close/>
              </a:path>
              <a:path w="241935" h="327660">
                <a:moveTo>
                  <a:pt x="235036" y="84581"/>
                </a:moveTo>
                <a:lnTo>
                  <a:pt x="222498" y="84581"/>
                </a:lnTo>
                <a:lnTo>
                  <a:pt x="222498" y="84962"/>
                </a:lnTo>
                <a:lnTo>
                  <a:pt x="223006" y="84962"/>
                </a:lnTo>
                <a:lnTo>
                  <a:pt x="219315" y="92338"/>
                </a:lnTo>
                <a:lnTo>
                  <a:pt x="191145" y="127507"/>
                </a:lnTo>
                <a:lnTo>
                  <a:pt x="170809" y="144017"/>
                </a:lnTo>
                <a:lnTo>
                  <a:pt x="170809" y="146303"/>
                </a:lnTo>
                <a:lnTo>
                  <a:pt x="207595" y="185414"/>
                </a:lnTo>
                <a:lnTo>
                  <a:pt x="226689" y="201040"/>
                </a:lnTo>
                <a:lnTo>
                  <a:pt x="220339" y="205486"/>
                </a:lnTo>
                <a:lnTo>
                  <a:pt x="213100" y="208406"/>
                </a:lnTo>
                <a:lnTo>
                  <a:pt x="205607" y="209803"/>
                </a:lnTo>
                <a:lnTo>
                  <a:pt x="185761" y="210157"/>
                </a:lnTo>
                <a:lnTo>
                  <a:pt x="231721" y="210157"/>
                </a:lnTo>
                <a:lnTo>
                  <a:pt x="238500" y="204215"/>
                </a:lnTo>
                <a:lnTo>
                  <a:pt x="241802" y="201040"/>
                </a:lnTo>
                <a:lnTo>
                  <a:pt x="241294" y="197865"/>
                </a:lnTo>
                <a:lnTo>
                  <a:pt x="237230" y="195199"/>
                </a:lnTo>
                <a:lnTo>
                  <a:pt x="223069" y="185136"/>
                </a:lnTo>
                <a:lnTo>
                  <a:pt x="209766" y="174037"/>
                </a:lnTo>
                <a:lnTo>
                  <a:pt x="197368" y="161962"/>
                </a:lnTo>
                <a:lnTo>
                  <a:pt x="185922" y="148971"/>
                </a:lnTo>
                <a:lnTo>
                  <a:pt x="184525" y="147574"/>
                </a:lnTo>
                <a:lnTo>
                  <a:pt x="184525" y="146685"/>
                </a:lnTo>
                <a:lnTo>
                  <a:pt x="186303" y="145287"/>
                </a:lnTo>
                <a:lnTo>
                  <a:pt x="193468" y="139573"/>
                </a:lnTo>
                <a:lnTo>
                  <a:pt x="221269" y="109160"/>
                </a:lnTo>
                <a:lnTo>
                  <a:pt x="234765" y="85232"/>
                </a:lnTo>
                <a:lnTo>
                  <a:pt x="235036" y="84581"/>
                </a:lnTo>
                <a:close/>
              </a:path>
              <a:path w="241935" h="327660">
                <a:moveTo>
                  <a:pt x="79781" y="181863"/>
                </a:moveTo>
                <a:lnTo>
                  <a:pt x="60874" y="184336"/>
                </a:lnTo>
                <a:lnTo>
                  <a:pt x="42539" y="190118"/>
                </a:lnTo>
                <a:lnTo>
                  <a:pt x="126212" y="190118"/>
                </a:lnTo>
                <a:lnTo>
                  <a:pt x="117596" y="186943"/>
                </a:lnTo>
                <a:lnTo>
                  <a:pt x="98831" y="182725"/>
                </a:lnTo>
                <a:lnTo>
                  <a:pt x="79781" y="181863"/>
                </a:lnTo>
                <a:close/>
              </a:path>
              <a:path w="241935" h="327660">
                <a:moveTo>
                  <a:pt x="131322" y="61767"/>
                </a:moveTo>
                <a:lnTo>
                  <a:pt x="80281" y="61767"/>
                </a:lnTo>
                <a:lnTo>
                  <a:pt x="92450" y="62102"/>
                </a:lnTo>
                <a:lnTo>
                  <a:pt x="104441" y="64129"/>
                </a:lnTo>
                <a:lnTo>
                  <a:pt x="116183" y="67167"/>
                </a:lnTo>
                <a:lnTo>
                  <a:pt x="127654" y="71247"/>
                </a:lnTo>
                <a:lnTo>
                  <a:pt x="138678" y="76326"/>
                </a:lnTo>
                <a:lnTo>
                  <a:pt x="149758" y="81274"/>
                </a:lnTo>
                <a:lnTo>
                  <a:pt x="161220" y="85232"/>
                </a:lnTo>
                <a:lnTo>
                  <a:pt x="172968" y="88167"/>
                </a:lnTo>
                <a:lnTo>
                  <a:pt x="184906" y="90042"/>
                </a:lnTo>
                <a:lnTo>
                  <a:pt x="194530" y="90475"/>
                </a:lnTo>
                <a:lnTo>
                  <a:pt x="204083" y="89693"/>
                </a:lnTo>
                <a:lnTo>
                  <a:pt x="213445" y="87721"/>
                </a:lnTo>
                <a:lnTo>
                  <a:pt x="222498" y="84581"/>
                </a:lnTo>
                <a:lnTo>
                  <a:pt x="235036" y="84581"/>
                </a:lnTo>
                <a:lnTo>
                  <a:pt x="236847" y="79992"/>
                </a:lnTo>
                <a:lnTo>
                  <a:pt x="188612" y="79992"/>
                </a:lnTo>
                <a:lnTo>
                  <a:pt x="177159" y="78104"/>
                </a:lnTo>
                <a:lnTo>
                  <a:pt x="166382" y="75608"/>
                </a:lnTo>
                <a:lnTo>
                  <a:pt x="155807" y="72326"/>
                </a:lnTo>
                <a:lnTo>
                  <a:pt x="145494" y="68282"/>
                </a:lnTo>
                <a:lnTo>
                  <a:pt x="135503" y="63500"/>
                </a:lnTo>
                <a:lnTo>
                  <a:pt x="131322" y="61767"/>
                </a:lnTo>
                <a:close/>
              </a:path>
              <a:path w="241935" h="327660">
                <a:moveTo>
                  <a:pt x="234944" y="63118"/>
                </a:moveTo>
                <a:lnTo>
                  <a:pt x="232658" y="64388"/>
                </a:lnTo>
                <a:lnTo>
                  <a:pt x="230753" y="66675"/>
                </a:lnTo>
                <a:lnTo>
                  <a:pt x="228086" y="69087"/>
                </a:lnTo>
                <a:lnTo>
                  <a:pt x="188612" y="79992"/>
                </a:lnTo>
                <a:lnTo>
                  <a:pt x="236847" y="79992"/>
                </a:lnTo>
                <a:lnTo>
                  <a:pt x="239746" y="72643"/>
                </a:lnTo>
                <a:lnTo>
                  <a:pt x="239872" y="72326"/>
                </a:lnTo>
                <a:lnTo>
                  <a:pt x="240751" y="69087"/>
                </a:lnTo>
                <a:lnTo>
                  <a:pt x="240673" y="68282"/>
                </a:lnTo>
                <a:lnTo>
                  <a:pt x="240487" y="67167"/>
                </a:lnTo>
                <a:lnTo>
                  <a:pt x="240405" y="66675"/>
                </a:lnTo>
                <a:lnTo>
                  <a:pt x="237611" y="64897"/>
                </a:lnTo>
                <a:lnTo>
                  <a:pt x="234944" y="63118"/>
                </a:lnTo>
                <a:close/>
              </a:path>
              <a:path w="241935" h="327660">
                <a:moveTo>
                  <a:pt x="88514" y="51815"/>
                </a:moveTo>
                <a:lnTo>
                  <a:pt x="75388" y="51815"/>
                </a:lnTo>
                <a:lnTo>
                  <a:pt x="64478" y="53181"/>
                </a:lnTo>
                <a:lnTo>
                  <a:pt x="53520" y="55868"/>
                </a:lnTo>
                <a:lnTo>
                  <a:pt x="42920" y="59816"/>
                </a:lnTo>
                <a:lnTo>
                  <a:pt x="126614" y="59816"/>
                </a:lnTo>
                <a:lnTo>
                  <a:pt x="123850" y="58672"/>
                </a:lnTo>
                <a:lnTo>
                  <a:pt x="111817" y="55070"/>
                </a:lnTo>
                <a:lnTo>
                  <a:pt x="99498" y="52730"/>
                </a:lnTo>
                <a:lnTo>
                  <a:pt x="88514" y="51815"/>
                </a:lnTo>
                <a:close/>
              </a:path>
              <a:path w="241935" h="327660">
                <a:moveTo>
                  <a:pt x="41734" y="56261"/>
                </a:moveTo>
                <a:lnTo>
                  <a:pt x="23743" y="56261"/>
                </a:lnTo>
                <a:lnTo>
                  <a:pt x="27807" y="56641"/>
                </a:lnTo>
                <a:lnTo>
                  <a:pt x="31998" y="57150"/>
                </a:lnTo>
                <a:lnTo>
                  <a:pt x="31998" y="56641"/>
                </a:lnTo>
                <a:lnTo>
                  <a:pt x="41861" y="56641"/>
                </a:lnTo>
                <a:lnTo>
                  <a:pt x="41734" y="56261"/>
                </a:lnTo>
                <a:close/>
              </a:path>
              <a:path w="241935" h="327660">
                <a:moveTo>
                  <a:pt x="49655" y="10287"/>
                </a:moveTo>
                <a:lnTo>
                  <a:pt x="18663" y="10287"/>
                </a:lnTo>
                <a:lnTo>
                  <a:pt x="28315" y="10540"/>
                </a:lnTo>
                <a:lnTo>
                  <a:pt x="38221" y="10540"/>
                </a:lnTo>
                <a:lnTo>
                  <a:pt x="46095" y="18541"/>
                </a:lnTo>
                <a:lnTo>
                  <a:pt x="45994" y="36067"/>
                </a:lnTo>
                <a:lnTo>
                  <a:pt x="45841" y="38226"/>
                </a:lnTo>
                <a:lnTo>
                  <a:pt x="37967" y="46100"/>
                </a:lnTo>
                <a:lnTo>
                  <a:pt x="49584" y="46100"/>
                </a:lnTo>
                <a:lnTo>
                  <a:pt x="52339" y="43049"/>
                </a:lnTo>
                <a:lnTo>
                  <a:pt x="55731" y="35432"/>
                </a:lnTo>
                <a:lnTo>
                  <a:pt x="56496" y="28321"/>
                </a:lnTo>
                <a:lnTo>
                  <a:pt x="56622" y="27150"/>
                </a:lnTo>
                <a:lnTo>
                  <a:pt x="54858" y="18796"/>
                </a:lnTo>
                <a:lnTo>
                  <a:pt x="50760" y="11376"/>
                </a:lnTo>
                <a:lnTo>
                  <a:pt x="49655" y="10287"/>
                </a:lnTo>
                <a:close/>
              </a:path>
            </a:pathLst>
          </a:custGeom>
          <a:solidFill>
            <a:srgbClr val="A78B5E"/>
          </a:solidFill>
        </p:spPr>
        <p:txBody>
          <a:bodyPr wrap="square" lIns="0" tIns="0" rIns="0" bIns="0" rtlCol="0"/>
          <a:lstStyle/>
          <a:p>
            <a:endParaRPr kern="0">
              <a:solidFill>
                <a:sysClr val="windowText" lastClr="000000"/>
              </a:solidFill>
            </a:endParaRPr>
          </a:p>
        </p:txBody>
      </p:sp>
      <p:pic>
        <p:nvPicPr>
          <p:cNvPr id="60" name="object 15">
            <a:extLst>
              <a:ext uri="{FF2B5EF4-FFF2-40B4-BE49-F238E27FC236}">
                <a16:creationId xmlns:a16="http://schemas.microsoft.com/office/drawing/2014/main" id="{CE15CD8B-6299-50E9-EA37-A50B25082422}"/>
              </a:ext>
            </a:extLst>
          </p:cNvPr>
          <p:cNvPicPr/>
          <p:nvPr/>
        </p:nvPicPr>
        <p:blipFill>
          <a:blip r:embed="rId8" cstate="print"/>
          <a:stretch>
            <a:fillRect/>
          </a:stretch>
        </p:blipFill>
        <p:spPr>
          <a:xfrm>
            <a:off x="2816353" y="1940064"/>
            <a:ext cx="1536192" cy="746747"/>
          </a:xfrm>
          <a:prstGeom prst="rect">
            <a:avLst/>
          </a:prstGeom>
        </p:spPr>
      </p:pic>
      <p:sp>
        <p:nvSpPr>
          <p:cNvPr id="61" name="object 16">
            <a:extLst>
              <a:ext uri="{FF2B5EF4-FFF2-40B4-BE49-F238E27FC236}">
                <a16:creationId xmlns:a16="http://schemas.microsoft.com/office/drawing/2014/main" id="{67C5FEE8-F52F-E4D4-6119-E2F1E37B1B1E}"/>
              </a:ext>
            </a:extLst>
          </p:cNvPr>
          <p:cNvSpPr/>
          <p:nvPr/>
        </p:nvSpPr>
        <p:spPr>
          <a:xfrm>
            <a:off x="2842261" y="1965928"/>
            <a:ext cx="1434465" cy="645160"/>
          </a:xfrm>
          <a:custGeom>
            <a:avLst/>
            <a:gdLst/>
            <a:ahLst/>
            <a:cxnLst/>
            <a:rect l="l" t="t" r="r" b="b"/>
            <a:pathLst>
              <a:path w="1434464" h="645160">
                <a:moveTo>
                  <a:pt x="717041" y="0"/>
                </a:moveTo>
                <a:lnTo>
                  <a:pt x="39115" y="306101"/>
                </a:lnTo>
                <a:lnTo>
                  <a:pt x="2772" y="347106"/>
                </a:lnTo>
                <a:lnTo>
                  <a:pt x="0" y="365918"/>
                </a:lnTo>
                <a:lnTo>
                  <a:pt x="0" y="578135"/>
                </a:lnTo>
                <a:lnTo>
                  <a:pt x="5238" y="604017"/>
                </a:lnTo>
                <a:lnTo>
                  <a:pt x="19526" y="625173"/>
                </a:lnTo>
                <a:lnTo>
                  <a:pt x="40719" y="639446"/>
                </a:lnTo>
                <a:lnTo>
                  <a:pt x="67690" y="644683"/>
                </a:lnTo>
                <a:lnTo>
                  <a:pt x="1367409" y="644683"/>
                </a:lnTo>
                <a:lnTo>
                  <a:pt x="1393364" y="639446"/>
                </a:lnTo>
                <a:lnTo>
                  <a:pt x="1414557" y="625173"/>
                </a:lnTo>
                <a:lnTo>
                  <a:pt x="1428845" y="604017"/>
                </a:lnTo>
                <a:lnTo>
                  <a:pt x="1434084" y="578135"/>
                </a:lnTo>
                <a:lnTo>
                  <a:pt x="1434084" y="365918"/>
                </a:lnTo>
                <a:lnTo>
                  <a:pt x="1411098" y="316198"/>
                </a:lnTo>
                <a:lnTo>
                  <a:pt x="745109" y="6381"/>
                </a:lnTo>
                <a:lnTo>
                  <a:pt x="717041" y="0"/>
                </a:lnTo>
                <a:close/>
              </a:path>
            </a:pathLst>
          </a:custGeom>
          <a:solidFill>
            <a:srgbClr val="A78B5E"/>
          </a:solidFill>
        </p:spPr>
        <p:txBody>
          <a:bodyPr wrap="square" lIns="0" tIns="0" rIns="0" bIns="0" rtlCol="0"/>
          <a:lstStyle/>
          <a:p>
            <a:endParaRPr kern="0">
              <a:solidFill>
                <a:sysClr val="windowText" lastClr="000000"/>
              </a:solidFill>
            </a:endParaRPr>
          </a:p>
        </p:txBody>
      </p:sp>
      <p:sp>
        <p:nvSpPr>
          <p:cNvPr id="62" name="object 17">
            <a:extLst>
              <a:ext uri="{FF2B5EF4-FFF2-40B4-BE49-F238E27FC236}">
                <a16:creationId xmlns:a16="http://schemas.microsoft.com/office/drawing/2014/main" id="{13AB1CA9-1351-B73D-385C-C86E08E9BF00}"/>
              </a:ext>
            </a:extLst>
          </p:cNvPr>
          <p:cNvSpPr txBox="1"/>
          <p:nvPr/>
        </p:nvSpPr>
        <p:spPr>
          <a:xfrm>
            <a:off x="3133853" y="2219544"/>
            <a:ext cx="1233932" cy="228909"/>
          </a:xfrm>
          <a:prstGeom prst="rect">
            <a:avLst/>
          </a:prstGeom>
        </p:spPr>
        <p:txBody>
          <a:bodyPr vert="horz" wrap="square" lIns="0" tIns="13335" rIns="0" bIns="0" rtlCol="0">
            <a:spAutoFit/>
          </a:bodyPr>
          <a:lstStyle/>
          <a:p>
            <a:pPr marL="12700" marR="5080" indent="354965" algn="l">
              <a:spcBef>
                <a:spcPts val="105"/>
              </a:spcBef>
            </a:pPr>
            <a:r>
              <a:rPr lang="ar-SA" sz="1400" kern="0" spc="-25" dirty="0">
                <a:solidFill>
                  <a:srgbClr val="FFFFFF"/>
                </a:solidFill>
                <a:latin typeface="Tahoma"/>
                <a:cs typeface="Tahoma"/>
              </a:rPr>
              <a:t>الإدارة العليا</a:t>
            </a:r>
            <a:endParaRPr sz="1400" kern="0" dirty="0">
              <a:solidFill>
                <a:sysClr val="windowText" lastClr="000000"/>
              </a:solidFill>
              <a:latin typeface="Tahoma"/>
              <a:cs typeface="Tahoma"/>
            </a:endParaRPr>
          </a:p>
        </p:txBody>
      </p:sp>
      <p:sp>
        <p:nvSpPr>
          <p:cNvPr id="64" name="object 21">
            <a:extLst>
              <a:ext uri="{FF2B5EF4-FFF2-40B4-BE49-F238E27FC236}">
                <a16:creationId xmlns:a16="http://schemas.microsoft.com/office/drawing/2014/main" id="{3B9ED639-27DB-422C-9201-A07F6B18A260}"/>
              </a:ext>
            </a:extLst>
          </p:cNvPr>
          <p:cNvSpPr/>
          <p:nvPr/>
        </p:nvSpPr>
        <p:spPr>
          <a:xfrm>
            <a:off x="2127423" y="5437932"/>
            <a:ext cx="1341120" cy="467995"/>
          </a:xfrm>
          <a:custGeom>
            <a:avLst/>
            <a:gdLst/>
            <a:ahLst/>
            <a:cxnLst/>
            <a:rect l="l" t="t" r="r" b="b"/>
            <a:pathLst>
              <a:path w="1341120" h="467995">
                <a:moveTo>
                  <a:pt x="1263142" y="0"/>
                </a:moveTo>
                <a:lnTo>
                  <a:pt x="77978" y="0"/>
                </a:lnTo>
                <a:lnTo>
                  <a:pt x="47625" y="6129"/>
                </a:lnTo>
                <a:lnTo>
                  <a:pt x="22839" y="22844"/>
                </a:lnTo>
                <a:lnTo>
                  <a:pt x="6127" y="47630"/>
                </a:lnTo>
                <a:lnTo>
                  <a:pt x="0" y="77978"/>
                </a:lnTo>
                <a:lnTo>
                  <a:pt x="0" y="389890"/>
                </a:lnTo>
                <a:lnTo>
                  <a:pt x="6127" y="420242"/>
                </a:lnTo>
                <a:lnTo>
                  <a:pt x="22839" y="445028"/>
                </a:lnTo>
                <a:lnTo>
                  <a:pt x="47625" y="461740"/>
                </a:lnTo>
                <a:lnTo>
                  <a:pt x="77978" y="467868"/>
                </a:lnTo>
                <a:lnTo>
                  <a:pt x="1263142" y="467868"/>
                </a:lnTo>
                <a:lnTo>
                  <a:pt x="1293489" y="461740"/>
                </a:lnTo>
                <a:lnTo>
                  <a:pt x="1318275" y="445028"/>
                </a:lnTo>
                <a:lnTo>
                  <a:pt x="1334990" y="420242"/>
                </a:lnTo>
                <a:lnTo>
                  <a:pt x="1341120" y="389890"/>
                </a:lnTo>
                <a:lnTo>
                  <a:pt x="1341120" y="77978"/>
                </a:lnTo>
                <a:lnTo>
                  <a:pt x="1334990" y="47630"/>
                </a:lnTo>
                <a:lnTo>
                  <a:pt x="1318275" y="22844"/>
                </a:lnTo>
                <a:lnTo>
                  <a:pt x="1293489" y="6129"/>
                </a:lnTo>
                <a:lnTo>
                  <a:pt x="1263142" y="0"/>
                </a:lnTo>
                <a:close/>
              </a:path>
            </a:pathLst>
          </a:custGeom>
          <a:solidFill>
            <a:srgbClr val="A78B5E">
              <a:alpha val="45097"/>
            </a:srgbClr>
          </a:solidFill>
        </p:spPr>
        <p:txBody>
          <a:bodyPr wrap="square" lIns="0" tIns="0" rIns="0" bIns="0" rtlCol="0"/>
          <a:lstStyle/>
          <a:p>
            <a:endParaRPr kern="0">
              <a:solidFill>
                <a:sysClr val="windowText" lastClr="000000"/>
              </a:solidFill>
            </a:endParaRPr>
          </a:p>
        </p:txBody>
      </p:sp>
      <p:sp>
        <p:nvSpPr>
          <p:cNvPr id="65" name="object 22">
            <a:extLst>
              <a:ext uri="{FF2B5EF4-FFF2-40B4-BE49-F238E27FC236}">
                <a16:creationId xmlns:a16="http://schemas.microsoft.com/office/drawing/2014/main" id="{BBBD7074-ED70-EDC2-5EF7-55C3955081DD}"/>
              </a:ext>
            </a:extLst>
          </p:cNvPr>
          <p:cNvSpPr txBox="1"/>
          <p:nvPr/>
        </p:nvSpPr>
        <p:spPr>
          <a:xfrm>
            <a:off x="1932619" y="5495022"/>
            <a:ext cx="1108710" cy="228268"/>
          </a:xfrm>
          <a:prstGeom prst="rect">
            <a:avLst/>
          </a:prstGeom>
        </p:spPr>
        <p:txBody>
          <a:bodyPr vert="horz" wrap="square" lIns="0" tIns="12700" rIns="0" bIns="0" rtlCol="0">
            <a:spAutoFit/>
          </a:bodyPr>
          <a:lstStyle/>
          <a:p>
            <a:pPr marL="12700">
              <a:spcBef>
                <a:spcPts val="100"/>
              </a:spcBef>
            </a:pPr>
            <a:r>
              <a:rPr lang="ar-SA" sz="1400" kern="0" dirty="0">
                <a:solidFill>
                  <a:srgbClr val="FFFFFF"/>
                </a:solidFill>
                <a:latin typeface="Tahoma"/>
                <a:cs typeface="Tahoma"/>
              </a:rPr>
              <a:t>القسم أ</a:t>
            </a:r>
          </a:p>
        </p:txBody>
      </p:sp>
      <p:sp>
        <p:nvSpPr>
          <p:cNvPr id="70" name="object 29">
            <a:extLst>
              <a:ext uri="{FF2B5EF4-FFF2-40B4-BE49-F238E27FC236}">
                <a16:creationId xmlns:a16="http://schemas.microsoft.com/office/drawing/2014/main" id="{4CB90414-88BE-F16E-04A2-1706FEED8CC3}"/>
              </a:ext>
            </a:extLst>
          </p:cNvPr>
          <p:cNvSpPr/>
          <p:nvPr/>
        </p:nvSpPr>
        <p:spPr>
          <a:xfrm>
            <a:off x="3822300" y="5437933"/>
            <a:ext cx="1377950" cy="467995"/>
          </a:xfrm>
          <a:custGeom>
            <a:avLst/>
            <a:gdLst/>
            <a:ahLst/>
            <a:cxnLst/>
            <a:rect l="l" t="t" r="r" b="b"/>
            <a:pathLst>
              <a:path w="1377950" h="467995">
                <a:moveTo>
                  <a:pt x="1299717" y="0"/>
                </a:moveTo>
                <a:lnTo>
                  <a:pt x="77977" y="0"/>
                </a:lnTo>
                <a:lnTo>
                  <a:pt x="47630" y="6129"/>
                </a:lnTo>
                <a:lnTo>
                  <a:pt x="22844" y="22844"/>
                </a:lnTo>
                <a:lnTo>
                  <a:pt x="6129" y="47630"/>
                </a:lnTo>
                <a:lnTo>
                  <a:pt x="0" y="77978"/>
                </a:lnTo>
                <a:lnTo>
                  <a:pt x="0" y="389890"/>
                </a:lnTo>
                <a:lnTo>
                  <a:pt x="6129" y="420242"/>
                </a:lnTo>
                <a:lnTo>
                  <a:pt x="22844" y="445028"/>
                </a:lnTo>
                <a:lnTo>
                  <a:pt x="47630" y="461740"/>
                </a:lnTo>
                <a:lnTo>
                  <a:pt x="77977" y="467868"/>
                </a:lnTo>
                <a:lnTo>
                  <a:pt x="1299717" y="467868"/>
                </a:lnTo>
                <a:lnTo>
                  <a:pt x="1330065" y="461740"/>
                </a:lnTo>
                <a:lnTo>
                  <a:pt x="1354851" y="445028"/>
                </a:lnTo>
                <a:lnTo>
                  <a:pt x="1371566" y="420242"/>
                </a:lnTo>
                <a:lnTo>
                  <a:pt x="1377696" y="389890"/>
                </a:lnTo>
                <a:lnTo>
                  <a:pt x="1377696" y="77978"/>
                </a:lnTo>
                <a:lnTo>
                  <a:pt x="1371566" y="47630"/>
                </a:lnTo>
                <a:lnTo>
                  <a:pt x="1354851" y="22844"/>
                </a:lnTo>
                <a:lnTo>
                  <a:pt x="1330065" y="6129"/>
                </a:lnTo>
                <a:lnTo>
                  <a:pt x="1299717" y="0"/>
                </a:lnTo>
                <a:close/>
              </a:path>
            </a:pathLst>
          </a:custGeom>
          <a:solidFill>
            <a:srgbClr val="A78B5E">
              <a:alpha val="47058"/>
            </a:srgbClr>
          </a:solidFill>
        </p:spPr>
        <p:txBody>
          <a:bodyPr wrap="square" lIns="0" tIns="0" rIns="0" bIns="0" rtlCol="0"/>
          <a:lstStyle/>
          <a:p>
            <a:endParaRPr kern="0" dirty="0">
              <a:solidFill>
                <a:sysClr val="windowText" lastClr="000000"/>
              </a:solidFill>
            </a:endParaRPr>
          </a:p>
        </p:txBody>
      </p:sp>
      <p:sp>
        <p:nvSpPr>
          <p:cNvPr id="71" name="object 30">
            <a:extLst>
              <a:ext uri="{FF2B5EF4-FFF2-40B4-BE49-F238E27FC236}">
                <a16:creationId xmlns:a16="http://schemas.microsoft.com/office/drawing/2014/main" id="{EDB70422-2EC1-0691-DC9F-DA368EB562A6}"/>
              </a:ext>
            </a:extLst>
          </p:cNvPr>
          <p:cNvSpPr txBox="1"/>
          <p:nvPr/>
        </p:nvSpPr>
        <p:spPr>
          <a:xfrm>
            <a:off x="3721997" y="5487452"/>
            <a:ext cx="1111250" cy="228268"/>
          </a:xfrm>
          <a:prstGeom prst="rect">
            <a:avLst/>
          </a:prstGeom>
        </p:spPr>
        <p:txBody>
          <a:bodyPr vert="horz" wrap="square" lIns="0" tIns="12700" rIns="0" bIns="0" rtlCol="0">
            <a:spAutoFit/>
          </a:bodyPr>
          <a:lstStyle/>
          <a:p>
            <a:pPr marL="12700">
              <a:spcBef>
                <a:spcPts val="100"/>
              </a:spcBef>
            </a:pPr>
            <a:r>
              <a:rPr lang="ar-SA" sz="1400" kern="0" dirty="0">
                <a:solidFill>
                  <a:srgbClr val="FFFFFF"/>
                </a:solidFill>
                <a:latin typeface="Tahoma"/>
                <a:cs typeface="Tahoma"/>
              </a:rPr>
              <a:t>القسم ب</a:t>
            </a:r>
          </a:p>
        </p:txBody>
      </p:sp>
      <p:grpSp>
        <p:nvGrpSpPr>
          <p:cNvPr id="72" name="object 31">
            <a:extLst>
              <a:ext uri="{FF2B5EF4-FFF2-40B4-BE49-F238E27FC236}">
                <a16:creationId xmlns:a16="http://schemas.microsoft.com/office/drawing/2014/main" id="{5867DEE5-1BCC-71A2-29BF-1C62AE37D77E}"/>
              </a:ext>
            </a:extLst>
          </p:cNvPr>
          <p:cNvGrpSpPr/>
          <p:nvPr/>
        </p:nvGrpSpPr>
        <p:grpSpPr>
          <a:xfrm>
            <a:off x="4162267" y="4775707"/>
            <a:ext cx="719315" cy="719315"/>
            <a:chOff x="2616707" y="4802136"/>
            <a:chExt cx="719315" cy="719315"/>
          </a:xfrm>
        </p:grpSpPr>
        <p:pic>
          <p:nvPicPr>
            <p:cNvPr id="73" name="object 32">
              <a:extLst>
                <a:ext uri="{FF2B5EF4-FFF2-40B4-BE49-F238E27FC236}">
                  <a16:creationId xmlns:a16="http://schemas.microsoft.com/office/drawing/2014/main" id="{8DCE2879-92CB-6605-3BD5-33E472EC58A8}"/>
                </a:ext>
              </a:extLst>
            </p:cNvPr>
            <p:cNvPicPr/>
            <p:nvPr/>
          </p:nvPicPr>
          <p:blipFill>
            <a:blip r:embed="rId9" cstate="print"/>
            <a:stretch>
              <a:fillRect/>
            </a:stretch>
          </p:blipFill>
          <p:spPr>
            <a:xfrm>
              <a:off x="2616707" y="4802136"/>
              <a:ext cx="719315" cy="719315"/>
            </a:xfrm>
            <a:prstGeom prst="rect">
              <a:avLst/>
            </a:prstGeom>
          </p:spPr>
        </p:pic>
        <p:pic>
          <p:nvPicPr>
            <p:cNvPr id="74" name="object 33">
              <a:extLst>
                <a:ext uri="{FF2B5EF4-FFF2-40B4-BE49-F238E27FC236}">
                  <a16:creationId xmlns:a16="http://schemas.microsoft.com/office/drawing/2014/main" id="{AA58A77A-D7B0-8062-D5D3-E39C76DB7457}"/>
                </a:ext>
              </a:extLst>
            </p:cNvPr>
            <p:cNvPicPr/>
            <p:nvPr/>
          </p:nvPicPr>
          <p:blipFill>
            <a:blip r:embed="rId10" cstate="print">
              <a:duotone>
                <a:prstClr val="black"/>
                <a:schemeClr val="accent6">
                  <a:tint val="45000"/>
                  <a:satMod val="400000"/>
                </a:schemeClr>
              </a:duotone>
            </a:blip>
            <a:stretch>
              <a:fillRect/>
            </a:stretch>
          </p:blipFill>
          <p:spPr>
            <a:xfrm>
              <a:off x="2642615" y="4828032"/>
              <a:ext cx="646201" cy="644652"/>
            </a:xfrm>
            <a:prstGeom prst="rect">
              <a:avLst/>
            </a:prstGeom>
          </p:spPr>
        </p:pic>
        <p:sp>
          <p:nvSpPr>
            <p:cNvPr id="75" name="object 34">
              <a:extLst>
                <a:ext uri="{FF2B5EF4-FFF2-40B4-BE49-F238E27FC236}">
                  <a16:creationId xmlns:a16="http://schemas.microsoft.com/office/drawing/2014/main" id="{F27E02B9-A60F-0AC3-8BFA-74ED59B1F4B6}"/>
                </a:ext>
              </a:extLst>
            </p:cNvPr>
            <p:cNvSpPr/>
            <p:nvPr/>
          </p:nvSpPr>
          <p:spPr>
            <a:xfrm>
              <a:off x="2691383" y="4875276"/>
              <a:ext cx="521334" cy="521334"/>
            </a:xfrm>
            <a:custGeom>
              <a:avLst/>
              <a:gdLst/>
              <a:ahLst/>
              <a:cxnLst/>
              <a:rect l="l" t="t" r="r" b="b"/>
              <a:pathLst>
                <a:path w="521335" h="521335">
                  <a:moveTo>
                    <a:pt x="260604" y="0"/>
                  </a:moveTo>
                  <a:lnTo>
                    <a:pt x="213769" y="4199"/>
                  </a:lnTo>
                  <a:lnTo>
                    <a:pt x="169685" y="16308"/>
                  </a:lnTo>
                  <a:lnTo>
                    <a:pt x="129088" y="35588"/>
                  </a:lnTo>
                  <a:lnTo>
                    <a:pt x="92715" y="61302"/>
                  </a:lnTo>
                  <a:lnTo>
                    <a:pt x="61302" y="92715"/>
                  </a:lnTo>
                  <a:lnTo>
                    <a:pt x="35588" y="129088"/>
                  </a:lnTo>
                  <a:lnTo>
                    <a:pt x="16308" y="169685"/>
                  </a:lnTo>
                  <a:lnTo>
                    <a:pt x="4199" y="213769"/>
                  </a:lnTo>
                  <a:lnTo>
                    <a:pt x="0" y="260604"/>
                  </a:lnTo>
                  <a:lnTo>
                    <a:pt x="4199" y="307438"/>
                  </a:lnTo>
                  <a:lnTo>
                    <a:pt x="16308" y="351522"/>
                  </a:lnTo>
                  <a:lnTo>
                    <a:pt x="35588" y="392119"/>
                  </a:lnTo>
                  <a:lnTo>
                    <a:pt x="61302" y="428492"/>
                  </a:lnTo>
                  <a:lnTo>
                    <a:pt x="92715" y="459905"/>
                  </a:lnTo>
                  <a:lnTo>
                    <a:pt x="129088" y="485619"/>
                  </a:lnTo>
                  <a:lnTo>
                    <a:pt x="169685" y="504899"/>
                  </a:lnTo>
                  <a:lnTo>
                    <a:pt x="213769" y="517008"/>
                  </a:lnTo>
                  <a:lnTo>
                    <a:pt x="260604" y="521208"/>
                  </a:lnTo>
                  <a:lnTo>
                    <a:pt x="307438" y="517008"/>
                  </a:lnTo>
                  <a:lnTo>
                    <a:pt x="351522" y="504899"/>
                  </a:lnTo>
                  <a:lnTo>
                    <a:pt x="392119" y="485619"/>
                  </a:lnTo>
                  <a:lnTo>
                    <a:pt x="428492" y="459905"/>
                  </a:lnTo>
                  <a:lnTo>
                    <a:pt x="459905" y="428492"/>
                  </a:lnTo>
                  <a:lnTo>
                    <a:pt x="485619" y="392119"/>
                  </a:lnTo>
                  <a:lnTo>
                    <a:pt x="504899" y="351522"/>
                  </a:lnTo>
                  <a:lnTo>
                    <a:pt x="517008" y="307438"/>
                  </a:lnTo>
                  <a:lnTo>
                    <a:pt x="521208" y="260604"/>
                  </a:lnTo>
                  <a:lnTo>
                    <a:pt x="517008" y="213769"/>
                  </a:lnTo>
                  <a:lnTo>
                    <a:pt x="504899" y="169685"/>
                  </a:lnTo>
                  <a:lnTo>
                    <a:pt x="485619" y="129088"/>
                  </a:lnTo>
                  <a:lnTo>
                    <a:pt x="459905" y="92715"/>
                  </a:lnTo>
                  <a:lnTo>
                    <a:pt x="428492" y="61302"/>
                  </a:lnTo>
                  <a:lnTo>
                    <a:pt x="392119" y="35588"/>
                  </a:lnTo>
                  <a:lnTo>
                    <a:pt x="351522" y="16308"/>
                  </a:lnTo>
                  <a:lnTo>
                    <a:pt x="307438" y="4199"/>
                  </a:lnTo>
                  <a:lnTo>
                    <a:pt x="260604" y="0"/>
                  </a:lnTo>
                  <a:close/>
                </a:path>
              </a:pathLst>
            </a:custGeom>
            <a:solidFill>
              <a:srgbClr val="FFFFFF"/>
            </a:solidFill>
          </p:spPr>
          <p:txBody>
            <a:bodyPr wrap="square" lIns="0" tIns="0" rIns="0" bIns="0" rtlCol="0"/>
            <a:lstStyle/>
            <a:p>
              <a:endParaRPr kern="0">
                <a:solidFill>
                  <a:sysClr val="windowText" lastClr="000000"/>
                </a:solidFill>
              </a:endParaRPr>
            </a:p>
          </p:txBody>
        </p:sp>
        <p:pic>
          <p:nvPicPr>
            <p:cNvPr id="76" name="object 35">
              <a:extLst>
                <a:ext uri="{FF2B5EF4-FFF2-40B4-BE49-F238E27FC236}">
                  <a16:creationId xmlns:a16="http://schemas.microsoft.com/office/drawing/2014/main" id="{4FAC5E99-FA5E-29A3-1EA4-7C143D2C7527}"/>
                </a:ext>
              </a:extLst>
            </p:cNvPr>
            <p:cNvPicPr/>
            <p:nvPr/>
          </p:nvPicPr>
          <p:blipFill>
            <a:blip r:embed="rId11" cstate="print">
              <a:duotone>
                <a:prstClr val="black"/>
                <a:schemeClr val="accent6">
                  <a:tint val="45000"/>
                  <a:satMod val="400000"/>
                </a:schemeClr>
              </a:duotone>
            </a:blip>
            <a:stretch>
              <a:fillRect/>
            </a:stretch>
          </p:blipFill>
          <p:spPr>
            <a:xfrm>
              <a:off x="2796310" y="5051077"/>
              <a:ext cx="300177" cy="300177"/>
            </a:xfrm>
            <a:prstGeom prst="rect">
              <a:avLst/>
            </a:prstGeom>
          </p:spPr>
        </p:pic>
        <p:sp>
          <p:nvSpPr>
            <p:cNvPr id="77" name="object 36">
              <a:extLst>
                <a:ext uri="{FF2B5EF4-FFF2-40B4-BE49-F238E27FC236}">
                  <a16:creationId xmlns:a16="http://schemas.microsoft.com/office/drawing/2014/main" id="{4D7BBA0B-3043-3B2C-A5F4-A028D3797414}"/>
                </a:ext>
              </a:extLst>
            </p:cNvPr>
            <p:cNvSpPr/>
            <p:nvPr/>
          </p:nvSpPr>
          <p:spPr>
            <a:xfrm>
              <a:off x="2802635" y="5079492"/>
              <a:ext cx="198755" cy="198120"/>
            </a:xfrm>
            <a:custGeom>
              <a:avLst/>
              <a:gdLst/>
              <a:ahLst/>
              <a:cxnLst/>
              <a:rect l="l" t="t" r="r" b="b"/>
              <a:pathLst>
                <a:path w="198755" h="198120">
                  <a:moveTo>
                    <a:pt x="81661" y="170179"/>
                  </a:moveTo>
                  <a:lnTo>
                    <a:pt x="63245" y="170179"/>
                  </a:lnTo>
                  <a:lnTo>
                    <a:pt x="70612" y="173989"/>
                  </a:lnTo>
                  <a:lnTo>
                    <a:pt x="73025" y="173989"/>
                  </a:lnTo>
                  <a:lnTo>
                    <a:pt x="74549" y="176529"/>
                  </a:lnTo>
                  <a:lnTo>
                    <a:pt x="74040" y="181609"/>
                  </a:lnTo>
                  <a:lnTo>
                    <a:pt x="74040" y="184149"/>
                  </a:lnTo>
                  <a:lnTo>
                    <a:pt x="74294" y="186689"/>
                  </a:lnTo>
                  <a:lnTo>
                    <a:pt x="75945" y="193039"/>
                  </a:lnTo>
                  <a:lnTo>
                    <a:pt x="80390" y="196849"/>
                  </a:lnTo>
                  <a:lnTo>
                    <a:pt x="85978" y="198119"/>
                  </a:lnTo>
                  <a:lnTo>
                    <a:pt x="111759" y="198119"/>
                  </a:lnTo>
                  <a:lnTo>
                    <a:pt x="121157" y="194309"/>
                  </a:lnTo>
                  <a:lnTo>
                    <a:pt x="124104" y="189229"/>
                  </a:lnTo>
                  <a:lnTo>
                    <a:pt x="85978" y="189229"/>
                  </a:lnTo>
                  <a:lnTo>
                    <a:pt x="84327" y="186689"/>
                  </a:lnTo>
                  <a:lnTo>
                    <a:pt x="84327" y="182879"/>
                  </a:lnTo>
                  <a:lnTo>
                    <a:pt x="83946" y="180339"/>
                  </a:lnTo>
                  <a:lnTo>
                    <a:pt x="83693" y="179069"/>
                  </a:lnTo>
                  <a:lnTo>
                    <a:pt x="83693" y="175259"/>
                  </a:lnTo>
                  <a:lnTo>
                    <a:pt x="83312" y="173989"/>
                  </a:lnTo>
                  <a:lnTo>
                    <a:pt x="82676" y="172719"/>
                  </a:lnTo>
                  <a:lnTo>
                    <a:pt x="81661" y="170179"/>
                  </a:lnTo>
                  <a:close/>
                </a:path>
                <a:path w="198755" h="198120">
                  <a:moveTo>
                    <a:pt x="135874" y="161289"/>
                  </a:moveTo>
                  <a:lnTo>
                    <a:pt x="129581" y="162559"/>
                  </a:lnTo>
                  <a:lnTo>
                    <a:pt x="122300" y="165099"/>
                  </a:lnTo>
                  <a:lnTo>
                    <a:pt x="117093" y="167639"/>
                  </a:lnTo>
                  <a:lnTo>
                    <a:pt x="113664" y="172719"/>
                  </a:lnTo>
                  <a:lnTo>
                    <a:pt x="113791" y="175259"/>
                  </a:lnTo>
                  <a:lnTo>
                    <a:pt x="113855" y="176529"/>
                  </a:lnTo>
                  <a:lnTo>
                    <a:pt x="113918" y="177799"/>
                  </a:lnTo>
                  <a:lnTo>
                    <a:pt x="113664" y="179069"/>
                  </a:lnTo>
                  <a:lnTo>
                    <a:pt x="113664" y="180339"/>
                  </a:lnTo>
                  <a:lnTo>
                    <a:pt x="113918" y="181609"/>
                  </a:lnTo>
                  <a:lnTo>
                    <a:pt x="113918" y="186689"/>
                  </a:lnTo>
                  <a:lnTo>
                    <a:pt x="111759" y="189229"/>
                  </a:lnTo>
                  <a:lnTo>
                    <a:pt x="124104" y="189229"/>
                  </a:lnTo>
                  <a:lnTo>
                    <a:pt x="124840" y="187959"/>
                  </a:lnTo>
                  <a:lnTo>
                    <a:pt x="123951" y="180339"/>
                  </a:lnTo>
                  <a:lnTo>
                    <a:pt x="123951" y="175259"/>
                  </a:lnTo>
                  <a:lnTo>
                    <a:pt x="122808" y="175259"/>
                  </a:lnTo>
                  <a:lnTo>
                    <a:pt x="134493" y="170179"/>
                  </a:lnTo>
                  <a:lnTo>
                    <a:pt x="148293" y="170179"/>
                  </a:lnTo>
                  <a:lnTo>
                    <a:pt x="147065" y="168909"/>
                  </a:lnTo>
                  <a:lnTo>
                    <a:pt x="141571" y="163829"/>
                  </a:lnTo>
                  <a:lnTo>
                    <a:pt x="135874" y="161289"/>
                  </a:lnTo>
                  <a:close/>
                </a:path>
                <a:path w="198755" h="198120">
                  <a:moveTo>
                    <a:pt x="148293" y="170179"/>
                  </a:moveTo>
                  <a:lnTo>
                    <a:pt x="134493" y="170179"/>
                  </a:lnTo>
                  <a:lnTo>
                    <a:pt x="139191" y="175259"/>
                  </a:lnTo>
                  <a:lnTo>
                    <a:pt x="142366" y="177799"/>
                  </a:lnTo>
                  <a:lnTo>
                    <a:pt x="147574" y="182879"/>
                  </a:lnTo>
                  <a:lnTo>
                    <a:pt x="155575" y="182879"/>
                  </a:lnTo>
                  <a:lnTo>
                    <a:pt x="160781" y="177799"/>
                  </a:lnTo>
                  <a:lnTo>
                    <a:pt x="162115" y="176529"/>
                  </a:lnTo>
                  <a:lnTo>
                    <a:pt x="154431" y="176529"/>
                  </a:lnTo>
                  <a:lnTo>
                    <a:pt x="148293" y="170179"/>
                  </a:lnTo>
                  <a:close/>
                </a:path>
                <a:path w="198755" h="198120">
                  <a:moveTo>
                    <a:pt x="50672" y="16509"/>
                  </a:moveTo>
                  <a:lnTo>
                    <a:pt x="42418" y="16509"/>
                  </a:lnTo>
                  <a:lnTo>
                    <a:pt x="36956" y="21589"/>
                  </a:lnTo>
                  <a:lnTo>
                    <a:pt x="21081" y="38099"/>
                  </a:lnTo>
                  <a:lnTo>
                    <a:pt x="18287" y="40639"/>
                  </a:lnTo>
                  <a:lnTo>
                    <a:pt x="17018" y="45719"/>
                  </a:lnTo>
                  <a:lnTo>
                    <a:pt x="18795" y="53339"/>
                  </a:lnTo>
                  <a:lnTo>
                    <a:pt x="21208" y="58419"/>
                  </a:lnTo>
                  <a:lnTo>
                    <a:pt x="24764" y="60959"/>
                  </a:lnTo>
                  <a:lnTo>
                    <a:pt x="26415" y="62229"/>
                  </a:lnTo>
                  <a:lnTo>
                    <a:pt x="27431" y="63499"/>
                  </a:lnTo>
                  <a:lnTo>
                    <a:pt x="27431" y="66039"/>
                  </a:lnTo>
                  <a:lnTo>
                    <a:pt x="26796" y="71119"/>
                  </a:lnTo>
                  <a:lnTo>
                    <a:pt x="22097" y="74929"/>
                  </a:lnTo>
                  <a:lnTo>
                    <a:pt x="9016" y="74929"/>
                  </a:lnTo>
                  <a:lnTo>
                    <a:pt x="2793" y="78739"/>
                  </a:lnTo>
                  <a:lnTo>
                    <a:pt x="507" y="85089"/>
                  </a:lnTo>
                  <a:lnTo>
                    <a:pt x="253" y="86359"/>
                  </a:lnTo>
                  <a:lnTo>
                    <a:pt x="0" y="86359"/>
                  </a:lnTo>
                  <a:lnTo>
                    <a:pt x="0" y="113029"/>
                  </a:lnTo>
                  <a:lnTo>
                    <a:pt x="1143" y="118109"/>
                  </a:lnTo>
                  <a:lnTo>
                    <a:pt x="5714" y="123189"/>
                  </a:lnTo>
                  <a:lnTo>
                    <a:pt x="11556" y="124459"/>
                  </a:lnTo>
                  <a:lnTo>
                    <a:pt x="21843" y="124459"/>
                  </a:lnTo>
                  <a:lnTo>
                    <a:pt x="24511" y="125729"/>
                  </a:lnTo>
                  <a:lnTo>
                    <a:pt x="25526" y="129539"/>
                  </a:lnTo>
                  <a:lnTo>
                    <a:pt x="25907" y="130809"/>
                  </a:lnTo>
                  <a:lnTo>
                    <a:pt x="26415" y="130809"/>
                  </a:lnTo>
                  <a:lnTo>
                    <a:pt x="27431" y="133349"/>
                  </a:lnTo>
                  <a:lnTo>
                    <a:pt x="26796" y="135889"/>
                  </a:lnTo>
                  <a:lnTo>
                    <a:pt x="24764" y="138429"/>
                  </a:lnTo>
                  <a:lnTo>
                    <a:pt x="21589" y="140969"/>
                  </a:lnTo>
                  <a:lnTo>
                    <a:pt x="19176" y="144779"/>
                  </a:lnTo>
                  <a:lnTo>
                    <a:pt x="17906" y="148589"/>
                  </a:lnTo>
                  <a:lnTo>
                    <a:pt x="16763" y="153669"/>
                  </a:lnTo>
                  <a:lnTo>
                    <a:pt x="18414" y="158749"/>
                  </a:lnTo>
                  <a:lnTo>
                    <a:pt x="22097" y="162559"/>
                  </a:lnTo>
                  <a:lnTo>
                    <a:pt x="26415" y="167639"/>
                  </a:lnTo>
                  <a:lnTo>
                    <a:pt x="31114" y="171449"/>
                  </a:lnTo>
                  <a:lnTo>
                    <a:pt x="35813" y="176529"/>
                  </a:lnTo>
                  <a:lnTo>
                    <a:pt x="41909" y="181609"/>
                  </a:lnTo>
                  <a:lnTo>
                    <a:pt x="51688" y="181609"/>
                  </a:lnTo>
                  <a:lnTo>
                    <a:pt x="57531" y="175259"/>
                  </a:lnTo>
                  <a:lnTo>
                    <a:pt x="58038" y="175259"/>
                  </a:lnTo>
                  <a:lnTo>
                    <a:pt x="61944" y="171449"/>
                  </a:lnTo>
                  <a:lnTo>
                    <a:pt x="45084" y="171449"/>
                  </a:lnTo>
                  <a:lnTo>
                    <a:pt x="43180" y="168909"/>
                  </a:lnTo>
                  <a:lnTo>
                    <a:pt x="28956" y="154939"/>
                  </a:lnTo>
                  <a:lnTo>
                    <a:pt x="27050" y="153669"/>
                  </a:lnTo>
                  <a:lnTo>
                    <a:pt x="27050" y="149859"/>
                  </a:lnTo>
                  <a:lnTo>
                    <a:pt x="28956" y="148589"/>
                  </a:lnTo>
                  <a:lnTo>
                    <a:pt x="33274" y="144779"/>
                  </a:lnTo>
                  <a:lnTo>
                    <a:pt x="37464" y="140969"/>
                  </a:lnTo>
                  <a:lnTo>
                    <a:pt x="38481" y="133349"/>
                  </a:lnTo>
                  <a:lnTo>
                    <a:pt x="35813" y="128269"/>
                  </a:lnTo>
                  <a:lnTo>
                    <a:pt x="34670" y="124459"/>
                  </a:lnTo>
                  <a:lnTo>
                    <a:pt x="33781" y="123189"/>
                  </a:lnTo>
                  <a:lnTo>
                    <a:pt x="31495" y="118109"/>
                  </a:lnTo>
                  <a:lnTo>
                    <a:pt x="26288" y="114299"/>
                  </a:lnTo>
                  <a:lnTo>
                    <a:pt x="11811" y="114299"/>
                  </a:lnTo>
                  <a:lnTo>
                    <a:pt x="9651" y="111759"/>
                  </a:lnTo>
                  <a:lnTo>
                    <a:pt x="10032" y="109219"/>
                  </a:lnTo>
                  <a:lnTo>
                    <a:pt x="10032" y="90169"/>
                  </a:lnTo>
                  <a:lnTo>
                    <a:pt x="10287" y="86359"/>
                  </a:lnTo>
                  <a:lnTo>
                    <a:pt x="12953" y="85089"/>
                  </a:lnTo>
                  <a:lnTo>
                    <a:pt x="26162" y="85089"/>
                  </a:lnTo>
                  <a:lnTo>
                    <a:pt x="31241" y="81279"/>
                  </a:lnTo>
                  <a:lnTo>
                    <a:pt x="33781" y="76199"/>
                  </a:lnTo>
                  <a:lnTo>
                    <a:pt x="35813" y="71119"/>
                  </a:lnTo>
                  <a:lnTo>
                    <a:pt x="38481" y="66039"/>
                  </a:lnTo>
                  <a:lnTo>
                    <a:pt x="36321" y="60959"/>
                  </a:lnTo>
                  <a:lnTo>
                    <a:pt x="35306" y="57149"/>
                  </a:lnTo>
                  <a:lnTo>
                    <a:pt x="33400" y="54609"/>
                  </a:lnTo>
                  <a:lnTo>
                    <a:pt x="31114" y="52069"/>
                  </a:lnTo>
                  <a:lnTo>
                    <a:pt x="26415" y="48259"/>
                  </a:lnTo>
                  <a:lnTo>
                    <a:pt x="26415" y="45719"/>
                  </a:lnTo>
                  <a:lnTo>
                    <a:pt x="31114" y="41909"/>
                  </a:lnTo>
                  <a:lnTo>
                    <a:pt x="41656" y="31749"/>
                  </a:lnTo>
                  <a:lnTo>
                    <a:pt x="45338" y="27939"/>
                  </a:lnTo>
                  <a:lnTo>
                    <a:pt x="62737" y="27939"/>
                  </a:lnTo>
                  <a:lnTo>
                    <a:pt x="61721" y="26669"/>
                  </a:lnTo>
                  <a:lnTo>
                    <a:pt x="60832" y="26669"/>
                  </a:lnTo>
                  <a:lnTo>
                    <a:pt x="60070" y="25399"/>
                  </a:lnTo>
                  <a:lnTo>
                    <a:pt x="55880" y="21589"/>
                  </a:lnTo>
                  <a:lnTo>
                    <a:pt x="50672" y="16509"/>
                  </a:lnTo>
                  <a:close/>
                </a:path>
                <a:path w="198755" h="198120">
                  <a:moveTo>
                    <a:pt x="197557" y="83819"/>
                  </a:moveTo>
                  <a:lnTo>
                    <a:pt x="187706" y="83819"/>
                  </a:lnTo>
                  <a:lnTo>
                    <a:pt x="188213" y="86359"/>
                  </a:lnTo>
                  <a:lnTo>
                    <a:pt x="187706" y="93979"/>
                  </a:lnTo>
                  <a:lnTo>
                    <a:pt x="187706" y="113029"/>
                  </a:lnTo>
                  <a:lnTo>
                    <a:pt x="186181" y="115569"/>
                  </a:lnTo>
                  <a:lnTo>
                    <a:pt x="172974" y="115569"/>
                  </a:lnTo>
                  <a:lnTo>
                    <a:pt x="166526" y="119379"/>
                  </a:lnTo>
                  <a:lnTo>
                    <a:pt x="161877" y="126999"/>
                  </a:lnTo>
                  <a:lnTo>
                    <a:pt x="160776" y="137159"/>
                  </a:lnTo>
                  <a:lnTo>
                    <a:pt x="164972" y="144779"/>
                  </a:lnTo>
                  <a:lnTo>
                    <a:pt x="165607" y="144779"/>
                  </a:lnTo>
                  <a:lnTo>
                    <a:pt x="165607" y="146049"/>
                  </a:lnTo>
                  <a:lnTo>
                    <a:pt x="171831" y="152399"/>
                  </a:lnTo>
                  <a:lnTo>
                    <a:pt x="168782" y="154939"/>
                  </a:lnTo>
                  <a:lnTo>
                    <a:pt x="162432" y="162559"/>
                  </a:lnTo>
                  <a:lnTo>
                    <a:pt x="158750" y="165099"/>
                  </a:lnTo>
                  <a:lnTo>
                    <a:pt x="152400" y="171449"/>
                  </a:lnTo>
                  <a:lnTo>
                    <a:pt x="154431" y="176529"/>
                  </a:lnTo>
                  <a:lnTo>
                    <a:pt x="162115" y="176529"/>
                  </a:lnTo>
                  <a:lnTo>
                    <a:pt x="166115" y="172719"/>
                  </a:lnTo>
                  <a:lnTo>
                    <a:pt x="171831" y="167639"/>
                  </a:lnTo>
                  <a:lnTo>
                    <a:pt x="176656" y="161289"/>
                  </a:lnTo>
                  <a:lnTo>
                    <a:pt x="181482" y="156209"/>
                  </a:lnTo>
                  <a:lnTo>
                    <a:pt x="181482" y="147319"/>
                  </a:lnTo>
                  <a:lnTo>
                    <a:pt x="176656" y="142239"/>
                  </a:lnTo>
                  <a:lnTo>
                    <a:pt x="175132" y="140969"/>
                  </a:lnTo>
                  <a:lnTo>
                    <a:pt x="173736" y="139699"/>
                  </a:lnTo>
                  <a:lnTo>
                    <a:pt x="172465" y="138429"/>
                  </a:lnTo>
                  <a:lnTo>
                    <a:pt x="170814" y="137159"/>
                  </a:lnTo>
                  <a:lnTo>
                    <a:pt x="170180" y="134619"/>
                  </a:lnTo>
                  <a:lnTo>
                    <a:pt x="170814" y="132079"/>
                  </a:lnTo>
                  <a:lnTo>
                    <a:pt x="173989" y="125729"/>
                  </a:lnTo>
                  <a:lnTo>
                    <a:pt x="173481" y="123189"/>
                  </a:lnTo>
                  <a:lnTo>
                    <a:pt x="192455" y="123189"/>
                  </a:lnTo>
                  <a:lnTo>
                    <a:pt x="197231" y="118109"/>
                  </a:lnTo>
                  <a:lnTo>
                    <a:pt x="198246" y="104139"/>
                  </a:lnTo>
                  <a:lnTo>
                    <a:pt x="198246" y="96519"/>
                  </a:lnTo>
                  <a:lnTo>
                    <a:pt x="197738" y="90169"/>
                  </a:lnTo>
                  <a:lnTo>
                    <a:pt x="197630" y="86359"/>
                  </a:lnTo>
                  <a:lnTo>
                    <a:pt x="197557" y="83819"/>
                  </a:lnTo>
                  <a:close/>
                </a:path>
                <a:path w="198755" h="198120">
                  <a:moveTo>
                    <a:pt x="67817" y="161289"/>
                  </a:moveTo>
                  <a:lnTo>
                    <a:pt x="60531" y="162559"/>
                  </a:lnTo>
                  <a:lnTo>
                    <a:pt x="53720" y="165099"/>
                  </a:lnTo>
                  <a:lnTo>
                    <a:pt x="49911" y="168909"/>
                  </a:lnTo>
                  <a:lnTo>
                    <a:pt x="48006" y="171449"/>
                  </a:lnTo>
                  <a:lnTo>
                    <a:pt x="61944" y="171449"/>
                  </a:lnTo>
                  <a:lnTo>
                    <a:pt x="63245" y="170179"/>
                  </a:lnTo>
                  <a:lnTo>
                    <a:pt x="81661" y="170179"/>
                  </a:lnTo>
                  <a:lnTo>
                    <a:pt x="80390" y="168909"/>
                  </a:lnTo>
                  <a:lnTo>
                    <a:pt x="74723" y="163829"/>
                  </a:lnTo>
                  <a:lnTo>
                    <a:pt x="67817" y="161289"/>
                  </a:lnTo>
                  <a:close/>
                </a:path>
                <a:path w="198755" h="198120">
                  <a:moveTo>
                    <a:pt x="192455" y="123189"/>
                  </a:moveTo>
                  <a:lnTo>
                    <a:pt x="173481" y="123189"/>
                  </a:lnTo>
                  <a:lnTo>
                    <a:pt x="181863" y="124459"/>
                  </a:lnTo>
                  <a:lnTo>
                    <a:pt x="191262" y="124459"/>
                  </a:lnTo>
                  <a:lnTo>
                    <a:pt x="192455" y="123189"/>
                  </a:lnTo>
                  <a:close/>
                </a:path>
                <a:path w="198755" h="198120">
                  <a:moveTo>
                    <a:pt x="148844" y="16509"/>
                  </a:moveTo>
                  <a:lnTo>
                    <a:pt x="143382" y="20319"/>
                  </a:lnTo>
                  <a:lnTo>
                    <a:pt x="137668" y="25399"/>
                  </a:lnTo>
                  <a:lnTo>
                    <a:pt x="136270" y="27939"/>
                  </a:lnTo>
                  <a:lnTo>
                    <a:pt x="152400" y="27939"/>
                  </a:lnTo>
                  <a:lnTo>
                    <a:pt x="156590" y="31749"/>
                  </a:lnTo>
                  <a:lnTo>
                    <a:pt x="167639" y="41909"/>
                  </a:lnTo>
                  <a:lnTo>
                    <a:pt x="171322" y="45719"/>
                  </a:lnTo>
                  <a:lnTo>
                    <a:pt x="170814" y="48259"/>
                  </a:lnTo>
                  <a:lnTo>
                    <a:pt x="167131" y="52069"/>
                  </a:lnTo>
                  <a:lnTo>
                    <a:pt x="163956" y="55879"/>
                  </a:lnTo>
                  <a:lnTo>
                    <a:pt x="160908" y="59689"/>
                  </a:lnTo>
                  <a:lnTo>
                    <a:pt x="159638" y="63499"/>
                  </a:lnTo>
                  <a:lnTo>
                    <a:pt x="160781" y="68579"/>
                  </a:lnTo>
                  <a:lnTo>
                    <a:pt x="161670" y="71119"/>
                  </a:lnTo>
                  <a:lnTo>
                    <a:pt x="163068" y="74929"/>
                  </a:lnTo>
                  <a:lnTo>
                    <a:pt x="164972" y="77469"/>
                  </a:lnTo>
                  <a:lnTo>
                    <a:pt x="167512" y="82549"/>
                  </a:lnTo>
                  <a:lnTo>
                    <a:pt x="172719" y="85089"/>
                  </a:lnTo>
                  <a:lnTo>
                    <a:pt x="178181" y="85089"/>
                  </a:lnTo>
                  <a:lnTo>
                    <a:pt x="187706" y="83819"/>
                  </a:lnTo>
                  <a:lnTo>
                    <a:pt x="197557" y="83819"/>
                  </a:lnTo>
                  <a:lnTo>
                    <a:pt x="197484" y="81279"/>
                  </a:lnTo>
                  <a:lnTo>
                    <a:pt x="190372" y="74929"/>
                  </a:lnTo>
                  <a:lnTo>
                    <a:pt x="175640" y="74929"/>
                  </a:lnTo>
                  <a:lnTo>
                    <a:pt x="174370" y="73659"/>
                  </a:lnTo>
                  <a:lnTo>
                    <a:pt x="173481" y="72389"/>
                  </a:lnTo>
                  <a:lnTo>
                    <a:pt x="172338" y="71119"/>
                  </a:lnTo>
                  <a:lnTo>
                    <a:pt x="171450" y="68579"/>
                  </a:lnTo>
                  <a:lnTo>
                    <a:pt x="170306" y="64769"/>
                  </a:lnTo>
                  <a:lnTo>
                    <a:pt x="170941" y="62229"/>
                  </a:lnTo>
                  <a:lnTo>
                    <a:pt x="172465" y="62229"/>
                  </a:lnTo>
                  <a:lnTo>
                    <a:pt x="181482" y="50799"/>
                  </a:lnTo>
                  <a:lnTo>
                    <a:pt x="181482" y="43179"/>
                  </a:lnTo>
                  <a:lnTo>
                    <a:pt x="176656" y="38099"/>
                  </a:lnTo>
                  <a:lnTo>
                    <a:pt x="171576" y="31749"/>
                  </a:lnTo>
                  <a:lnTo>
                    <a:pt x="166369" y="26669"/>
                  </a:lnTo>
                  <a:lnTo>
                    <a:pt x="160781" y="21589"/>
                  </a:lnTo>
                  <a:lnTo>
                    <a:pt x="156082" y="17779"/>
                  </a:lnTo>
                  <a:lnTo>
                    <a:pt x="148844" y="16509"/>
                  </a:lnTo>
                  <a:close/>
                </a:path>
                <a:path w="198755" h="198120">
                  <a:moveTo>
                    <a:pt x="116966" y="1269"/>
                  </a:moveTo>
                  <a:lnTo>
                    <a:pt x="81533" y="1269"/>
                  </a:lnTo>
                  <a:lnTo>
                    <a:pt x="76453" y="6349"/>
                  </a:lnTo>
                  <a:lnTo>
                    <a:pt x="74168" y="13969"/>
                  </a:lnTo>
                  <a:lnTo>
                    <a:pt x="74104" y="15239"/>
                  </a:lnTo>
                  <a:lnTo>
                    <a:pt x="74040" y="16509"/>
                  </a:lnTo>
                  <a:lnTo>
                    <a:pt x="74168" y="17779"/>
                  </a:lnTo>
                  <a:lnTo>
                    <a:pt x="74294" y="19049"/>
                  </a:lnTo>
                  <a:lnTo>
                    <a:pt x="73278" y="25399"/>
                  </a:lnTo>
                  <a:lnTo>
                    <a:pt x="68071" y="27939"/>
                  </a:lnTo>
                  <a:lnTo>
                    <a:pt x="47497" y="27939"/>
                  </a:lnTo>
                  <a:lnTo>
                    <a:pt x="51688" y="31749"/>
                  </a:lnTo>
                  <a:lnTo>
                    <a:pt x="54356" y="34289"/>
                  </a:lnTo>
                  <a:lnTo>
                    <a:pt x="57784" y="38099"/>
                  </a:lnTo>
                  <a:lnTo>
                    <a:pt x="62864" y="39369"/>
                  </a:lnTo>
                  <a:lnTo>
                    <a:pt x="84074" y="26669"/>
                  </a:lnTo>
                  <a:lnTo>
                    <a:pt x="83947" y="24129"/>
                  </a:lnTo>
                  <a:lnTo>
                    <a:pt x="83883" y="22859"/>
                  </a:lnTo>
                  <a:lnTo>
                    <a:pt x="83819" y="21589"/>
                  </a:lnTo>
                  <a:lnTo>
                    <a:pt x="84327" y="20319"/>
                  </a:lnTo>
                  <a:lnTo>
                    <a:pt x="84327" y="12699"/>
                  </a:lnTo>
                  <a:lnTo>
                    <a:pt x="85978" y="11429"/>
                  </a:lnTo>
                  <a:lnTo>
                    <a:pt x="123788" y="11429"/>
                  </a:lnTo>
                  <a:lnTo>
                    <a:pt x="123570" y="6349"/>
                  </a:lnTo>
                  <a:lnTo>
                    <a:pt x="116966" y="1269"/>
                  </a:lnTo>
                  <a:close/>
                </a:path>
                <a:path w="198755" h="198120">
                  <a:moveTo>
                    <a:pt x="123788" y="11429"/>
                  </a:moveTo>
                  <a:lnTo>
                    <a:pt x="111759" y="11429"/>
                  </a:lnTo>
                  <a:lnTo>
                    <a:pt x="113411" y="12699"/>
                  </a:lnTo>
                  <a:lnTo>
                    <a:pt x="113918" y="16509"/>
                  </a:lnTo>
                  <a:lnTo>
                    <a:pt x="113791" y="17779"/>
                  </a:lnTo>
                  <a:lnTo>
                    <a:pt x="113791" y="21589"/>
                  </a:lnTo>
                  <a:lnTo>
                    <a:pt x="113918" y="22859"/>
                  </a:lnTo>
                  <a:lnTo>
                    <a:pt x="114045" y="25399"/>
                  </a:lnTo>
                  <a:lnTo>
                    <a:pt x="114172" y="27939"/>
                  </a:lnTo>
                  <a:lnTo>
                    <a:pt x="117728" y="33019"/>
                  </a:lnTo>
                  <a:lnTo>
                    <a:pt x="122808" y="34289"/>
                  </a:lnTo>
                  <a:lnTo>
                    <a:pt x="127126" y="38099"/>
                  </a:lnTo>
                  <a:lnTo>
                    <a:pt x="137032" y="38099"/>
                  </a:lnTo>
                  <a:lnTo>
                    <a:pt x="140588" y="36829"/>
                  </a:lnTo>
                  <a:lnTo>
                    <a:pt x="143637" y="34289"/>
                  </a:lnTo>
                  <a:lnTo>
                    <a:pt x="146050" y="31749"/>
                  </a:lnTo>
                  <a:lnTo>
                    <a:pt x="150240" y="27939"/>
                  </a:lnTo>
                  <a:lnTo>
                    <a:pt x="131318" y="27939"/>
                  </a:lnTo>
                  <a:lnTo>
                    <a:pt x="126407" y="25399"/>
                  </a:lnTo>
                  <a:lnTo>
                    <a:pt x="123316" y="25399"/>
                  </a:lnTo>
                  <a:lnTo>
                    <a:pt x="123422" y="24129"/>
                  </a:lnTo>
                  <a:lnTo>
                    <a:pt x="123528" y="22859"/>
                  </a:lnTo>
                  <a:lnTo>
                    <a:pt x="123634" y="21589"/>
                  </a:lnTo>
                  <a:lnTo>
                    <a:pt x="123740" y="20319"/>
                  </a:lnTo>
                  <a:lnTo>
                    <a:pt x="123788" y="11429"/>
                  </a:lnTo>
                  <a:close/>
                </a:path>
                <a:path w="198755" h="198120">
                  <a:moveTo>
                    <a:pt x="123951" y="24129"/>
                  </a:moveTo>
                  <a:lnTo>
                    <a:pt x="123316" y="25399"/>
                  </a:lnTo>
                  <a:lnTo>
                    <a:pt x="126407" y="25399"/>
                  </a:lnTo>
                  <a:lnTo>
                    <a:pt x="123951" y="24129"/>
                  </a:lnTo>
                  <a:close/>
                </a:path>
                <a:path w="198755" h="198120">
                  <a:moveTo>
                    <a:pt x="101981" y="0"/>
                  </a:moveTo>
                  <a:lnTo>
                    <a:pt x="94741" y="0"/>
                  </a:lnTo>
                  <a:lnTo>
                    <a:pt x="87502" y="1269"/>
                  </a:lnTo>
                  <a:lnTo>
                    <a:pt x="109093" y="1269"/>
                  </a:lnTo>
                  <a:lnTo>
                    <a:pt x="101981" y="0"/>
                  </a:lnTo>
                  <a:close/>
                </a:path>
              </a:pathLst>
            </a:custGeom>
            <a:solidFill>
              <a:srgbClr val="A78B5E">
                <a:alpha val="47058"/>
              </a:srgbClr>
            </a:solidFill>
          </p:spPr>
          <p:txBody>
            <a:bodyPr wrap="square" lIns="0" tIns="0" rIns="0" bIns="0" rtlCol="0"/>
            <a:lstStyle/>
            <a:p>
              <a:endParaRPr kern="0">
                <a:solidFill>
                  <a:sysClr val="windowText" lastClr="000000"/>
                </a:solidFill>
              </a:endParaRPr>
            </a:p>
          </p:txBody>
        </p:sp>
        <p:pic>
          <p:nvPicPr>
            <p:cNvPr id="78" name="object 37">
              <a:extLst>
                <a:ext uri="{FF2B5EF4-FFF2-40B4-BE49-F238E27FC236}">
                  <a16:creationId xmlns:a16="http://schemas.microsoft.com/office/drawing/2014/main" id="{2F04F344-5E7D-EE84-655D-EE1E353607C5}"/>
                </a:ext>
              </a:extLst>
            </p:cNvPr>
            <p:cNvPicPr/>
            <p:nvPr/>
          </p:nvPicPr>
          <p:blipFill>
            <a:blip r:embed="rId12" cstate="print"/>
            <a:stretch>
              <a:fillRect/>
            </a:stretch>
          </p:blipFill>
          <p:spPr>
            <a:xfrm>
              <a:off x="2831591" y="4956073"/>
              <a:ext cx="344398" cy="344398"/>
            </a:xfrm>
            <a:prstGeom prst="rect">
              <a:avLst/>
            </a:prstGeom>
          </p:spPr>
        </p:pic>
        <p:pic>
          <p:nvPicPr>
            <p:cNvPr id="79" name="object 38">
              <a:extLst>
                <a:ext uri="{FF2B5EF4-FFF2-40B4-BE49-F238E27FC236}">
                  <a16:creationId xmlns:a16="http://schemas.microsoft.com/office/drawing/2014/main" id="{FB74E135-AE24-89F1-B8FB-CC11682DC494}"/>
                </a:ext>
              </a:extLst>
            </p:cNvPr>
            <p:cNvPicPr/>
            <p:nvPr/>
          </p:nvPicPr>
          <p:blipFill>
            <a:blip r:embed="rId13" cstate="print">
              <a:duotone>
                <a:prstClr val="black"/>
                <a:schemeClr val="accent6">
                  <a:tint val="45000"/>
                  <a:satMod val="400000"/>
                </a:schemeClr>
              </a:duotone>
            </a:blip>
            <a:stretch>
              <a:fillRect/>
            </a:stretch>
          </p:blipFill>
          <p:spPr>
            <a:xfrm>
              <a:off x="2855721" y="4981702"/>
              <a:ext cx="251739" cy="256286"/>
            </a:xfrm>
            <a:prstGeom prst="rect">
              <a:avLst/>
            </a:prstGeom>
          </p:spPr>
        </p:pic>
        <p:sp>
          <p:nvSpPr>
            <p:cNvPr id="80" name="object 39">
              <a:extLst>
                <a:ext uri="{FF2B5EF4-FFF2-40B4-BE49-F238E27FC236}">
                  <a16:creationId xmlns:a16="http://schemas.microsoft.com/office/drawing/2014/main" id="{71EFCEE5-9658-0050-FF04-0FF72C5F41A5}"/>
                </a:ext>
              </a:extLst>
            </p:cNvPr>
            <p:cNvSpPr/>
            <p:nvPr/>
          </p:nvSpPr>
          <p:spPr>
            <a:xfrm>
              <a:off x="2919094" y="5050583"/>
              <a:ext cx="112395" cy="112395"/>
            </a:xfrm>
            <a:custGeom>
              <a:avLst/>
              <a:gdLst/>
              <a:ahLst/>
              <a:cxnLst/>
              <a:rect l="l" t="t" r="r" b="b"/>
              <a:pathLst>
                <a:path w="112394" h="112395">
                  <a:moveTo>
                    <a:pt x="45751" y="0"/>
                  </a:moveTo>
                  <a:lnTo>
                    <a:pt x="23792" y="4530"/>
                  </a:lnTo>
                  <a:lnTo>
                    <a:pt x="4191" y="16716"/>
                  </a:lnTo>
                  <a:lnTo>
                    <a:pt x="507" y="20399"/>
                  </a:lnTo>
                  <a:lnTo>
                    <a:pt x="0" y="22939"/>
                  </a:lnTo>
                  <a:lnTo>
                    <a:pt x="4191" y="28273"/>
                  </a:lnTo>
                  <a:lnTo>
                    <a:pt x="7366" y="27765"/>
                  </a:lnTo>
                  <a:lnTo>
                    <a:pt x="11175" y="24082"/>
                  </a:lnTo>
                  <a:lnTo>
                    <a:pt x="24431" y="14964"/>
                  </a:lnTo>
                  <a:lnTo>
                    <a:pt x="39497" y="10191"/>
                  </a:lnTo>
                  <a:lnTo>
                    <a:pt x="55324" y="9919"/>
                  </a:lnTo>
                  <a:lnTo>
                    <a:pt x="70866" y="14303"/>
                  </a:lnTo>
                  <a:lnTo>
                    <a:pt x="88342" y="26965"/>
                  </a:lnTo>
                  <a:lnTo>
                    <a:pt x="99234" y="44735"/>
                  </a:lnTo>
                  <a:lnTo>
                    <a:pt x="102673" y="65291"/>
                  </a:lnTo>
                  <a:lnTo>
                    <a:pt x="97790" y="86312"/>
                  </a:lnTo>
                  <a:lnTo>
                    <a:pt x="94868" y="92154"/>
                  </a:lnTo>
                  <a:lnTo>
                    <a:pt x="91186" y="97742"/>
                  </a:lnTo>
                  <a:lnTo>
                    <a:pt x="86741" y="102568"/>
                  </a:lnTo>
                  <a:lnTo>
                    <a:pt x="85979" y="102949"/>
                  </a:lnTo>
                  <a:lnTo>
                    <a:pt x="83947" y="106251"/>
                  </a:lnTo>
                  <a:lnTo>
                    <a:pt x="84709" y="108918"/>
                  </a:lnTo>
                  <a:lnTo>
                    <a:pt x="86741" y="109934"/>
                  </a:lnTo>
                  <a:lnTo>
                    <a:pt x="88900" y="111839"/>
                  </a:lnTo>
                  <a:lnTo>
                    <a:pt x="111261" y="75940"/>
                  </a:lnTo>
                  <a:lnTo>
                    <a:pt x="112141" y="63071"/>
                  </a:lnTo>
                  <a:lnTo>
                    <a:pt x="110392" y="49053"/>
                  </a:lnTo>
                  <a:lnTo>
                    <a:pt x="105679" y="35893"/>
                  </a:lnTo>
                  <a:lnTo>
                    <a:pt x="98228" y="24066"/>
                  </a:lnTo>
                  <a:lnTo>
                    <a:pt x="88265" y="14049"/>
                  </a:lnTo>
                  <a:lnTo>
                    <a:pt x="67948" y="3161"/>
                  </a:lnTo>
                  <a:lnTo>
                    <a:pt x="45751" y="0"/>
                  </a:lnTo>
                  <a:close/>
                </a:path>
              </a:pathLst>
            </a:custGeom>
            <a:solidFill>
              <a:srgbClr val="A78B5E">
                <a:alpha val="47058"/>
              </a:srgbClr>
            </a:solidFill>
          </p:spPr>
          <p:txBody>
            <a:bodyPr wrap="square" lIns="0" tIns="0" rIns="0" bIns="0" rtlCol="0"/>
            <a:lstStyle/>
            <a:p>
              <a:endParaRPr kern="0" dirty="0">
                <a:solidFill>
                  <a:sysClr val="windowText" lastClr="000000"/>
                </a:solidFill>
              </a:endParaRPr>
            </a:p>
          </p:txBody>
        </p:sp>
        <p:sp>
          <p:nvSpPr>
            <p:cNvPr id="82" name="object 41">
              <a:extLst>
                <a:ext uri="{FF2B5EF4-FFF2-40B4-BE49-F238E27FC236}">
                  <a16:creationId xmlns:a16="http://schemas.microsoft.com/office/drawing/2014/main" id="{731A89B0-77C0-4DC6-8062-D4EF9B07798E}"/>
                </a:ext>
              </a:extLst>
            </p:cNvPr>
            <p:cNvSpPr/>
            <p:nvPr/>
          </p:nvSpPr>
          <p:spPr>
            <a:xfrm>
              <a:off x="2857499" y="5134356"/>
              <a:ext cx="88900" cy="90170"/>
            </a:xfrm>
            <a:custGeom>
              <a:avLst/>
              <a:gdLst/>
              <a:ahLst/>
              <a:cxnLst/>
              <a:rect l="l" t="t" r="r" b="b"/>
              <a:pathLst>
                <a:path w="88900" h="90170">
                  <a:moveTo>
                    <a:pt x="43942" y="0"/>
                  </a:moveTo>
                  <a:lnTo>
                    <a:pt x="3905" y="25949"/>
                  </a:lnTo>
                  <a:lnTo>
                    <a:pt x="0" y="43053"/>
                  </a:lnTo>
                  <a:lnTo>
                    <a:pt x="95" y="44704"/>
                  </a:lnTo>
                  <a:lnTo>
                    <a:pt x="3311" y="61858"/>
                  </a:lnTo>
                  <a:lnTo>
                    <a:pt x="12684" y="76342"/>
                  </a:lnTo>
                  <a:lnTo>
                    <a:pt x="26699" y="86183"/>
                  </a:lnTo>
                  <a:lnTo>
                    <a:pt x="43942" y="89916"/>
                  </a:lnTo>
                  <a:lnTo>
                    <a:pt x="61013" y="86459"/>
                  </a:lnTo>
                  <a:lnTo>
                    <a:pt x="71015" y="80264"/>
                  </a:lnTo>
                  <a:lnTo>
                    <a:pt x="38862" y="80264"/>
                  </a:lnTo>
                  <a:lnTo>
                    <a:pt x="36068" y="79883"/>
                  </a:lnTo>
                  <a:lnTo>
                    <a:pt x="22985" y="75543"/>
                  </a:lnTo>
                  <a:lnTo>
                    <a:pt x="12938" y="66786"/>
                  </a:lnTo>
                  <a:lnTo>
                    <a:pt x="6867" y="54862"/>
                  </a:lnTo>
                  <a:lnTo>
                    <a:pt x="5714" y="41021"/>
                  </a:lnTo>
                  <a:lnTo>
                    <a:pt x="9937" y="27733"/>
                  </a:lnTo>
                  <a:lnTo>
                    <a:pt x="18541" y="17494"/>
                  </a:lnTo>
                  <a:lnTo>
                    <a:pt x="30289" y="11303"/>
                  </a:lnTo>
                  <a:lnTo>
                    <a:pt x="43942" y="10160"/>
                  </a:lnTo>
                  <a:lnTo>
                    <a:pt x="71880" y="10160"/>
                  </a:lnTo>
                  <a:lnTo>
                    <a:pt x="60924" y="3030"/>
                  </a:lnTo>
                  <a:lnTo>
                    <a:pt x="43942" y="0"/>
                  </a:lnTo>
                  <a:close/>
                </a:path>
                <a:path w="88900" h="90170">
                  <a:moveTo>
                    <a:pt x="71880" y="10160"/>
                  </a:moveTo>
                  <a:lnTo>
                    <a:pt x="43942" y="10160"/>
                  </a:lnTo>
                  <a:lnTo>
                    <a:pt x="57126" y="12799"/>
                  </a:lnTo>
                  <a:lnTo>
                    <a:pt x="67976" y="20034"/>
                  </a:lnTo>
                  <a:lnTo>
                    <a:pt x="75445" y="30841"/>
                  </a:lnTo>
                  <a:lnTo>
                    <a:pt x="78486" y="44196"/>
                  </a:lnTo>
                  <a:lnTo>
                    <a:pt x="75953" y="57860"/>
                  </a:lnTo>
                  <a:lnTo>
                    <a:pt x="68706" y="69119"/>
                  </a:lnTo>
                  <a:lnTo>
                    <a:pt x="57840" y="76807"/>
                  </a:lnTo>
                  <a:lnTo>
                    <a:pt x="43873" y="79883"/>
                  </a:lnTo>
                  <a:lnTo>
                    <a:pt x="43518" y="79883"/>
                  </a:lnTo>
                  <a:lnTo>
                    <a:pt x="40724" y="80264"/>
                  </a:lnTo>
                  <a:lnTo>
                    <a:pt x="71015" y="80264"/>
                  </a:lnTo>
                  <a:lnTo>
                    <a:pt x="75168" y="77692"/>
                  </a:lnTo>
                  <a:lnTo>
                    <a:pt x="84822" y="63734"/>
                  </a:lnTo>
                  <a:lnTo>
                    <a:pt x="88392" y="44704"/>
                  </a:lnTo>
                  <a:lnTo>
                    <a:pt x="88392" y="43053"/>
                  </a:lnTo>
                  <a:lnTo>
                    <a:pt x="84590" y="26110"/>
                  </a:lnTo>
                  <a:lnTo>
                    <a:pt x="84554" y="25949"/>
                  </a:lnTo>
                  <a:lnTo>
                    <a:pt x="74930" y="12144"/>
                  </a:lnTo>
                  <a:lnTo>
                    <a:pt x="71880" y="10160"/>
                  </a:lnTo>
                  <a:close/>
                </a:path>
              </a:pathLst>
            </a:custGeom>
            <a:solidFill>
              <a:srgbClr val="A78B5E">
                <a:alpha val="47058"/>
              </a:srgbClr>
            </a:solidFill>
          </p:spPr>
          <p:txBody>
            <a:bodyPr wrap="square" lIns="0" tIns="0" rIns="0" bIns="0" rtlCol="0"/>
            <a:lstStyle/>
            <a:p>
              <a:endParaRPr kern="0">
                <a:solidFill>
                  <a:sysClr val="windowText" lastClr="000000"/>
                </a:solidFill>
              </a:endParaRPr>
            </a:p>
          </p:txBody>
        </p:sp>
      </p:grpSp>
      <p:sp>
        <p:nvSpPr>
          <p:cNvPr id="83" name="object 42">
            <a:extLst>
              <a:ext uri="{FF2B5EF4-FFF2-40B4-BE49-F238E27FC236}">
                <a16:creationId xmlns:a16="http://schemas.microsoft.com/office/drawing/2014/main" id="{0C4D81CD-2B14-A9C4-5044-D7C1713B85F2}"/>
              </a:ext>
            </a:extLst>
          </p:cNvPr>
          <p:cNvSpPr txBox="1"/>
          <p:nvPr/>
        </p:nvSpPr>
        <p:spPr>
          <a:xfrm>
            <a:off x="3802362" y="1729371"/>
            <a:ext cx="5878195" cy="1141979"/>
          </a:xfrm>
          <a:prstGeom prst="rect">
            <a:avLst/>
          </a:prstGeom>
        </p:spPr>
        <p:txBody>
          <a:bodyPr vert="horz" wrap="square" lIns="0" tIns="13335" rIns="0" bIns="0" rtlCol="0">
            <a:spAutoFit/>
          </a:bodyPr>
          <a:lstStyle/>
          <a:p>
            <a:pPr marL="299085" indent="-286385">
              <a:spcBef>
                <a:spcPts val="105"/>
              </a:spcBef>
              <a:buClr>
                <a:srgbClr val="A36C3F"/>
              </a:buClr>
              <a:buSzPct val="78571"/>
              <a:buFont typeface="Segoe UI Symbol"/>
              <a:buChar char="⮚"/>
              <a:tabLst>
                <a:tab pos="299085" algn="l"/>
              </a:tabLst>
            </a:pPr>
            <a:r>
              <a:rPr lang="ar-SA" sz="1400" kern="0" dirty="0">
                <a:solidFill>
                  <a:srgbClr val="A78B5E"/>
                </a:solidFill>
                <a:latin typeface="Century Gothic"/>
                <a:cs typeface="Century Gothic"/>
              </a:rPr>
              <a:t>تحديد الاتجاه والتفويض؛</a:t>
            </a:r>
          </a:p>
          <a:p>
            <a:pPr marL="299085" indent="-286385">
              <a:spcBef>
                <a:spcPts val="105"/>
              </a:spcBef>
              <a:buClr>
                <a:srgbClr val="A36C3F"/>
              </a:buClr>
              <a:buSzPct val="78571"/>
              <a:buFont typeface="Segoe UI Symbol"/>
              <a:buChar char="⮚"/>
              <a:tabLst>
                <a:tab pos="299085" algn="l"/>
              </a:tabLst>
            </a:pPr>
            <a:r>
              <a:rPr lang="ar-SA" sz="1400" kern="0" spc="50" dirty="0">
                <a:solidFill>
                  <a:srgbClr val="A78B5E"/>
                </a:solidFill>
                <a:latin typeface="Century Gothic"/>
                <a:cs typeface="Century Gothic"/>
              </a:rPr>
              <a:t>تعزيز النظام وثقافة الأداء؛</a:t>
            </a:r>
          </a:p>
          <a:p>
            <a:pPr marL="299085" indent="-286385">
              <a:spcBef>
                <a:spcPts val="105"/>
              </a:spcBef>
              <a:buClr>
                <a:srgbClr val="A36C3F"/>
              </a:buClr>
              <a:buSzPct val="78571"/>
              <a:buFont typeface="Segoe UI Symbol"/>
              <a:buChar char="⮚"/>
              <a:tabLst>
                <a:tab pos="299085" algn="l"/>
              </a:tabLst>
            </a:pPr>
            <a:r>
              <a:rPr lang="ar-SA" sz="1400" kern="0" spc="65" dirty="0">
                <a:solidFill>
                  <a:srgbClr val="A78B5E"/>
                </a:solidFill>
                <a:latin typeface="Century Gothic"/>
                <a:cs typeface="Century Gothic"/>
              </a:rPr>
              <a:t>دعم تنفيذ المبادرات؛</a:t>
            </a:r>
          </a:p>
          <a:p>
            <a:pPr marL="299085" indent="-286385">
              <a:spcBef>
                <a:spcPts val="105"/>
              </a:spcBef>
              <a:buClr>
                <a:srgbClr val="A36C3F"/>
              </a:buClr>
              <a:buSzPct val="78571"/>
              <a:buFont typeface="Segoe UI Symbol"/>
              <a:buChar char="⮚"/>
              <a:tabLst>
                <a:tab pos="299085" algn="l"/>
              </a:tabLst>
            </a:pPr>
            <a:r>
              <a:rPr lang="ar-SA" sz="1400" kern="0" spc="95" dirty="0">
                <a:solidFill>
                  <a:srgbClr val="A78B5E"/>
                </a:solidFill>
                <a:latin typeface="Century Gothic"/>
                <a:cs typeface="Century Gothic"/>
              </a:rPr>
              <a:t>استخدام أدوات إدارة الأداء للتخطيط الاستراتيجي وتنفيذ الاستراتيجية؛</a:t>
            </a:r>
            <a:endParaRPr lang="en-US" sz="1400" kern="0" spc="95" dirty="0">
              <a:solidFill>
                <a:srgbClr val="A78B5E"/>
              </a:solidFill>
              <a:latin typeface="Century Gothic"/>
              <a:cs typeface="Century Gothic"/>
            </a:endParaRPr>
          </a:p>
          <a:p>
            <a:pPr marL="299085" indent="-286385">
              <a:spcBef>
                <a:spcPts val="105"/>
              </a:spcBef>
              <a:buClr>
                <a:srgbClr val="A36C3F"/>
              </a:buClr>
              <a:buSzPct val="78571"/>
              <a:buFont typeface="Segoe UI Symbol"/>
              <a:buChar char="⮚"/>
              <a:tabLst>
                <a:tab pos="299085" algn="l"/>
              </a:tabLst>
            </a:pPr>
            <a:r>
              <a:rPr lang="ar-SA" sz="1400" kern="0" dirty="0">
                <a:solidFill>
                  <a:srgbClr val="A78B5E"/>
                </a:solidFill>
                <a:latin typeface="Century Gothic"/>
                <a:cs typeface="Century Gothic"/>
              </a:rPr>
              <a:t>اتخاذ القرارات بناءً على نتائج مؤشرات الأداء الرئيسية (</a:t>
            </a:r>
            <a:r>
              <a:rPr lang="en-US" sz="1400" kern="0" dirty="0">
                <a:solidFill>
                  <a:srgbClr val="A78B5E"/>
                </a:solidFill>
                <a:latin typeface="Century Gothic"/>
                <a:cs typeface="Century Gothic"/>
              </a:rPr>
              <a:t>KPIs</a:t>
            </a:r>
            <a:r>
              <a:rPr lang="ar-SA" sz="1400" kern="0" dirty="0">
                <a:solidFill>
                  <a:srgbClr val="A78B5E"/>
                </a:solidFill>
                <a:latin typeface="Century Gothic"/>
                <a:cs typeface="Century Gothic"/>
              </a:rPr>
              <a:t>)</a:t>
            </a:r>
            <a:endParaRPr lang="en-US" sz="1400" kern="0" dirty="0">
              <a:solidFill>
                <a:srgbClr val="A78B5E"/>
              </a:solidFill>
              <a:latin typeface="Century Gothic"/>
              <a:cs typeface="Century Gothic"/>
            </a:endParaRPr>
          </a:p>
        </p:txBody>
      </p:sp>
      <p:sp>
        <p:nvSpPr>
          <p:cNvPr id="84" name="object 43">
            <a:extLst>
              <a:ext uri="{FF2B5EF4-FFF2-40B4-BE49-F238E27FC236}">
                <a16:creationId xmlns:a16="http://schemas.microsoft.com/office/drawing/2014/main" id="{C04D7F0E-4E94-88B9-6057-5C7D4B5EF44C}"/>
              </a:ext>
            </a:extLst>
          </p:cNvPr>
          <p:cNvSpPr txBox="1"/>
          <p:nvPr/>
        </p:nvSpPr>
        <p:spPr>
          <a:xfrm>
            <a:off x="4879575" y="3177121"/>
            <a:ext cx="4446270" cy="1141979"/>
          </a:xfrm>
          <a:prstGeom prst="rect">
            <a:avLst/>
          </a:prstGeom>
        </p:spPr>
        <p:txBody>
          <a:bodyPr vert="horz" wrap="square" lIns="0" tIns="13335" rIns="0" bIns="0" rtlCol="0">
            <a:spAutoFit/>
          </a:bodyPr>
          <a:lstStyle/>
          <a:p>
            <a:pPr marL="299085" indent="-286385">
              <a:spcBef>
                <a:spcPts val="105"/>
              </a:spcBef>
              <a:buClr>
                <a:srgbClr val="A36C3F"/>
              </a:buClr>
              <a:buSzPct val="78571"/>
              <a:buFont typeface="Segoe UI Symbol"/>
              <a:buChar char="⮚"/>
              <a:tabLst>
                <a:tab pos="299085" algn="l"/>
              </a:tabLst>
            </a:pPr>
            <a:r>
              <a:rPr lang="ar-SA" sz="1400" kern="0" spc="70" dirty="0">
                <a:solidFill>
                  <a:srgbClr val="A78B5E"/>
                </a:solidFill>
                <a:latin typeface="Century Gothic"/>
                <a:cs typeface="Century Gothic"/>
              </a:rPr>
              <a:t>يصمم نظام قياس الأداء؛</a:t>
            </a:r>
          </a:p>
          <a:p>
            <a:pPr marL="299085" indent="-286385">
              <a:spcBef>
                <a:spcPts val="105"/>
              </a:spcBef>
              <a:buClr>
                <a:srgbClr val="A36C3F"/>
              </a:buClr>
              <a:buSzPct val="78571"/>
              <a:buFont typeface="Segoe UI Symbol"/>
              <a:buChar char="⮚"/>
              <a:tabLst>
                <a:tab pos="299085" algn="l"/>
              </a:tabLst>
            </a:pPr>
            <a:r>
              <a:rPr lang="ar-SA" sz="1400" kern="0" dirty="0">
                <a:solidFill>
                  <a:srgbClr val="A78B5E"/>
                </a:solidFill>
                <a:latin typeface="Century Gothic"/>
                <a:cs typeface="Century Gothic"/>
              </a:rPr>
              <a:t>يشرك جميع أصحاب المصلحة ويحصل على دعمهم؛</a:t>
            </a:r>
          </a:p>
          <a:p>
            <a:pPr marL="299085" indent="-286385">
              <a:spcBef>
                <a:spcPts val="105"/>
              </a:spcBef>
              <a:buClr>
                <a:srgbClr val="A36C3F"/>
              </a:buClr>
              <a:buSzPct val="78571"/>
              <a:buFont typeface="Segoe UI Symbol"/>
              <a:buChar char="⮚"/>
              <a:tabLst>
                <a:tab pos="299085" algn="l"/>
              </a:tabLst>
            </a:pPr>
            <a:r>
              <a:rPr lang="ar-SA" sz="1400" kern="0" spc="65" dirty="0">
                <a:solidFill>
                  <a:srgbClr val="A78B5E"/>
                </a:solidFill>
                <a:latin typeface="Century Gothic"/>
                <a:cs typeface="Century Gothic"/>
              </a:rPr>
              <a:t>ينفذ النظام عبر المؤسسة بأكملها؛</a:t>
            </a:r>
          </a:p>
          <a:p>
            <a:pPr marL="299085" indent="-286385">
              <a:spcBef>
                <a:spcPts val="105"/>
              </a:spcBef>
              <a:buClr>
                <a:srgbClr val="A36C3F"/>
              </a:buClr>
              <a:buSzPct val="78571"/>
              <a:buFont typeface="Segoe UI Symbol"/>
              <a:buChar char="⮚"/>
              <a:tabLst>
                <a:tab pos="299085" algn="l"/>
              </a:tabLst>
            </a:pPr>
            <a:r>
              <a:rPr lang="ar-SA" sz="1400" kern="0" spc="95" dirty="0">
                <a:solidFill>
                  <a:srgbClr val="A78B5E"/>
                </a:solidFill>
                <a:latin typeface="Century Gothic"/>
                <a:cs typeface="Century Gothic"/>
              </a:rPr>
              <a:t>يضمن التوافق الأفقي والرأسي؛</a:t>
            </a:r>
          </a:p>
          <a:p>
            <a:pPr marL="299085" indent="-286385">
              <a:spcBef>
                <a:spcPts val="105"/>
              </a:spcBef>
              <a:buClr>
                <a:srgbClr val="A36C3F"/>
              </a:buClr>
              <a:buSzPct val="78571"/>
              <a:buFont typeface="Segoe UI Symbol"/>
              <a:buChar char="⮚"/>
              <a:tabLst>
                <a:tab pos="299085" algn="l"/>
              </a:tabLst>
            </a:pPr>
            <a:r>
              <a:rPr lang="ar-SA" sz="1400" kern="0" dirty="0">
                <a:solidFill>
                  <a:srgbClr val="A78B5E"/>
                </a:solidFill>
                <a:latin typeface="Century Gothic"/>
                <a:cs typeface="Century Gothic"/>
              </a:rPr>
              <a:t>يحافظ على نظام فعّال وذو صلة بالعمل.</a:t>
            </a:r>
            <a:endParaRPr lang="en-US" sz="1400" kern="0" dirty="0">
              <a:solidFill>
                <a:srgbClr val="A78B5E"/>
              </a:solidFill>
              <a:latin typeface="Century Gothic"/>
              <a:cs typeface="Century Gothic"/>
            </a:endParaRPr>
          </a:p>
        </p:txBody>
      </p:sp>
      <p:sp>
        <p:nvSpPr>
          <p:cNvPr id="85" name="object 44">
            <a:extLst>
              <a:ext uri="{FF2B5EF4-FFF2-40B4-BE49-F238E27FC236}">
                <a16:creationId xmlns:a16="http://schemas.microsoft.com/office/drawing/2014/main" id="{E058808E-4E31-C906-1A1D-FEC6ECEA6727}"/>
              </a:ext>
            </a:extLst>
          </p:cNvPr>
          <p:cNvSpPr txBox="1"/>
          <p:nvPr/>
        </p:nvSpPr>
        <p:spPr>
          <a:xfrm>
            <a:off x="4879575" y="4695709"/>
            <a:ext cx="3576954" cy="1141338"/>
          </a:xfrm>
          <a:prstGeom prst="rect">
            <a:avLst/>
          </a:prstGeom>
        </p:spPr>
        <p:txBody>
          <a:bodyPr vert="horz" wrap="square" lIns="0" tIns="12700" rIns="0" bIns="0" rtlCol="0">
            <a:spAutoFit/>
          </a:bodyPr>
          <a:lstStyle/>
          <a:p>
            <a:pPr marL="299085" indent="-286385">
              <a:spcBef>
                <a:spcPts val="100"/>
              </a:spcBef>
              <a:buClr>
                <a:srgbClr val="A36C3F"/>
              </a:buClr>
              <a:buSzPct val="78571"/>
              <a:buFont typeface="Segoe UI Symbol"/>
              <a:buChar char="⮚"/>
              <a:tabLst>
                <a:tab pos="299085" algn="l"/>
              </a:tabLst>
            </a:pPr>
            <a:r>
              <a:rPr lang="ar-SA" sz="1400" kern="0" spc="70" dirty="0">
                <a:solidFill>
                  <a:srgbClr val="A78B5E"/>
                </a:solidFill>
                <a:latin typeface="Century Gothic"/>
                <a:cs typeface="Century Gothic"/>
              </a:rPr>
              <a:t>يتحمل مسؤولية تحقيق الأهداف؛</a:t>
            </a:r>
          </a:p>
          <a:p>
            <a:pPr marL="299085" indent="-286385">
              <a:spcBef>
                <a:spcPts val="100"/>
              </a:spcBef>
              <a:buClr>
                <a:srgbClr val="A36C3F"/>
              </a:buClr>
              <a:buSzPct val="78571"/>
              <a:buFont typeface="Segoe UI Symbol"/>
              <a:buChar char="⮚"/>
              <a:tabLst>
                <a:tab pos="299085" algn="l"/>
              </a:tabLst>
            </a:pPr>
            <a:r>
              <a:rPr lang="ar-SA" sz="1400" kern="0" dirty="0">
                <a:solidFill>
                  <a:srgbClr val="A78B5E"/>
                </a:solidFill>
                <a:latin typeface="Century Gothic"/>
                <a:cs typeface="Century Gothic"/>
              </a:rPr>
              <a:t>يجمع البيانات؛</a:t>
            </a:r>
          </a:p>
          <a:p>
            <a:pPr marL="299085" indent="-286385">
              <a:spcBef>
                <a:spcPts val="100"/>
              </a:spcBef>
              <a:buClr>
                <a:srgbClr val="A36C3F"/>
              </a:buClr>
              <a:buSzPct val="78571"/>
              <a:buFont typeface="Segoe UI Symbol"/>
              <a:buChar char="⮚"/>
              <a:tabLst>
                <a:tab pos="299085" algn="l"/>
              </a:tabLst>
            </a:pPr>
            <a:r>
              <a:rPr lang="ar-SA" sz="1400" kern="0" spc="55" dirty="0">
                <a:solidFill>
                  <a:srgbClr val="A78B5E"/>
                </a:solidFill>
                <a:latin typeface="Century Gothic"/>
                <a:cs typeface="Century Gothic"/>
              </a:rPr>
              <a:t>يراقب البيانات ويعد التقارير؛</a:t>
            </a:r>
          </a:p>
          <a:p>
            <a:pPr marL="299085" indent="-286385">
              <a:spcBef>
                <a:spcPts val="100"/>
              </a:spcBef>
              <a:buClr>
                <a:srgbClr val="A36C3F"/>
              </a:buClr>
              <a:buSzPct val="78571"/>
              <a:buFont typeface="Segoe UI Symbol"/>
              <a:buChar char="⮚"/>
              <a:tabLst>
                <a:tab pos="299085" algn="l"/>
              </a:tabLst>
            </a:pPr>
            <a:r>
              <a:rPr lang="ar-SA" sz="1400" kern="0" dirty="0">
                <a:solidFill>
                  <a:srgbClr val="A78B5E"/>
                </a:solidFill>
                <a:latin typeface="Century Gothic"/>
                <a:cs typeface="Century Gothic"/>
              </a:rPr>
              <a:t>يتخذ الإجراءات لمعالجة النتائج الضعيفة؛</a:t>
            </a:r>
          </a:p>
          <a:p>
            <a:pPr marL="299085" indent="-286385">
              <a:spcBef>
                <a:spcPts val="100"/>
              </a:spcBef>
              <a:buClr>
                <a:srgbClr val="A36C3F"/>
              </a:buClr>
              <a:buSzPct val="78571"/>
              <a:buFont typeface="Segoe UI Symbol"/>
              <a:buChar char="⮚"/>
              <a:tabLst>
                <a:tab pos="299085" algn="l"/>
              </a:tabLst>
            </a:pPr>
            <a:r>
              <a:rPr lang="ar-SA" sz="1400" kern="0" spc="65" dirty="0">
                <a:solidFill>
                  <a:srgbClr val="A78B5E"/>
                </a:solidFill>
                <a:latin typeface="Century Gothic"/>
                <a:cs typeface="Century Gothic"/>
              </a:rPr>
              <a:t>ينفذ المشاريع.</a:t>
            </a:r>
            <a:endParaRPr sz="1400" kern="0" dirty="0">
              <a:solidFill>
                <a:srgbClr val="A78B5E"/>
              </a:solidFill>
              <a:latin typeface="Century Gothic"/>
              <a:cs typeface="Century Gothic"/>
            </a:endParaRPr>
          </a:p>
        </p:txBody>
      </p:sp>
      <p:grpSp>
        <p:nvGrpSpPr>
          <p:cNvPr id="89" name="object 31">
            <a:extLst>
              <a:ext uri="{FF2B5EF4-FFF2-40B4-BE49-F238E27FC236}">
                <a16:creationId xmlns:a16="http://schemas.microsoft.com/office/drawing/2014/main" id="{3706B28E-E1D3-7830-4C6D-EC8337102976}"/>
              </a:ext>
            </a:extLst>
          </p:cNvPr>
          <p:cNvGrpSpPr/>
          <p:nvPr/>
        </p:nvGrpSpPr>
        <p:grpSpPr>
          <a:xfrm>
            <a:off x="2432420" y="4783355"/>
            <a:ext cx="719315" cy="719315"/>
            <a:chOff x="2616707" y="4802136"/>
            <a:chExt cx="719315" cy="719315"/>
          </a:xfrm>
        </p:grpSpPr>
        <p:pic>
          <p:nvPicPr>
            <p:cNvPr id="90" name="object 32">
              <a:extLst>
                <a:ext uri="{FF2B5EF4-FFF2-40B4-BE49-F238E27FC236}">
                  <a16:creationId xmlns:a16="http://schemas.microsoft.com/office/drawing/2014/main" id="{584017F9-8386-A673-A7E9-B463B63818A1}"/>
                </a:ext>
              </a:extLst>
            </p:cNvPr>
            <p:cNvPicPr/>
            <p:nvPr/>
          </p:nvPicPr>
          <p:blipFill>
            <a:blip r:embed="rId9" cstate="print"/>
            <a:stretch>
              <a:fillRect/>
            </a:stretch>
          </p:blipFill>
          <p:spPr>
            <a:xfrm>
              <a:off x="2616707" y="4802136"/>
              <a:ext cx="719315" cy="719315"/>
            </a:xfrm>
            <a:prstGeom prst="rect">
              <a:avLst/>
            </a:prstGeom>
          </p:spPr>
        </p:pic>
        <p:pic>
          <p:nvPicPr>
            <p:cNvPr id="91" name="object 33">
              <a:extLst>
                <a:ext uri="{FF2B5EF4-FFF2-40B4-BE49-F238E27FC236}">
                  <a16:creationId xmlns:a16="http://schemas.microsoft.com/office/drawing/2014/main" id="{D8301BBE-888B-649E-D47F-C12276EC8E20}"/>
                </a:ext>
              </a:extLst>
            </p:cNvPr>
            <p:cNvPicPr/>
            <p:nvPr/>
          </p:nvPicPr>
          <p:blipFill>
            <a:blip r:embed="rId10" cstate="print">
              <a:duotone>
                <a:prstClr val="black"/>
                <a:schemeClr val="accent6">
                  <a:tint val="45000"/>
                  <a:satMod val="400000"/>
                </a:schemeClr>
              </a:duotone>
            </a:blip>
            <a:stretch>
              <a:fillRect/>
            </a:stretch>
          </p:blipFill>
          <p:spPr>
            <a:xfrm>
              <a:off x="2642615" y="4828032"/>
              <a:ext cx="646201" cy="644652"/>
            </a:xfrm>
            <a:prstGeom prst="rect">
              <a:avLst/>
            </a:prstGeom>
          </p:spPr>
        </p:pic>
        <p:sp>
          <p:nvSpPr>
            <p:cNvPr id="92" name="object 34">
              <a:extLst>
                <a:ext uri="{FF2B5EF4-FFF2-40B4-BE49-F238E27FC236}">
                  <a16:creationId xmlns:a16="http://schemas.microsoft.com/office/drawing/2014/main" id="{7C7C0FD0-7A30-135D-2ECA-7AB2F60D7BDF}"/>
                </a:ext>
              </a:extLst>
            </p:cNvPr>
            <p:cNvSpPr/>
            <p:nvPr/>
          </p:nvSpPr>
          <p:spPr>
            <a:xfrm>
              <a:off x="2691383" y="4875276"/>
              <a:ext cx="521334" cy="521334"/>
            </a:xfrm>
            <a:custGeom>
              <a:avLst/>
              <a:gdLst/>
              <a:ahLst/>
              <a:cxnLst/>
              <a:rect l="l" t="t" r="r" b="b"/>
              <a:pathLst>
                <a:path w="521335" h="521335">
                  <a:moveTo>
                    <a:pt x="260604" y="0"/>
                  </a:moveTo>
                  <a:lnTo>
                    <a:pt x="213769" y="4199"/>
                  </a:lnTo>
                  <a:lnTo>
                    <a:pt x="169685" y="16308"/>
                  </a:lnTo>
                  <a:lnTo>
                    <a:pt x="129088" y="35588"/>
                  </a:lnTo>
                  <a:lnTo>
                    <a:pt x="92715" y="61302"/>
                  </a:lnTo>
                  <a:lnTo>
                    <a:pt x="61302" y="92715"/>
                  </a:lnTo>
                  <a:lnTo>
                    <a:pt x="35588" y="129088"/>
                  </a:lnTo>
                  <a:lnTo>
                    <a:pt x="16308" y="169685"/>
                  </a:lnTo>
                  <a:lnTo>
                    <a:pt x="4199" y="213769"/>
                  </a:lnTo>
                  <a:lnTo>
                    <a:pt x="0" y="260604"/>
                  </a:lnTo>
                  <a:lnTo>
                    <a:pt x="4199" y="307438"/>
                  </a:lnTo>
                  <a:lnTo>
                    <a:pt x="16308" y="351522"/>
                  </a:lnTo>
                  <a:lnTo>
                    <a:pt x="35588" y="392119"/>
                  </a:lnTo>
                  <a:lnTo>
                    <a:pt x="61302" y="428492"/>
                  </a:lnTo>
                  <a:lnTo>
                    <a:pt x="92715" y="459905"/>
                  </a:lnTo>
                  <a:lnTo>
                    <a:pt x="129088" y="485619"/>
                  </a:lnTo>
                  <a:lnTo>
                    <a:pt x="169685" y="504899"/>
                  </a:lnTo>
                  <a:lnTo>
                    <a:pt x="213769" y="517008"/>
                  </a:lnTo>
                  <a:lnTo>
                    <a:pt x="260604" y="521208"/>
                  </a:lnTo>
                  <a:lnTo>
                    <a:pt x="307438" y="517008"/>
                  </a:lnTo>
                  <a:lnTo>
                    <a:pt x="351522" y="504899"/>
                  </a:lnTo>
                  <a:lnTo>
                    <a:pt x="392119" y="485619"/>
                  </a:lnTo>
                  <a:lnTo>
                    <a:pt x="428492" y="459905"/>
                  </a:lnTo>
                  <a:lnTo>
                    <a:pt x="459905" y="428492"/>
                  </a:lnTo>
                  <a:lnTo>
                    <a:pt x="485619" y="392119"/>
                  </a:lnTo>
                  <a:lnTo>
                    <a:pt x="504899" y="351522"/>
                  </a:lnTo>
                  <a:lnTo>
                    <a:pt x="517008" y="307438"/>
                  </a:lnTo>
                  <a:lnTo>
                    <a:pt x="521208" y="260604"/>
                  </a:lnTo>
                  <a:lnTo>
                    <a:pt x="517008" y="213769"/>
                  </a:lnTo>
                  <a:lnTo>
                    <a:pt x="504899" y="169685"/>
                  </a:lnTo>
                  <a:lnTo>
                    <a:pt x="485619" y="129088"/>
                  </a:lnTo>
                  <a:lnTo>
                    <a:pt x="459905" y="92715"/>
                  </a:lnTo>
                  <a:lnTo>
                    <a:pt x="428492" y="61302"/>
                  </a:lnTo>
                  <a:lnTo>
                    <a:pt x="392119" y="35588"/>
                  </a:lnTo>
                  <a:lnTo>
                    <a:pt x="351522" y="16308"/>
                  </a:lnTo>
                  <a:lnTo>
                    <a:pt x="307438" y="4199"/>
                  </a:lnTo>
                  <a:lnTo>
                    <a:pt x="260604" y="0"/>
                  </a:lnTo>
                  <a:close/>
                </a:path>
              </a:pathLst>
            </a:custGeom>
            <a:solidFill>
              <a:srgbClr val="FFFFFF"/>
            </a:solidFill>
          </p:spPr>
          <p:txBody>
            <a:bodyPr wrap="square" lIns="0" tIns="0" rIns="0" bIns="0" rtlCol="0"/>
            <a:lstStyle/>
            <a:p>
              <a:endParaRPr kern="0">
                <a:solidFill>
                  <a:sysClr val="windowText" lastClr="000000"/>
                </a:solidFill>
              </a:endParaRPr>
            </a:p>
          </p:txBody>
        </p:sp>
        <p:pic>
          <p:nvPicPr>
            <p:cNvPr id="93" name="object 35">
              <a:extLst>
                <a:ext uri="{FF2B5EF4-FFF2-40B4-BE49-F238E27FC236}">
                  <a16:creationId xmlns:a16="http://schemas.microsoft.com/office/drawing/2014/main" id="{E9BBB502-4ED4-6217-E8B8-52359C2AD40A}"/>
                </a:ext>
              </a:extLst>
            </p:cNvPr>
            <p:cNvPicPr/>
            <p:nvPr/>
          </p:nvPicPr>
          <p:blipFill>
            <a:blip r:embed="rId11" cstate="print">
              <a:duotone>
                <a:prstClr val="black"/>
                <a:schemeClr val="accent6">
                  <a:tint val="45000"/>
                  <a:satMod val="400000"/>
                </a:schemeClr>
              </a:duotone>
            </a:blip>
            <a:stretch>
              <a:fillRect/>
            </a:stretch>
          </p:blipFill>
          <p:spPr>
            <a:xfrm>
              <a:off x="2796310" y="5051077"/>
              <a:ext cx="300177" cy="300177"/>
            </a:xfrm>
            <a:prstGeom prst="rect">
              <a:avLst/>
            </a:prstGeom>
          </p:spPr>
        </p:pic>
        <p:sp>
          <p:nvSpPr>
            <p:cNvPr id="94" name="object 36">
              <a:extLst>
                <a:ext uri="{FF2B5EF4-FFF2-40B4-BE49-F238E27FC236}">
                  <a16:creationId xmlns:a16="http://schemas.microsoft.com/office/drawing/2014/main" id="{71861557-6F16-4E51-994C-4829E0FE9048}"/>
                </a:ext>
              </a:extLst>
            </p:cNvPr>
            <p:cNvSpPr/>
            <p:nvPr/>
          </p:nvSpPr>
          <p:spPr>
            <a:xfrm>
              <a:off x="2802635" y="5079492"/>
              <a:ext cx="198755" cy="198120"/>
            </a:xfrm>
            <a:custGeom>
              <a:avLst/>
              <a:gdLst/>
              <a:ahLst/>
              <a:cxnLst/>
              <a:rect l="l" t="t" r="r" b="b"/>
              <a:pathLst>
                <a:path w="198755" h="198120">
                  <a:moveTo>
                    <a:pt x="81661" y="170179"/>
                  </a:moveTo>
                  <a:lnTo>
                    <a:pt x="63245" y="170179"/>
                  </a:lnTo>
                  <a:lnTo>
                    <a:pt x="70612" y="173989"/>
                  </a:lnTo>
                  <a:lnTo>
                    <a:pt x="73025" y="173989"/>
                  </a:lnTo>
                  <a:lnTo>
                    <a:pt x="74549" y="176529"/>
                  </a:lnTo>
                  <a:lnTo>
                    <a:pt x="74040" y="181609"/>
                  </a:lnTo>
                  <a:lnTo>
                    <a:pt x="74040" y="184149"/>
                  </a:lnTo>
                  <a:lnTo>
                    <a:pt x="74294" y="186689"/>
                  </a:lnTo>
                  <a:lnTo>
                    <a:pt x="75945" y="193039"/>
                  </a:lnTo>
                  <a:lnTo>
                    <a:pt x="80390" y="196849"/>
                  </a:lnTo>
                  <a:lnTo>
                    <a:pt x="85978" y="198119"/>
                  </a:lnTo>
                  <a:lnTo>
                    <a:pt x="111759" y="198119"/>
                  </a:lnTo>
                  <a:lnTo>
                    <a:pt x="121157" y="194309"/>
                  </a:lnTo>
                  <a:lnTo>
                    <a:pt x="124104" y="189229"/>
                  </a:lnTo>
                  <a:lnTo>
                    <a:pt x="85978" y="189229"/>
                  </a:lnTo>
                  <a:lnTo>
                    <a:pt x="84327" y="186689"/>
                  </a:lnTo>
                  <a:lnTo>
                    <a:pt x="84327" y="182879"/>
                  </a:lnTo>
                  <a:lnTo>
                    <a:pt x="83946" y="180339"/>
                  </a:lnTo>
                  <a:lnTo>
                    <a:pt x="83693" y="179069"/>
                  </a:lnTo>
                  <a:lnTo>
                    <a:pt x="83693" y="175259"/>
                  </a:lnTo>
                  <a:lnTo>
                    <a:pt x="83312" y="173989"/>
                  </a:lnTo>
                  <a:lnTo>
                    <a:pt x="82676" y="172719"/>
                  </a:lnTo>
                  <a:lnTo>
                    <a:pt x="81661" y="170179"/>
                  </a:lnTo>
                  <a:close/>
                </a:path>
                <a:path w="198755" h="198120">
                  <a:moveTo>
                    <a:pt x="135874" y="161289"/>
                  </a:moveTo>
                  <a:lnTo>
                    <a:pt x="129581" y="162559"/>
                  </a:lnTo>
                  <a:lnTo>
                    <a:pt x="122300" y="165099"/>
                  </a:lnTo>
                  <a:lnTo>
                    <a:pt x="117093" y="167639"/>
                  </a:lnTo>
                  <a:lnTo>
                    <a:pt x="113664" y="172719"/>
                  </a:lnTo>
                  <a:lnTo>
                    <a:pt x="113791" y="175259"/>
                  </a:lnTo>
                  <a:lnTo>
                    <a:pt x="113855" y="176529"/>
                  </a:lnTo>
                  <a:lnTo>
                    <a:pt x="113918" y="177799"/>
                  </a:lnTo>
                  <a:lnTo>
                    <a:pt x="113664" y="179069"/>
                  </a:lnTo>
                  <a:lnTo>
                    <a:pt x="113664" y="180339"/>
                  </a:lnTo>
                  <a:lnTo>
                    <a:pt x="113918" y="181609"/>
                  </a:lnTo>
                  <a:lnTo>
                    <a:pt x="113918" y="186689"/>
                  </a:lnTo>
                  <a:lnTo>
                    <a:pt x="111759" y="189229"/>
                  </a:lnTo>
                  <a:lnTo>
                    <a:pt x="124104" y="189229"/>
                  </a:lnTo>
                  <a:lnTo>
                    <a:pt x="124840" y="187959"/>
                  </a:lnTo>
                  <a:lnTo>
                    <a:pt x="123951" y="180339"/>
                  </a:lnTo>
                  <a:lnTo>
                    <a:pt x="123951" y="175259"/>
                  </a:lnTo>
                  <a:lnTo>
                    <a:pt x="122808" y="175259"/>
                  </a:lnTo>
                  <a:lnTo>
                    <a:pt x="134493" y="170179"/>
                  </a:lnTo>
                  <a:lnTo>
                    <a:pt x="148293" y="170179"/>
                  </a:lnTo>
                  <a:lnTo>
                    <a:pt x="147065" y="168909"/>
                  </a:lnTo>
                  <a:lnTo>
                    <a:pt x="141571" y="163829"/>
                  </a:lnTo>
                  <a:lnTo>
                    <a:pt x="135874" y="161289"/>
                  </a:lnTo>
                  <a:close/>
                </a:path>
                <a:path w="198755" h="198120">
                  <a:moveTo>
                    <a:pt x="148293" y="170179"/>
                  </a:moveTo>
                  <a:lnTo>
                    <a:pt x="134493" y="170179"/>
                  </a:lnTo>
                  <a:lnTo>
                    <a:pt x="139191" y="175259"/>
                  </a:lnTo>
                  <a:lnTo>
                    <a:pt x="142366" y="177799"/>
                  </a:lnTo>
                  <a:lnTo>
                    <a:pt x="147574" y="182879"/>
                  </a:lnTo>
                  <a:lnTo>
                    <a:pt x="155575" y="182879"/>
                  </a:lnTo>
                  <a:lnTo>
                    <a:pt x="160781" y="177799"/>
                  </a:lnTo>
                  <a:lnTo>
                    <a:pt x="162115" y="176529"/>
                  </a:lnTo>
                  <a:lnTo>
                    <a:pt x="154431" y="176529"/>
                  </a:lnTo>
                  <a:lnTo>
                    <a:pt x="148293" y="170179"/>
                  </a:lnTo>
                  <a:close/>
                </a:path>
                <a:path w="198755" h="198120">
                  <a:moveTo>
                    <a:pt x="50672" y="16509"/>
                  </a:moveTo>
                  <a:lnTo>
                    <a:pt x="42418" y="16509"/>
                  </a:lnTo>
                  <a:lnTo>
                    <a:pt x="36956" y="21589"/>
                  </a:lnTo>
                  <a:lnTo>
                    <a:pt x="21081" y="38099"/>
                  </a:lnTo>
                  <a:lnTo>
                    <a:pt x="18287" y="40639"/>
                  </a:lnTo>
                  <a:lnTo>
                    <a:pt x="17018" y="45719"/>
                  </a:lnTo>
                  <a:lnTo>
                    <a:pt x="18795" y="53339"/>
                  </a:lnTo>
                  <a:lnTo>
                    <a:pt x="21208" y="58419"/>
                  </a:lnTo>
                  <a:lnTo>
                    <a:pt x="24764" y="60959"/>
                  </a:lnTo>
                  <a:lnTo>
                    <a:pt x="26415" y="62229"/>
                  </a:lnTo>
                  <a:lnTo>
                    <a:pt x="27431" y="63499"/>
                  </a:lnTo>
                  <a:lnTo>
                    <a:pt x="27431" y="66039"/>
                  </a:lnTo>
                  <a:lnTo>
                    <a:pt x="26796" y="71119"/>
                  </a:lnTo>
                  <a:lnTo>
                    <a:pt x="22097" y="74929"/>
                  </a:lnTo>
                  <a:lnTo>
                    <a:pt x="9016" y="74929"/>
                  </a:lnTo>
                  <a:lnTo>
                    <a:pt x="2793" y="78739"/>
                  </a:lnTo>
                  <a:lnTo>
                    <a:pt x="507" y="85089"/>
                  </a:lnTo>
                  <a:lnTo>
                    <a:pt x="253" y="86359"/>
                  </a:lnTo>
                  <a:lnTo>
                    <a:pt x="0" y="86359"/>
                  </a:lnTo>
                  <a:lnTo>
                    <a:pt x="0" y="113029"/>
                  </a:lnTo>
                  <a:lnTo>
                    <a:pt x="1143" y="118109"/>
                  </a:lnTo>
                  <a:lnTo>
                    <a:pt x="5714" y="123189"/>
                  </a:lnTo>
                  <a:lnTo>
                    <a:pt x="11556" y="124459"/>
                  </a:lnTo>
                  <a:lnTo>
                    <a:pt x="21843" y="124459"/>
                  </a:lnTo>
                  <a:lnTo>
                    <a:pt x="24511" y="125729"/>
                  </a:lnTo>
                  <a:lnTo>
                    <a:pt x="25526" y="129539"/>
                  </a:lnTo>
                  <a:lnTo>
                    <a:pt x="25907" y="130809"/>
                  </a:lnTo>
                  <a:lnTo>
                    <a:pt x="26415" y="130809"/>
                  </a:lnTo>
                  <a:lnTo>
                    <a:pt x="27431" y="133349"/>
                  </a:lnTo>
                  <a:lnTo>
                    <a:pt x="26796" y="135889"/>
                  </a:lnTo>
                  <a:lnTo>
                    <a:pt x="24764" y="138429"/>
                  </a:lnTo>
                  <a:lnTo>
                    <a:pt x="21589" y="140969"/>
                  </a:lnTo>
                  <a:lnTo>
                    <a:pt x="19176" y="144779"/>
                  </a:lnTo>
                  <a:lnTo>
                    <a:pt x="17906" y="148589"/>
                  </a:lnTo>
                  <a:lnTo>
                    <a:pt x="16763" y="153669"/>
                  </a:lnTo>
                  <a:lnTo>
                    <a:pt x="18414" y="158749"/>
                  </a:lnTo>
                  <a:lnTo>
                    <a:pt x="22097" y="162559"/>
                  </a:lnTo>
                  <a:lnTo>
                    <a:pt x="26415" y="167639"/>
                  </a:lnTo>
                  <a:lnTo>
                    <a:pt x="31114" y="171449"/>
                  </a:lnTo>
                  <a:lnTo>
                    <a:pt x="35813" y="176529"/>
                  </a:lnTo>
                  <a:lnTo>
                    <a:pt x="41909" y="181609"/>
                  </a:lnTo>
                  <a:lnTo>
                    <a:pt x="51688" y="181609"/>
                  </a:lnTo>
                  <a:lnTo>
                    <a:pt x="57531" y="175259"/>
                  </a:lnTo>
                  <a:lnTo>
                    <a:pt x="58038" y="175259"/>
                  </a:lnTo>
                  <a:lnTo>
                    <a:pt x="61944" y="171449"/>
                  </a:lnTo>
                  <a:lnTo>
                    <a:pt x="45084" y="171449"/>
                  </a:lnTo>
                  <a:lnTo>
                    <a:pt x="43180" y="168909"/>
                  </a:lnTo>
                  <a:lnTo>
                    <a:pt x="28956" y="154939"/>
                  </a:lnTo>
                  <a:lnTo>
                    <a:pt x="27050" y="153669"/>
                  </a:lnTo>
                  <a:lnTo>
                    <a:pt x="27050" y="149859"/>
                  </a:lnTo>
                  <a:lnTo>
                    <a:pt x="28956" y="148589"/>
                  </a:lnTo>
                  <a:lnTo>
                    <a:pt x="33274" y="144779"/>
                  </a:lnTo>
                  <a:lnTo>
                    <a:pt x="37464" y="140969"/>
                  </a:lnTo>
                  <a:lnTo>
                    <a:pt x="38481" y="133349"/>
                  </a:lnTo>
                  <a:lnTo>
                    <a:pt x="35813" y="128269"/>
                  </a:lnTo>
                  <a:lnTo>
                    <a:pt x="34670" y="124459"/>
                  </a:lnTo>
                  <a:lnTo>
                    <a:pt x="33781" y="123189"/>
                  </a:lnTo>
                  <a:lnTo>
                    <a:pt x="31495" y="118109"/>
                  </a:lnTo>
                  <a:lnTo>
                    <a:pt x="26288" y="114299"/>
                  </a:lnTo>
                  <a:lnTo>
                    <a:pt x="11811" y="114299"/>
                  </a:lnTo>
                  <a:lnTo>
                    <a:pt x="9651" y="111759"/>
                  </a:lnTo>
                  <a:lnTo>
                    <a:pt x="10032" y="109219"/>
                  </a:lnTo>
                  <a:lnTo>
                    <a:pt x="10032" y="90169"/>
                  </a:lnTo>
                  <a:lnTo>
                    <a:pt x="10287" y="86359"/>
                  </a:lnTo>
                  <a:lnTo>
                    <a:pt x="12953" y="85089"/>
                  </a:lnTo>
                  <a:lnTo>
                    <a:pt x="26162" y="85089"/>
                  </a:lnTo>
                  <a:lnTo>
                    <a:pt x="31241" y="81279"/>
                  </a:lnTo>
                  <a:lnTo>
                    <a:pt x="33781" y="76199"/>
                  </a:lnTo>
                  <a:lnTo>
                    <a:pt x="35813" y="71119"/>
                  </a:lnTo>
                  <a:lnTo>
                    <a:pt x="38481" y="66039"/>
                  </a:lnTo>
                  <a:lnTo>
                    <a:pt x="36321" y="60959"/>
                  </a:lnTo>
                  <a:lnTo>
                    <a:pt x="35306" y="57149"/>
                  </a:lnTo>
                  <a:lnTo>
                    <a:pt x="33400" y="54609"/>
                  </a:lnTo>
                  <a:lnTo>
                    <a:pt x="31114" y="52069"/>
                  </a:lnTo>
                  <a:lnTo>
                    <a:pt x="26415" y="48259"/>
                  </a:lnTo>
                  <a:lnTo>
                    <a:pt x="26415" y="45719"/>
                  </a:lnTo>
                  <a:lnTo>
                    <a:pt x="31114" y="41909"/>
                  </a:lnTo>
                  <a:lnTo>
                    <a:pt x="41656" y="31749"/>
                  </a:lnTo>
                  <a:lnTo>
                    <a:pt x="45338" y="27939"/>
                  </a:lnTo>
                  <a:lnTo>
                    <a:pt x="62737" y="27939"/>
                  </a:lnTo>
                  <a:lnTo>
                    <a:pt x="61721" y="26669"/>
                  </a:lnTo>
                  <a:lnTo>
                    <a:pt x="60832" y="26669"/>
                  </a:lnTo>
                  <a:lnTo>
                    <a:pt x="60070" y="25399"/>
                  </a:lnTo>
                  <a:lnTo>
                    <a:pt x="55880" y="21589"/>
                  </a:lnTo>
                  <a:lnTo>
                    <a:pt x="50672" y="16509"/>
                  </a:lnTo>
                  <a:close/>
                </a:path>
                <a:path w="198755" h="198120">
                  <a:moveTo>
                    <a:pt x="197557" y="83819"/>
                  </a:moveTo>
                  <a:lnTo>
                    <a:pt x="187706" y="83819"/>
                  </a:lnTo>
                  <a:lnTo>
                    <a:pt x="188213" y="86359"/>
                  </a:lnTo>
                  <a:lnTo>
                    <a:pt x="187706" y="93979"/>
                  </a:lnTo>
                  <a:lnTo>
                    <a:pt x="187706" y="113029"/>
                  </a:lnTo>
                  <a:lnTo>
                    <a:pt x="186181" y="115569"/>
                  </a:lnTo>
                  <a:lnTo>
                    <a:pt x="172974" y="115569"/>
                  </a:lnTo>
                  <a:lnTo>
                    <a:pt x="166526" y="119379"/>
                  </a:lnTo>
                  <a:lnTo>
                    <a:pt x="161877" y="126999"/>
                  </a:lnTo>
                  <a:lnTo>
                    <a:pt x="160776" y="137159"/>
                  </a:lnTo>
                  <a:lnTo>
                    <a:pt x="164972" y="144779"/>
                  </a:lnTo>
                  <a:lnTo>
                    <a:pt x="165607" y="144779"/>
                  </a:lnTo>
                  <a:lnTo>
                    <a:pt x="165607" y="146049"/>
                  </a:lnTo>
                  <a:lnTo>
                    <a:pt x="171831" y="152399"/>
                  </a:lnTo>
                  <a:lnTo>
                    <a:pt x="168782" y="154939"/>
                  </a:lnTo>
                  <a:lnTo>
                    <a:pt x="162432" y="162559"/>
                  </a:lnTo>
                  <a:lnTo>
                    <a:pt x="158750" y="165099"/>
                  </a:lnTo>
                  <a:lnTo>
                    <a:pt x="152400" y="171449"/>
                  </a:lnTo>
                  <a:lnTo>
                    <a:pt x="154431" y="176529"/>
                  </a:lnTo>
                  <a:lnTo>
                    <a:pt x="162115" y="176529"/>
                  </a:lnTo>
                  <a:lnTo>
                    <a:pt x="166115" y="172719"/>
                  </a:lnTo>
                  <a:lnTo>
                    <a:pt x="171831" y="167639"/>
                  </a:lnTo>
                  <a:lnTo>
                    <a:pt x="176656" y="161289"/>
                  </a:lnTo>
                  <a:lnTo>
                    <a:pt x="181482" y="156209"/>
                  </a:lnTo>
                  <a:lnTo>
                    <a:pt x="181482" y="147319"/>
                  </a:lnTo>
                  <a:lnTo>
                    <a:pt x="176656" y="142239"/>
                  </a:lnTo>
                  <a:lnTo>
                    <a:pt x="175132" y="140969"/>
                  </a:lnTo>
                  <a:lnTo>
                    <a:pt x="173736" y="139699"/>
                  </a:lnTo>
                  <a:lnTo>
                    <a:pt x="172465" y="138429"/>
                  </a:lnTo>
                  <a:lnTo>
                    <a:pt x="170814" y="137159"/>
                  </a:lnTo>
                  <a:lnTo>
                    <a:pt x="170180" y="134619"/>
                  </a:lnTo>
                  <a:lnTo>
                    <a:pt x="170814" y="132079"/>
                  </a:lnTo>
                  <a:lnTo>
                    <a:pt x="173989" y="125729"/>
                  </a:lnTo>
                  <a:lnTo>
                    <a:pt x="173481" y="123189"/>
                  </a:lnTo>
                  <a:lnTo>
                    <a:pt x="192455" y="123189"/>
                  </a:lnTo>
                  <a:lnTo>
                    <a:pt x="197231" y="118109"/>
                  </a:lnTo>
                  <a:lnTo>
                    <a:pt x="198246" y="104139"/>
                  </a:lnTo>
                  <a:lnTo>
                    <a:pt x="198246" y="96519"/>
                  </a:lnTo>
                  <a:lnTo>
                    <a:pt x="197738" y="90169"/>
                  </a:lnTo>
                  <a:lnTo>
                    <a:pt x="197630" y="86359"/>
                  </a:lnTo>
                  <a:lnTo>
                    <a:pt x="197557" y="83819"/>
                  </a:lnTo>
                  <a:close/>
                </a:path>
                <a:path w="198755" h="198120">
                  <a:moveTo>
                    <a:pt x="67817" y="161289"/>
                  </a:moveTo>
                  <a:lnTo>
                    <a:pt x="60531" y="162559"/>
                  </a:lnTo>
                  <a:lnTo>
                    <a:pt x="53720" y="165099"/>
                  </a:lnTo>
                  <a:lnTo>
                    <a:pt x="49911" y="168909"/>
                  </a:lnTo>
                  <a:lnTo>
                    <a:pt x="48006" y="171449"/>
                  </a:lnTo>
                  <a:lnTo>
                    <a:pt x="61944" y="171449"/>
                  </a:lnTo>
                  <a:lnTo>
                    <a:pt x="63245" y="170179"/>
                  </a:lnTo>
                  <a:lnTo>
                    <a:pt x="81661" y="170179"/>
                  </a:lnTo>
                  <a:lnTo>
                    <a:pt x="80390" y="168909"/>
                  </a:lnTo>
                  <a:lnTo>
                    <a:pt x="74723" y="163829"/>
                  </a:lnTo>
                  <a:lnTo>
                    <a:pt x="67817" y="161289"/>
                  </a:lnTo>
                  <a:close/>
                </a:path>
                <a:path w="198755" h="198120">
                  <a:moveTo>
                    <a:pt x="192455" y="123189"/>
                  </a:moveTo>
                  <a:lnTo>
                    <a:pt x="173481" y="123189"/>
                  </a:lnTo>
                  <a:lnTo>
                    <a:pt x="181863" y="124459"/>
                  </a:lnTo>
                  <a:lnTo>
                    <a:pt x="191262" y="124459"/>
                  </a:lnTo>
                  <a:lnTo>
                    <a:pt x="192455" y="123189"/>
                  </a:lnTo>
                  <a:close/>
                </a:path>
                <a:path w="198755" h="198120">
                  <a:moveTo>
                    <a:pt x="148844" y="16509"/>
                  </a:moveTo>
                  <a:lnTo>
                    <a:pt x="143382" y="20319"/>
                  </a:lnTo>
                  <a:lnTo>
                    <a:pt x="137668" y="25399"/>
                  </a:lnTo>
                  <a:lnTo>
                    <a:pt x="136270" y="27939"/>
                  </a:lnTo>
                  <a:lnTo>
                    <a:pt x="152400" y="27939"/>
                  </a:lnTo>
                  <a:lnTo>
                    <a:pt x="156590" y="31749"/>
                  </a:lnTo>
                  <a:lnTo>
                    <a:pt x="167639" y="41909"/>
                  </a:lnTo>
                  <a:lnTo>
                    <a:pt x="171322" y="45719"/>
                  </a:lnTo>
                  <a:lnTo>
                    <a:pt x="170814" y="48259"/>
                  </a:lnTo>
                  <a:lnTo>
                    <a:pt x="167131" y="52069"/>
                  </a:lnTo>
                  <a:lnTo>
                    <a:pt x="163956" y="55879"/>
                  </a:lnTo>
                  <a:lnTo>
                    <a:pt x="160908" y="59689"/>
                  </a:lnTo>
                  <a:lnTo>
                    <a:pt x="159638" y="63499"/>
                  </a:lnTo>
                  <a:lnTo>
                    <a:pt x="160781" y="68579"/>
                  </a:lnTo>
                  <a:lnTo>
                    <a:pt x="161670" y="71119"/>
                  </a:lnTo>
                  <a:lnTo>
                    <a:pt x="163068" y="74929"/>
                  </a:lnTo>
                  <a:lnTo>
                    <a:pt x="164972" y="77469"/>
                  </a:lnTo>
                  <a:lnTo>
                    <a:pt x="167512" y="82549"/>
                  </a:lnTo>
                  <a:lnTo>
                    <a:pt x="172719" y="85089"/>
                  </a:lnTo>
                  <a:lnTo>
                    <a:pt x="178181" y="85089"/>
                  </a:lnTo>
                  <a:lnTo>
                    <a:pt x="187706" y="83819"/>
                  </a:lnTo>
                  <a:lnTo>
                    <a:pt x="197557" y="83819"/>
                  </a:lnTo>
                  <a:lnTo>
                    <a:pt x="197484" y="81279"/>
                  </a:lnTo>
                  <a:lnTo>
                    <a:pt x="190372" y="74929"/>
                  </a:lnTo>
                  <a:lnTo>
                    <a:pt x="175640" y="74929"/>
                  </a:lnTo>
                  <a:lnTo>
                    <a:pt x="174370" y="73659"/>
                  </a:lnTo>
                  <a:lnTo>
                    <a:pt x="173481" y="72389"/>
                  </a:lnTo>
                  <a:lnTo>
                    <a:pt x="172338" y="71119"/>
                  </a:lnTo>
                  <a:lnTo>
                    <a:pt x="171450" y="68579"/>
                  </a:lnTo>
                  <a:lnTo>
                    <a:pt x="170306" y="64769"/>
                  </a:lnTo>
                  <a:lnTo>
                    <a:pt x="170941" y="62229"/>
                  </a:lnTo>
                  <a:lnTo>
                    <a:pt x="172465" y="62229"/>
                  </a:lnTo>
                  <a:lnTo>
                    <a:pt x="181482" y="50799"/>
                  </a:lnTo>
                  <a:lnTo>
                    <a:pt x="181482" y="43179"/>
                  </a:lnTo>
                  <a:lnTo>
                    <a:pt x="176656" y="38099"/>
                  </a:lnTo>
                  <a:lnTo>
                    <a:pt x="171576" y="31749"/>
                  </a:lnTo>
                  <a:lnTo>
                    <a:pt x="166369" y="26669"/>
                  </a:lnTo>
                  <a:lnTo>
                    <a:pt x="160781" y="21589"/>
                  </a:lnTo>
                  <a:lnTo>
                    <a:pt x="156082" y="17779"/>
                  </a:lnTo>
                  <a:lnTo>
                    <a:pt x="148844" y="16509"/>
                  </a:lnTo>
                  <a:close/>
                </a:path>
                <a:path w="198755" h="198120">
                  <a:moveTo>
                    <a:pt x="116966" y="1269"/>
                  </a:moveTo>
                  <a:lnTo>
                    <a:pt x="81533" y="1269"/>
                  </a:lnTo>
                  <a:lnTo>
                    <a:pt x="76453" y="6349"/>
                  </a:lnTo>
                  <a:lnTo>
                    <a:pt x="74168" y="13969"/>
                  </a:lnTo>
                  <a:lnTo>
                    <a:pt x="74104" y="15239"/>
                  </a:lnTo>
                  <a:lnTo>
                    <a:pt x="74040" y="16509"/>
                  </a:lnTo>
                  <a:lnTo>
                    <a:pt x="74168" y="17779"/>
                  </a:lnTo>
                  <a:lnTo>
                    <a:pt x="74294" y="19049"/>
                  </a:lnTo>
                  <a:lnTo>
                    <a:pt x="73278" y="25399"/>
                  </a:lnTo>
                  <a:lnTo>
                    <a:pt x="68071" y="27939"/>
                  </a:lnTo>
                  <a:lnTo>
                    <a:pt x="47497" y="27939"/>
                  </a:lnTo>
                  <a:lnTo>
                    <a:pt x="51688" y="31749"/>
                  </a:lnTo>
                  <a:lnTo>
                    <a:pt x="54356" y="34289"/>
                  </a:lnTo>
                  <a:lnTo>
                    <a:pt x="57784" y="38099"/>
                  </a:lnTo>
                  <a:lnTo>
                    <a:pt x="62864" y="39369"/>
                  </a:lnTo>
                  <a:lnTo>
                    <a:pt x="84074" y="26669"/>
                  </a:lnTo>
                  <a:lnTo>
                    <a:pt x="83947" y="24129"/>
                  </a:lnTo>
                  <a:lnTo>
                    <a:pt x="83883" y="22859"/>
                  </a:lnTo>
                  <a:lnTo>
                    <a:pt x="83819" y="21589"/>
                  </a:lnTo>
                  <a:lnTo>
                    <a:pt x="84327" y="20319"/>
                  </a:lnTo>
                  <a:lnTo>
                    <a:pt x="84327" y="12699"/>
                  </a:lnTo>
                  <a:lnTo>
                    <a:pt x="85978" y="11429"/>
                  </a:lnTo>
                  <a:lnTo>
                    <a:pt x="123788" y="11429"/>
                  </a:lnTo>
                  <a:lnTo>
                    <a:pt x="123570" y="6349"/>
                  </a:lnTo>
                  <a:lnTo>
                    <a:pt x="116966" y="1269"/>
                  </a:lnTo>
                  <a:close/>
                </a:path>
                <a:path w="198755" h="198120">
                  <a:moveTo>
                    <a:pt x="123788" y="11429"/>
                  </a:moveTo>
                  <a:lnTo>
                    <a:pt x="111759" y="11429"/>
                  </a:lnTo>
                  <a:lnTo>
                    <a:pt x="113411" y="12699"/>
                  </a:lnTo>
                  <a:lnTo>
                    <a:pt x="113918" y="16509"/>
                  </a:lnTo>
                  <a:lnTo>
                    <a:pt x="113791" y="17779"/>
                  </a:lnTo>
                  <a:lnTo>
                    <a:pt x="113791" y="21589"/>
                  </a:lnTo>
                  <a:lnTo>
                    <a:pt x="113918" y="22859"/>
                  </a:lnTo>
                  <a:lnTo>
                    <a:pt x="114045" y="25399"/>
                  </a:lnTo>
                  <a:lnTo>
                    <a:pt x="114172" y="27939"/>
                  </a:lnTo>
                  <a:lnTo>
                    <a:pt x="117728" y="33019"/>
                  </a:lnTo>
                  <a:lnTo>
                    <a:pt x="122808" y="34289"/>
                  </a:lnTo>
                  <a:lnTo>
                    <a:pt x="127126" y="38099"/>
                  </a:lnTo>
                  <a:lnTo>
                    <a:pt x="137032" y="38099"/>
                  </a:lnTo>
                  <a:lnTo>
                    <a:pt x="140588" y="36829"/>
                  </a:lnTo>
                  <a:lnTo>
                    <a:pt x="143637" y="34289"/>
                  </a:lnTo>
                  <a:lnTo>
                    <a:pt x="146050" y="31749"/>
                  </a:lnTo>
                  <a:lnTo>
                    <a:pt x="150240" y="27939"/>
                  </a:lnTo>
                  <a:lnTo>
                    <a:pt x="131318" y="27939"/>
                  </a:lnTo>
                  <a:lnTo>
                    <a:pt x="126407" y="25399"/>
                  </a:lnTo>
                  <a:lnTo>
                    <a:pt x="123316" y="25399"/>
                  </a:lnTo>
                  <a:lnTo>
                    <a:pt x="123422" y="24129"/>
                  </a:lnTo>
                  <a:lnTo>
                    <a:pt x="123528" y="22859"/>
                  </a:lnTo>
                  <a:lnTo>
                    <a:pt x="123634" y="21589"/>
                  </a:lnTo>
                  <a:lnTo>
                    <a:pt x="123740" y="20319"/>
                  </a:lnTo>
                  <a:lnTo>
                    <a:pt x="123788" y="11429"/>
                  </a:lnTo>
                  <a:close/>
                </a:path>
                <a:path w="198755" h="198120">
                  <a:moveTo>
                    <a:pt x="123951" y="24129"/>
                  </a:moveTo>
                  <a:lnTo>
                    <a:pt x="123316" y="25399"/>
                  </a:lnTo>
                  <a:lnTo>
                    <a:pt x="126407" y="25399"/>
                  </a:lnTo>
                  <a:lnTo>
                    <a:pt x="123951" y="24129"/>
                  </a:lnTo>
                  <a:close/>
                </a:path>
                <a:path w="198755" h="198120">
                  <a:moveTo>
                    <a:pt x="101981" y="0"/>
                  </a:moveTo>
                  <a:lnTo>
                    <a:pt x="94741" y="0"/>
                  </a:lnTo>
                  <a:lnTo>
                    <a:pt x="87502" y="1269"/>
                  </a:lnTo>
                  <a:lnTo>
                    <a:pt x="109093" y="1269"/>
                  </a:lnTo>
                  <a:lnTo>
                    <a:pt x="101981" y="0"/>
                  </a:lnTo>
                  <a:close/>
                </a:path>
              </a:pathLst>
            </a:custGeom>
            <a:solidFill>
              <a:srgbClr val="A78B5E">
                <a:alpha val="47058"/>
              </a:srgbClr>
            </a:solidFill>
          </p:spPr>
          <p:txBody>
            <a:bodyPr wrap="square" lIns="0" tIns="0" rIns="0" bIns="0" rtlCol="0"/>
            <a:lstStyle/>
            <a:p>
              <a:endParaRPr kern="0">
                <a:solidFill>
                  <a:sysClr val="windowText" lastClr="000000"/>
                </a:solidFill>
              </a:endParaRPr>
            </a:p>
          </p:txBody>
        </p:sp>
        <p:pic>
          <p:nvPicPr>
            <p:cNvPr id="95" name="object 37">
              <a:extLst>
                <a:ext uri="{FF2B5EF4-FFF2-40B4-BE49-F238E27FC236}">
                  <a16:creationId xmlns:a16="http://schemas.microsoft.com/office/drawing/2014/main" id="{0BD33B90-3482-7A20-F606-6C8C8F1476EA}"/>
                </a:ext>
              </a:extLst>
            </p:cNvPr>
            <p:cNvPicPr/>
            <p:nvPr/>
          </p:nvPicPr>
          <p:blipFill>
            <a:blip r:embed="rId12" cstate="print"/>
            <a:stretch>
              <a:fillRect/>
            </a:stretch>
          </p:blipFill>
          <p:spPr>
            <a:xfrm>
              <a:off x="2831591" y="4956073"/>
              <a:ext cx="344398" cy="344398"/>
            </a:xfrm>
            <a:prstGeom prst="rect">
              <a:avLst/>
            </a:prstGeom>
          </p:spPr>
        </p:pic>
        <p:pic>
          <p:nvPicPr>
            <p:cNvPr id="96" name="object 38">
              <a:extLst>
                <a:ext uri="{FF2B5EF4-FFF2-40B4-BE49-F238E27FC236}">
                  <a16:creationId xmlns:a16="http://schemas.microsoft.com/office/drawing/2014/main" id="{DAF5F79A-4442-43BE-68AE-76B53454DE21}"/>
                </a:ext>
              </a:extLst>
            </p:cNvPr>
            <p:cNvPicPr/>
            <p:nvPr/>
          </p:nvPicPr>
          <p:blipFill>
            <a:blip r:embed="rId13" cstate="print">
              <a:duotone>
                <a:prstClr val="black"/>
                <a:schemeClr val="accent6">
                  <a:tint val="45000"/>
                  <a:satMod val="400000"/>
                </a:schemeClr>
              </a:duotone>
            </a:blip>
            <a:stretch>
              <a:fillRect/>
            </a:stretch>
          </p:blipFill>
          <p:spPr>
            <a:xfrm>
              <a:off x="2855721" y="4981702"/>
              <a:ext cx="251739" cy="256286"/>
            </a:xfrm>
            <a:prstGeom prst="rect">
              <a:avLst/>
            </a:prstGeom>
          </p:spPr>
        </p:pic>
        <p:sp>
          <p:nvSpPr>
            <p:cNvPr id="97" name="object 39">
              <a:extLst>
                <a:ext uri="{FF2B5EF4-FFF2-40B4-BE49-F238E27FC236}">
                  <a16:creationId xmlns:a16="http://schemas.microsoft.com/office/drawing/2014/main" id="{F3ECBE48-B049-61FB-4794-E4BF73CC2B70}"/>
                </a:ext>
              </a:extLst>
            </p:cNvPr>
            <p:cNvSpPr/>
            <p:nvPr/>
          </p:nvSpPr>
          <p:spPr>
            <a:xfrm>
              <a:off x="2919094" y="5050583"/>
              <a:ext cx="112395" cy="112395"/>
            </a:xfrm>
            <a:custGeom>
              <a:avLst/>
              <a:gdLst/>
              <a:ahLst/>
              <a:cxnLst/>
              <a:rect l="l" t="t" r="r" b="b"/>
              <a:pathLst>
                <a:path w="112394" h="112395">
                  <a:moveTo>
                    <a:pt x="45751" y="0"/>
                  </a:moveTo>
                  <a:lnTo>
                    <a:pt x="23792" y="4530"/>
                  </a:lnTo>
                  <a:lnTo>
                    <a:pt x="4191" y="16716"/>
                  </a:lnTo>
                  <a:lnTo>
                    <a:pt x="507" y="20399"/>
                  </a:lnTo>
                  <a:lnTo>
                    <a:pt x="0" y="22939"/>
                  </a:lnTo>
                  <a:lnTo>
                    <a:pt x="4191" y="28273"/>
                  </a:lnTo>
                  <a:lnTo>
                    <a:pt x="7366" y="27765"/>
                  </a:lnTo>
                  <a:lnTo>
                    <a:pt x="11175" y="24082"/>
                  </a:lnTo>
                  <a:lnTo>
                    <a:pt x="24431" y="14964"/>
                  </a:lnTo>
                  <a:lnTo>
                    <a:pt x="39497" y="10191"/>
                  </a:lnTo>
                  <a:lnTo>
                    <a:pt x="55324" y="9919"/>
                  </a:lnTo>
                  <a:lnTo>
                    <a:pt x="70866" y="14303"/>
                  </a:lnTo>
                  <a:lnTo>
                    <a:pt x="88342" y="26965"/>
                  </a:lnTo>
                  <a:lnTo>
                    <a:pt x="99234" y="44735"/>
                  </a:lnTo>
                  <a:lnTo>
                    <a:pt x="102673" y="65291"/>
                  </a:lnTo>
                  <a:lnTo>
                    <a:pt x="97790" y="86312"/>
                  </a:lnTo>
                  <a:lnTo>
                    <a:pt x="94868" y="92154"/>
                  </a:lnTo>
                  <a:lnTo>
                    <a:pt x="91186" y="97742"/>
                  </a:lnTo>
                  <a:lnTo>
                    <a:pt x="86741" y="102568"/>
                  </a:lnTo>
                  <a:lnTo>
                    <a:pt x="85979" y="102949"/>
                  </a:lnTo>
                  <a:lnTo>
                    <a:pt x="83947" y="106251"/>
                  </a:lnTo>
                  <a:lnTo>
                    <a:pt x="84709" y="108918"/>
                  </a:lnTo>
                  <a:lnTo>
                    <a:pt x="86741" y="109934"/>
                  </a:lnTo>
                  <a:lnTo>
                    <a:pt x="88900" y="111839"/>
                  </a:lnTo>
                  <a:lnTo>
                    <a:pt x="111261" y="75940"/>
                  </a:lnTo>
                  <a:lnTo>
                    <a:pt x="112141" y="63071"/>
                  </a:lnTo>
                  <a:lnTo>
                    <a:pt x="110392" y="49053"/>
                  </a:lnTo>
                  <a:lnTo>
                    <a:pt x="105679" y="35893"/>
                  </a:lnTo>
                  <a:lnTo>
                    <a:pt x="98228" y="24066"/>
                  </a:lnTo>
                  <a:lnTo>
                    <a:pt x="88265" y="14049"/>
                  </a:lnTo>
                  <a:lnTo>
                    <a:pt x="67948" y="3161"/>
                  </a:lnTo>
                  <a:lnTo>
                    <a:pt x="45751" y="0"/>
                  </a:lnTo>
                  <a:close/>
                </a:path>
              </a:pathLst>
            </a:custGeom>
            <a:solidFill>
              <a:srgbClr val="A78B5E">
                <a:alpha val="47058"/>
              </a:srgbClr>
            </a:solidFill>
          </p:spPr>
          <p:txBody>
            <a:bodyPr wrap="square" lIns="0" tIns="0" rIns="0" bIns="0" rtlCol="0"/>
            <a:lstStyle/>
            <a:p>
              <a:endParaRPr kern="0" dirty="0">
                <a:solidFill>
                  <a:sysClr val="windowText" lastClr="000000"/>
                </a:solidFill>
              </a:endParaRPr>
            </a:p>
          </p:txBody>
        </p:sp>
        <p:sp>
          <p:nvSpPr>
            <p:cNvPr id="98" name="object 41">
              <a:extLst>
                <a:ext uri="{FF2B5EF4-FFF2-40B4-BE49-F238E27FC236}">
                  <a16:creationId xmlns:a16="http://schemas.microsoft.com/office/drawing/2014/main" id="{F4C68A1F-3995-2FB0-B00E-09005ED59B88}"/>
                </a:ext>
              </a:extLst>
            </p:cNvPr>
            <p:cNvSpPr/>
            <p:nvPr/>
          </p:nvSpPr>
          <p:spPr>
            <a:xfrm>
              <a:off x="2857499" y="5134356"/>
              <a:ext cx="88900" cy="90170"/>
            </a:xfrm>
            <a:custGeom>
              <a:avLst/>
              <a:gdLst/>
              <a:ahLst/>
              <a:cxnLst/>
              <a:rect l="l" t="t" r="r" b="b"/>
              <a:pathLst>
                <a:path w="88900" h="90170">
                  <a:moveTo>
                    <a:pt x="43942" y="0"/>
                  </a:moveTo>
                  <a:lnTo>
                    <a:pt x="3905" y="25949"/>
                  </a:lnTo>
                  <a:lnTo>
                    <a:pt x="0" y="43053"/>
                  </a:lnTo>
                  <a:lnTo>
                    <a:pt x="95" y="44704"/>
                  </a:lnTo>
                  <a:lnTo>
                    <a:pt x="3311" y="61858"/>
                  </a:lnTo>
                  <a:lnTo>
                    <a:pt x="12684" y="76342"/>
                  </a:lnTo>
                  <a:lnTo>
                    <a:pt x="26699" y="86183"/>
                  </a:lnTo>
                  <a:lnTo>
                    <a:pt x="43942" y="89916"/>
                  </a:lnTo>
                  <a:lnTo>
                    <a:pt x="61013" y="86459"/>
                  </a:lnTo>
                  <a:lnTo>
                    <a:pt x="71015" y="80264"/>
                  </a:lnTo>
                  <a:lnTo>
                    <a:pt x="38862" y="80264"/>
                  </a:lnTo>
                  <a:lnTo>
                    <a:pt x="36068" y="79883"/>
                  </a:lnTo>
                  <a:lnTo>
                    <a:pt x="22985" y="75543"/>
                  </a:lnTo>
                  <a:lnTo>
                    <a:pt x="12938" y="66786"/>
                  </a:lnTo>
                  <a:lnTo>
                    <a:pt x="6867" y="54862"/>
                  </a:lnTo>
                  <a:lnTo>
                    <a:pt x="5714" y="41021"/>
                  </a:lnTo>
                  <a:lnTo>
                    <a:pt x="9937" y="27733"/>
                  </a:lnTo>
                  <a:lnTo>
                    <a:pt x="18541" y="17494"/>
                  </a:lnTo>
                  <a:lnTo>
                    <a:pt x="30289" y="11303"/>
                  </a:lnTo>
                  <a:lnTo>
                    <a:pt x="43942" y="10160"/>
                  </a:lnTo>
                  <a:lnTo>
                    <a:pt x="71880" y="10160"/>
                  </a:lnTo>
                  <a:lnTo>
                    <a:pt x="60924" y="3030"/>
                  </a:lnTo>
                  <a:lnTo>
                    <a:pt x="43942" y="0"/>
                  </a:lnTo>
                  <a:close/>
                </a:path>
                <a:path w="88900" h="90170">
                  <a:moveTo>
                    <a:pt x="71880" y="10160"/>
                  </a:moveTo>
                  <a:lnTo>
                    <a:pt x="43942" y="10160"/>
                  </a:lnTo>
                  <a:lnTo>
                    <a:pt x="57126" y="12799"/>
                  </a:lnTo>
                  <a:lnTo>
                    <a:pt x="67976" y="20034"/>
                  </a:lnTo>
                  <a:lnTo>
                    <a:pt x="75445" y="30841"/>
                  </a:lnTo>
                  <a:lnTo>
                    <a:pt x="78486" y="44196"/>
                  </a:lnTo>
                  <a:lnTo>
                    <a:pt x="75953" y="57860"/>
                  </a:lnTo>
                  <a:lnTo>
                    <a:pt x="68706" y="69119"/>
                  </a:lnTo>
                  <a:lnTo>
                    <a:pt x="57840" y="76807"/>
                  </a:lnTo>
                  <a:lnTo>
                    <a:pt x="43873" y="79883"/>
                  </a:lnTo>
                  <a:lnTo>
                    <a:pt x="43518" y="79883"/>
                  </a:lnTo>
                  <a:lnTo>
                    <a:pt x="40724" y="80264"/>
                  </a:lnTo>
                  <a:lnTo>
                    <a:pt x="71015" y="80264"/>
                  </a:lnTo>
                  <a:lnTo>
                    <a:pt x="75168" y="77692"/>
                  </a:lnTo>
                  <a:lnTo>
                    <a:pt x="84822" y="63734"/>
                  </a:lnTo>
                  <a:lnTo>
                    <a:pt x="88392" y="44704"/>
                  </a:lnTo>
                  <a:lnTo>
                    <a:pt x="88392" y="43053"/>
                  </a:lnTo>
                  <a:lnTo>
                    <a:pt x="84590" y="26110"/>
                  </a:lnTo>
                  <a:lnTo>
                    <a:pt x="84554" y="25949"/>
                  </a:lnTo>
                  <a:lnTo>
                    <a:pt x="74930" y="12144"/>
                  </a:lnTo>
                  <a:lnTo>
                    <a:pt x="71880" y="10160"/>
                  </a:lnTo>
                  <a:close/>
                </a:path>
              </a:pathLst>
            </a:custGeom>
            <a:solidFill>
              <a:srgbClr val="A78B5E">
                <a:alpha val="47058"/>
              </a:srgbClr>
            </a:solidFill>
          </p:spPr>
          <p:txBody>
            <a:bodyPr wrap="square" lIns="0" tIns="0" rIns="0" bIns="0" rtlCol="0"/>
            <a:lstStyle/>
            <a:p>
              <a:endParaRPr kern="0">
                <a:solidFill>
                  <a:sysClr val="windowText" lastClr="000000"/>
                </a:solidFill>
              </a:endParaRPr>
            </a:p>
          </p:txBody>
        </p:sp>
      </p:grpSp>
    </p:spTree>
    <p:extLst>
      <p:ext uri="{BB962C8B-B14F-4D97-AF65-F5344CB8AC3E}">
        <p14:creationId xmlns:p14="http://schemas.microsoft.com/office/powerpoint/2010/main" val="1561236180"/>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ral">
  <a:themeElements>
    <a:clrScheme name="Custom 177">
      <a:dk1>
        <a:srgbClr val="414042"/>
      </a:dk1>
      <a:lt1>
        <a:sysClr val="window" lastClr="FFFFFF"/>
      </a:lt1>
      <a:dk2>
        <a:srgbClr val="0E2841"/>
      </a:dk2>
      <a:lt2>
        <a:srgbClr val="E8E8E8"/>
      </a:lt2>
      <a:accent1>
        <a:srgbClr val="374151"/>
      </a:accent1>
      <a:accent2>
        <a:srgbClr val="6B7280"/>
      </a:accent2>
      <a:accent3>
        <a:srgbClr val="9CA3AF"/>
      </a:accent3>
      <a:accent4>
        <a:srgbClr val="343A45"/>
      </a:accent4>
      <a:accent5>
        <a:srgbClr val="22D3EE"/>
      </a:accent5>
      <a:accent6>
        <a:srgbClr val="6E7889"/>
      </a:accent6>
      <a:hlink>
        <a:srgbClr val="467886"/>
      </a:hlink>
      <a:folHlink>
        <a:srgbClr val="96607D"/>
      </a:folHlink>
    </a:clrScheme>
    <a:fontScheme name="Custom 126">
      <a:majorFont>
        <a:latin typeface="Arial Black"/>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نسق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1">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A4C19D19-20A2-477A-8470-383CE9032847}">
  <we:reference id="wa200005566" version="3.0.0.3" store="ar-SA" storeType="OMEX"/>
  <we:alternateReferences>
    <we:reference id="wa200005566" version="3.0.0.3" store="wa200005566"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otalTime>432</TotalTime>
  <Words>1078</Words>
  <Application>Microsoft Office PowerPoint</Application>
  <PresentationFormat>شاشة عريضة</PresentationFormat>
  <Paragraphs>285</Paragraphs>
  <Slides>22</Slides>
  <Notes>14</Notes>
  <HiddenSlides>0</HiddenSlides>
  <MMClips>0</MMClips>
  <ScaleCrop>false</ScaleCrop>
  <HeadingPairs>
    <vt:vector size="8" baseType="variant">
      <vt:variant>
        <vt:lpstr>الخطوط المستخدمة</vt:lpstr>
      </vt:variant>
      <vt:variant>
        <vt:i4>11</vt:i4>
      </vt:variant>
      <vt:variant>
        <vt:lpstr>نسق</vt:lpstr>
      </vt:variant>
      <vt:variant>
        <vt:i4>2</vt:i4>
      </vt:variant>
      <vt:variant>
        <vt:lpstr>خوادم OLE مضمنة</vt:lpstr>
      </vt:variant>
      <vt:variant>
        <vt:i4>1</vt:i4>
      </vt:variant>
      <vt:variant>
        <vt:lpstr>عناوين الشرائح</vt:lpstr>
      </vt:variant>
      <vt:variant>
        <vt:i4>22</vt:i4>
      </vt:variant>
    </vt:vector>
  </HeadingPairs>
  <TitlesOfParts>
    <vt:vector size="36" baseType="lpstr">
      <vt:lpstr>Aptos</vt:lpstr>
      <vt:lpstr>Arial</vt:lpstr>
      <vt:lpstr>Arial Black</vt:lpstr>
      <vt:lpstr>Avenir Next Arabic Demi</vt:lpstr>
      <vt:lpstr>Bahnschrift Light SemiCondensed</vt:lpstr>
      <vt:lpstr>Calibri</vt:lpstr>
      <vt:lpstr>Cambria</vt:lpstr>
      <vt:lpstr>Century Gothic</vt:lpstr>
      <vt:lpstr>Lucida Sans</vt:lpstr>
      <vt:lpstr>Segoe UI Symbol</vt:lpstr>
      <vt:lpstr>Tahoma</vt:lpstr>
      <vt:lpstr>Coral</vt:lpstr>
      <vt:lpstr>1_Office Theme</vt:lpstr>
      <vt:lpstr>think-cell Slide</vt:lpstr>
      <vt:lpstr>تطوير حوكمة إدارة الأداء</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تطوير مؤشرات الأداء الرئيسية</vt:lpstr>
      <vt:lpstr>عرض تقديمي في PowerPoint</vt:lpstr>
      <vt:lpstr>عرض تقديمي في PowerPoint</vt:lpstr>
      <vt:lpstr>عرض تقديمي في PowerPoint</vt:lpstr>
      <vt:lpstr>عرض تقديمي في PowerPoint</vt:lpstr>
      <vt:lpstr>عرض تقديمي في PowerPoint</vt:lpstr>
      <vt:lpstr>تفعيل إدارة الأداء</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شكرًا</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haled M. Alshly</dc:creator>
  <cp:lastModifiedBy>Khaled M. Alshly</cp:lastModifiedBy>
  <cp:revision>5</cp:revision>
  <dcterms:created xsi:type="dcterms:W3CDTF">2025-05-13T14:45:41Z</dcterms:created>
  <dcterms:modified xsi:type="dcterms:W3CDTF">2025-05-17T11:45:49Z</dcterms:modified>
</cp:coreProperties>
</file>